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02" r:id="rId5"/>
  </p:sldMasterIdLst>
  <p:notesMasterIdLst>
    <p:notesMasterId r:id="rId25"/>
  </p:notesMasterIdLst>
  <p:handoutMasterIdLst>
    <p:handoutMasterId r:id="rId26"/>
  </p:handoutMasterIdLst>
  <p:sldIdLst>
    <p:sldId id="2800" r:id="rId6"/>
    <p:sldId id="2825" r:id="rId7"/>
    <p:sldId id="2840" r:id="rId8"/>
    <p:sldId id="330" r:id="rId9"/>
    <p:sldId id="2888" r:id="rId10"/>
    <p:sldId id="312" r:id="rId11"/>
    <p:sldId id="2805" r:id="rId12"/>
    <p:sldId id="2885" r:id="rId13"/>
    <p:sldId id="2884" r:id="rId14"/>
    <p:sldId id="2879" r:id="rId15"/>
    <p:sldId id="2814" r:id="rId16"/>
    <p:sldId id="2875" r:id="rId17"/>
    <p:sldId id="2887" r:id="rId18"/>
    <p:sldId id="2883" r:id="rId19"/>
    <p:sldId id="2882" r:id="rId20"/>
    <p:sldId id="2881" r:id="rId21"/>
    <p:sldId id="2878" r:id="rId22"/>
    <p:sldId id="345" r:id="rId23"/>
    <p:sldId id="2868" r:id="rId24"/>
  </p:sldIdLst>
  <p:sldSz cx="13444538" cy="7562850"/>
  <p:notesSz cx="6797675"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39" userDrawn="1">
          <p15:clr>
            <a:srgbClr val="A4A3A4"/>
          </p15:clr>
        </p15:guide>
        <p15:guide id="3" orient="horz" pos="4446" userDrawn="1">
          <p15:clr>
            <a:srgbClr val="A4A3A4"/>
          </p15:clr>
        </p15:guide>
        <p15:guide id="4" orient="horz" pos="2814" userDrawn="1">
          <p15:clr>
            <a:srgbClr val="A4A3A4"/>
          </p15:clr>
        </p15:guide>
        <p15:guide id="6" pos="1218" userDrawn="1">
          <p15:clr>
            <a:srgbClr val="A4A3A4"/>
          </p15:clr>
        </p15:guide>
        <p15:guide id="7" pos="799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clrMode="bw"/>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AAC7"/>
    <a:srgbClr val="7A3E7F"/>
    <a:srgbClr val="95519E"/>
    <a:srgbClr val="9B5BA4"/>
    <a:srgbClr val="000000"/>
    <a:srgbClr val="D969CC"/>
    <a:srgbClr val="595959"/>
    <a:srgbClr val="D7CED8"/>
    <a:srgbClr val="9B4F96"/>
    <a:srgbClr val="B978BE"/>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78D583-1948-4912-9E66-DE11D4A72A60}" v="12" dt="2021-08-18T09:56:09.00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5257"/>
  </p:normalViewPr>
  <p:slideViewPr>
    <p:cSldViewPr snapToGrid="0">
      <p:cViewPr>
        <p:scale>
          <a:sx n="76" d="100"/>
          <a:sy n="76" d="100"/>
        </p:scale>
        <p:origin x="-249" y="-117"/>
      </p:cViewPr>
      <p:guideLst>
        <p:guide orient="horz" pos="1339"/>
        <p:guide orient="horz" pos="4446"/>
        <p:guide orient="horz" pos="2814"/>
        <p:guide pos="1218"/>
        <p:guide pos="7999"/>
      </p:guideLst>
    </p:cSldViewPr>
  </p:slideViewPr>
  <p:notesTextViewPr>
    <p:cViewPr>
      <p:scale>
        <a:sx n="60" d="100"/>
        <a:sy n="60" d="100"/>
      </p:scale>
      <p:origin x="0" y="0"/>
    </p:cViewPr>
  </p:notesTextViewPr>
  <p:sorterViewPr>
    <p:cViewPr>
      <p:scale>
        <a:sx n="126" d="100"/>
        <a:sy n="12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phie Wannop" userId="189c5b27-3d68-45c0-ac57-44a94daef699" providerId="ADAL" clId="{9178D583-1948-4912-9E66-DE11D4A72A60}"/>
    <pc:docChg chg="undo custSel addSld delSld modSld">
      <pc:chgData name="Sophie Wannop" userId="189c5b27-3d68-45c0-ac57-44a94daef699" providerId="ADAL" clId="{9178D583-1948-4912-9E66-DE11D4A72A60}" dt="2021-08-18T09:59:15.565" v="314" actId="1038"/>
      <pc:docMkLst>
        <pc:docMk/>
      </pc:docMkLst>
      <pc:sldChg chg="addSp delSp modSp del mod">
        <pc:chgData name="Sophie Wannop" userId="189c5b27-3d68-45c0-ac57-44a94daef699" providerId="ADAL" clId="{9178D583-1948-4912-9E66-DE11D4A72A60}" dt="2021-08-18T09:50:36.456" v="5" actId="47"/>
        <pc:sldMkLst>
          <pc:docMk/>
          <pc:sldMk cId="3450323191" sldId="2886"/>
        </pc:sldMkLst>
        <pc:spChg chg="add mod">
          <ac:chgData name="Sophie Wannop" userId="189c5b27-3d68-45c0-ac57-44a94daef699" providerId="ADAL" clId="{9178D583-1948-4912-9E66-DE11D4A72A60}" dt="2021-08-18T09:50:13.362" v="0" actId="478"/>
          <ac:spMkLst>
            <pc:docMk/>
            <pc:sldMk cId="3450323191" sldId="2886"/>
            <ac:spMk id="3" creationId="{4A1AA9BB-6B12-4606-8479-3BF17F023B61}"/>
          </ac:spMkLst>
        </pc:spChg>
        <pc:picChg chg="del">
          <ac:chgData name="Sophie Wannop" userId="189c5b27-3d68-45c0-ac57-44a94daef699" providerId="ADAL" clId="{9178D583-1948-4912-9E66-DE11D4A72A60}" dt="2021-08-18T09:50:13.362" v="0" actId="478"/>
          <ac:picMkLst>
            <pc:docMk/>
            <pc:sldMk cId="3450323191" sldId="2886"/>
            <ac:picMk id="17" creationId="{C4FDE924-D82C-B347-BFC6-63B64F66C0AD}"/>
          </ac:picMkLst>
        </pc:picChg>
      </pc:sldChg>
      <pc:sldChg chg="addSp delSp modSp new mod">
        <pc:chgData name="Sophie Wannop" userId="189c5b27-3d68-45c0-ac57-44a94daef699" providerId="ADAL" clId="{9178D583-1948-4912-9E66-DE11D4A72A60}" dt="2021-08-18T09:59:15.565" v="314" actId="1038"/>
        <pc:sldMkLst>
          <pc:docMk/>
          <pc:sldMk cId="3586973377" sldId="2888"/>
        </pc:sldMkLst>
        <pc:spChg chg="del">
          <ac:chgData name="Sophie Wannop" userId="189c5b27-3d68-45c0-ac57-44a94daef699" providerId="ADAL" clId="{9178D583-1948-4912-9E66-DE11D4A72A60}" dt="2021-08-18T09:50:34.469" v="3" actId="478"/>
          <ac:spMkLst>
            <pc:docMk/>
            <pc:sldMk cId="3586973377" sldId="2888"/>
            <ac:spMk id="2" creationId="{E553CFFB-F8D6-4B62-9845-4EB092BAEA33}"/>
          </ac:spMkLst>
        </pc:spChg>
        <pc:spChg chg="del">
          <ac:chgData name="Sophie Wannop" userId="189c5b27-3d68-45c0-ac57-44a94daef699" providerId="ADAL" clId="{9178D583-1948-4912-9E66-DE11D4A72A60}" dt="2021-08-18T09:50:33.788" v="2" actId="478"/>
          <ac:spMkLst>
            <pc:docMk/>
            <pc:sldMk cId="3586973377" sldId="2888"/>
            <ac:spMk id="3" creationId="{4ABA3E7C-CB38-4785-8F45-6A441224E8D0}"/>
          </ac:spMkLst>
        </pc:spChg>
        <pc:spChg chg="del">
          <ac:chgData name="Sophie Wannop" userId="189c5b27-3d68-45c0-ac57-44a94daef699" providerId="ADAL" clId="{9178D583-1948-4912-9E66-DE11D4A72A60}" dt="2021-08-18T09:50:35.684" v="4" actId="478"/>
          <ac:spMkLst>
            <pc:docMk/>
            <pc:sldMk cId="3586973377" sldId="2888"/>
            <ac:spMk id="4" creationId="{3B00DA4C-807D-4674-ADCB-4999CFDD333B}"/>
          </ac:spMkLst>
        </pc:spChg>
        <pc:spChg chg="add mod">
          <ac:chgData name="Sophie Wannop" userId="189c5b27-3d68-45c0-ac57-44a94daef699" providerId="ADAL" clId="{9178D583-1948-4912-9E66-DE11D4A72A60}" dt="2021-08-18T09:53:18.974" v="83" actId="1076"/>
          <ac:spMkLst>
            <pc:docMk/>
            <pc:sldMk cId="3586973377" sldId="2888"/>
            <ac:spMk id="10" creationId="{E8C27269-37DF-4BC4-9A62-092691D4C6ED}"/>
          </ac:spMkLst>
        </pc:spChg>
        <pc:spChg chg="add mod">
          <ac:chgData name="Sophie Wannop" userId="189c5b27-3d68-45c0-ac57-44a94daef699" providerId="ADAL" clId="{9178D583-1948-4912-9E66-DE11D4A72A60}" dt="2021-08-18T09:59:15.565" v="314" actId="1038"/>
          <ac:spMkLst>
            <pc:docMk/>
            <pc:sldMk cId="3586973377" sldId="2888"/>
            <ac:spMk id="11" creationId="{2907A06C-1E1C-4ADF-A860-ED4EF783A398}"/>
          </ac:spMkLst>
        </pc:spChg>
        <pc:spChg chg="add mod">
          <ac:chgData name="Sophie Wannop" userId="189c5b27-3d68-45c0-ac57-44a94daef699" providerId="ADAL" clId="{9178D583-1948-4912-9E66-DE11D4A72A60}" dt="2021-08-18T09:53:45.113" v="105" actId="1076"/>
          <ac:spMkLst>
            <pc:docMk/>
            <pc:sldMk cId="3586973377" sldId="2888"/>
            <ac:spMk id="12" creationId="{A44AF85F-8C4E-4766-8418-AAB3C04E3D77}"/>
          </ac:spMkLst>
        </pc:spChg>
        <pc:spChg chg="add mod">
          <ac:chgData name="Sophie Wannop" userId="189c5b27-3d68-45c0-ac57-44a94daef699" providerId="ADAL" clId="{9178D583-1948-4912-9E66-DE11D4A72A60}" dt="2021-08-18T09:54:57.770" v="161" actId="1076"/>
          <ac:spMkLst>
            <pc:docMk/>
            <pc:sldMk cId="3586973377" sldId="2888"/>
            <ac:spMk id="13" creationId="{49777812-5141-44E1-9D49-09364C7A4130}"/>
          </ac:spMkLst>
        </pc:spChg>
        <pc:spChg chg="add mod">
          <ac:chgData name="Sophie Wannop" userId="189c5b27-3d68-45c0-ac57-44a94daef699" providerId="ADAL" clId="{9178D583-1948-4912-9E66-DE11D4A72A60}" dt="2021-08-18T09:54:04.624" v="114" actId="1076"/>
          <ac:spMkLst>
            <pc:docMk/>
            <pc:sldMk cId="3586973377" sldId="2888"/>
            <ac:spMk id="14" creationId="{B2F25048-43ED-4B24-A971-61919EFD72B0}"/>
          </ac:spMkLst>
        </pc:spChg>
        <pc:spChg chg="add mod">
          <ac:chgData name="Sophie Wannop" userId="189c5b27-3d68-45c0-ac57-44a94daef699" providerId="ADAL" clId="{9178D583-1948-4912-9E66-DE11D4A72A60}" dt="2021-08-18T09:54:19.376" v="117" actId="1076"/>
          <ac:spMkLst>
            <pc:docMk/>
            <pc:sldMk cId="3586973377" sldId="2888"/>
            <ac:spMk id="15" creationId="{7A89902E-71E7-4F89-BBD7-4DB76BE31ECB}"/>
          </ac:spMkLst>
        </pc:spChg>
        <pc:spChg chg="add mod">
          <ac:chgData name="Sophie Wannop" userId="189c5b27-3d68-45c0-ac57-44a94daef699" providerId="ADAL" clId="{9178D583-1948-4912-9E66-DE11D4A72A60}" dt="2021-08-18T09:56:32.708" v="268" actId="14100"/>
          <ac:spMkLst>
            <pc:docMk/>
            <pc:sldMk cId="3586973377" sldId="2888"/>
            <ac:spMk id="16" creationId="{9413B945-3EDB-4134-80DC-4A967D4C2D6F}"/>
          </ac:spMkLst>
        </pc:spChg>
        <pc:spChg chg="add mod">
          <ac:chgData name="Sophie Wannop" userId="189c5b27-3d68-45c0-ac57-44a94daef699" providerId="ADAL" clId="{9178D583-1948-4912-9E66-DE11D4A72A60}" dt="2021-08-18T09:56:32.708" v="268" actId="14100"/>
          <ac:spMkLst>
            <pc:docMk/>
            <pc:sldMk cId="3586973377" sldId="2888"/>
            <ac:spMk id="17" creationId="{63DE02D9-C173-48FF-B501-255309D048AD}"/>
          </ac:spMkLst>
        </pc:spChg>
        <pc:spChg chg="add mod">
          <ac:chgData name="Sophie Wannop" userId="189c5b27-3d68-45c0-ac57-44a94daef699" providerId="ADAL" clId="{9178D583-1948-4912-9E66-DE11D4A72A60}" dt="2021-08-18T09:56:32.708" v="268" actId="14100"/>
          <ac:spMkLst>
            <pc:docMk/>
            <pc:sldMk cId="3586973377" sldId="2888"/>
            <ac:spMk id="18" creationId="{E4162D75-B5DD-4474-A055-1E81036E06CC}"/>
          </ac:spMkLst>
        </pc:spChg>
        <pc:spChg chg="add mod">
          <ac:chgData name="Sophie Wannop" userId="189c5b27-3d68-45c0-ac57-44a94daef699" providerId="ADAL" clId="{9178D583-1948-4912-9E66-DE11D4A72A60}" dt="2021-08-18T09:56:32.708" v="268" actId="14100"/>
          <ac:spMkLst>
            <pc:docMk/>
            <pc:sldMk cId="3586973377" sldId="2888"/>
            <ac:spMk id="19" creationId="{A8AA6114-F645-4868-B8FA-7E05715B1362}"/>
          </ac:spMkLst>
        </pc:spChg>
        <pc:cxnChg chg="add mod">
          <ac:chgData name="Sophie Wannop" userId="189c5b27-3d68-45c0-ac57-44a94daef699" providerId="ADAL" clId="{9178D583-1948-4912-9E66-DE11D4A72A60}" dt="2021-08-18T09:52:33.449" v="43" actId="1076"/>
          <ac:cxnSpMkLst>
            <pc:docMk/>
            <pc:sldMk cId="3586973377" sldId="2888"/>
            <ac:cxnSpMk id="6" creationId="{78B779A1-6175-4AD8-A4B6-E0E1B4B5815B}"/>
          </ac:cxnSpMkLst>
        </pc:cxnChg>
        <pc:cxnChg chg="add mod">
          <ac:chgData name="Sophie Wannop" userId="189c5b27-3d68-45c0-ac57-44a94daef699" providerId="ADAL" clId="{9178D583-1948-4912-9E66-DE11D4A72A60}" dt="2021-08-18T09:52:45.872" v="72" actId="1036"/>
          <ac:cxnSpMkLst>
            <pc:docMk/>
            <pc:sldMk cId="3586973377" sldId="2888"/>
            <ac:cxnSpMk id="7" creationId="{B7707C9C-9135-4CE3-8673-BEE2E8A4384B}"/>
          </ac:cxnSpMkLst>
        </pc:cxnChg>
        <pc:cxnChg chg="add mod">
          <ac:chgData name="Sophie Wannop" userId="189c5b27-3d68-45c0-ac57-44a94daef699" providerId="ADAL" clId="{9178D583-1948-4912-9E66-DE11D4A72A60}" dt="2021-08-18T09:54:47.570" v="158" actId="1038"/>
          <ac:cxnSpMkLst>
            <pc:docMk/>
            <pc:sldMk cId="3586973377" sldId="2888"/>
            <ac:cxnSpMk id="8" creationId="{A16FFF36-4AB1-46B2-B451-88B7B92FA214}"/>
          </ac:cxnSpMkLst>
        </pc:cxnChg>
        <pc:cxnChg chg="add mod">
          <ac:chgData name="Sophie Wannop" userId="189c5b27-3d68-45c0-ac57-44a94daef699" providerId="ADAL" clId="{9178D583-1948-4912-9E66-DE11D4A72A60}" dt="2021-08-18T09:54:30.392" v="120" actId="1076"/>
          <ac:cxnSpMkLst>
            <pc:docMk/>
            <pc:sldMk cId="3586973377" sldId="2888"/>
            <ac:cxnSpMk id="9" creationId="{F3E1F673-ADB6-419C-91BD-88BEC87586DC}"/>
          </ac:cxnSpMkLst>
        </pc:cxnChg>
        <pc:cxnChg chg="add del">
          <ac:chgData name="Sophie Wannop" userId="189c5b27-3d68-45c0-ac57-44a94daef699" providerId="ADAL" clId="{9178D583-1948-4912-9E66-DE11D4A72A60}" dt="2021-08-18T09:56:48.293" v="270" actId="11529"/>
          <ac:cxnSpMkLst>
            <pc:docMk/>
            <pc:sldMk cId="3586973377" sldId="2888"/>
            <ac:cxnSpMk id="21" creationId="{7FC4BE9E-3EE6-45C1-826B-ABB7548948BB}"/>
          </ac:cxnSpMkLst>
        </pc:cxnChg>
        <pc:cxnChg chg="add del">
          <ac:chgData name="Sophie Wannop" userId="189c5b27-3d68-45c0-ac57-44a94daef699" providerId="ADAL" clId="{9178D583-1948-4912-9E66-DE11D4A72A60}" dt="2021-08-18T09:56:54.598" v="272" actId="11529"/>
          <ac:cxnSpMkLst>
            <pc:docMk/>
            <pc:sldMk cId="3586973377" sldId="2888"/>
            <ac:cxnSpMk id="23" creationId="{788236CE-011B-4348-8DFB-03B8F862D0AA}"/>
          </ac:cxnSpMkLst>
        </pc:cxnChg>
        <pc:cxnChg chg="add del">
          <ac:chgData name="Sophie Wannop" userId="189c5b27-3d68-45c0-ac57-44a94daef699" providerId="ADAL" clId="{9178D583-1948-4912-9E66-DE11D4A72A60}" dt="2021-08-18T09:57:01.417" v="274" actId="11529"/>
          <ac:cxnSpMkLst>
            <pc:docMk/>
            <pc:sldMk cId="3586973377" sldId="2888"/>
            <ac:cxnSpMk id="25" creationId="{42D297CF-6282-4E7A-9C9C-33846223D3B9}"/>
          </ac:cxnSpMkLst>
        </pc:cxnChg>
        <pc:cxnChg chg="add mod">
          <ac:chgData name="Sophie Wannop" userId="189c5b27-3d68-45c0-ac57-44a94daef699" providerId="ADAL" clId="{9178D583-1948-4912-9E66-DE11D4A72A60}" dt="2021-08-18T09:58:03.725" v="285" actId="692"/>
          <ac:cxnSpMkLst>
            <pc:docMk/>
            <pc:sldMk cId="3586973377" sldId="2888"/>
            <ac:cxnSpMk id="27" creationId="{B20ABA53-5604-4676-99F4-F255EA7B8906}"/>
          </ac:cxnSpMkLst>
        </pc:cxnChg>
        <pc:cxnChg chg="add mod">
          <ac:chgData name="Sophie Wannop" userId="189c5b27-3d68-45c0-ac57-44a94daef699" providerId="ADAL" clId="{9178D583-1948-4912-9E66-DE11D4A72A60}" dt="2021-08-18T09:58:34.177" v="293" actId="692"/>
          <ac:cxnSpMkLst>
            <pc:docMk/>
            <pc:sldMk cId="3586973377" sldId="2888"/>
            <ac:cxnSpMk id="29" creationId="{6059E561-EE52-43D9-8BC4-195585E5F251}"/>
          </ac:cxnSpMkLst>
        </pc:cxnChg>
        <pc:cxnChg chg="add mod">
          <ac:chgData name="Sophie Wannop" userId="189c5b27-3d68-45c0-ac57-44a94daef699" providerId="ADAL" clId="{9178D583-1948-4912-9E66-DE11D4A72A60}" dt="2021-08-18T09:58:50.725" v="302" actId="692"/>
          <ac:cxnSpMkLst>
            <pc:docMk/>
            <pc:sldMk cId="3586973377" sldId="2888"/>
            <ac:cxnSpMk id="31" creationId="{C33F2C77-53C3-43B9-9CBC-112A85890BDB}"/>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3850530" y="1"/>
            <a:ext cx="2946058" cy="495709"/>
          </a:xfrm>
          <a:prstGeom prst="rect">
            <a:avLst/>
          </a:prstGeom>
        </p:spPr>
        <p:txBody>
          <a:bodyPr vert="horz" lIns="91440" tIns="45720" rIns="91440" bIns="45720" rtlCol="0"/>
          <a:lstStyle>
            <a:lvl1pPr algn="r">
              <a:defRPr sz="1200"/>
            </a:lvl1pPr>
          </a:lstStyle>
          <a:p>
            <a:fld id="{66420D66-B6E6-45A5-B9B7-AB02254A7B48}" type="datetimeFigureOut">
              <a:rPr lang="en-GB" smtClean="0"/>
              <a:t>18/08/2021</a:t>
            </a:fld>
            <a:endParaRPr lang="en-GB"/>
          </a:p>
        </p:txBody>
      </p:sp>
      <p:sp>
        <p:nvSpPr>
          <p:cNvPr id="4" name="Footer Placeholder 3"/>
          <p:cNvSpPr>
            <a:spLocks noGrp="1"/>
          </p:cNvSpPr>
          <p:nvPr>
            <p:ph type="ftr" sz="quarter" idx="2"/>
          </p:nvPr>
        </p:nvSpPr>
        <p:spPr>
          <a:xfrm>
            <a:off x="0" y="9376955"/>
            <a:ext cx="2946058" cy="495708"/>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530" y="9376955"/>
            <a:ext cx="2946058" cy="495708"/>
          </a:xfrm>
          <a:prstGeom prst="rect">
            <a:avLst/>
          </a:prstGeom>
        </p:spPr>
        <p:txBody>
          <a:bodyPr vert="horz" lIns="91440" tIns="45720" rIns="91440" bIns="45720" rtlCol="0" anchor="b"/>
          <a:lstStyle>
            <a:lvl1pPr algn="r">
              <a:defRPr sz="1200"/>
            </a:lvl1pPr>
          </a:lstStyle>
          <a:p>
            <a:fld id="{B5E866BD-B001-4D41-BA7F-66D0D0720123}" type="slidenum">
              <a:rPr lang="en-GB" smtClean="0"/>
              <a:t>‹#›</a:t>
            </a:fld>
            <a:endParaRPr lang="en-GB"/>
          </a:p>
        </p:txBody>
      </p:sp>
    </p:spTree>
    <p:extLst>
      <p:ext uri="{BB962C8B-B14F-4D97-AF65-F5344CB8AC3E}">
        <p14:creationId xmlns:p14="http://schemas.microsoft.com/office/powerpoint/2010/main" val="7004925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727" cy="493219"/>
          </a:xfrm>
          <a:prstGeom prst="rect">
            <a:avLst/>
          </a:prstGeom>
        </p:spPr>
        <p:txBody>
          <a:bodyPr vert="horz" lIns="83759" tIns="41880" rIns="83759" bIns="41880" rtlCol="0"/>
          <a:lstStyle>
            <a:lvl1pPr algn="l">
              <a:defRPr sz="1100"/>
            </a:lvl1pPr>
          </a:lstStyle>
          <a:p>
            <a:endParaRPr lang="en-US"/>
          </a:p>
        </p:txBody>
      </p:sp>
      <p:sp>
        <p:nvSpPr>
          <p:cNvPr id="3" name="Date Placeholder 2"/>
          <p:cNvSpPr>
            <a:spLocks noGrp="1"/>
          </p:cNvSpPr>
          <p:nvPr>
            <p:ph type="dt" idx="1"/>
          </p:nvPr>
        </p:nvSpPr>
        <p:spPr>
          <a:xfrm>
            <a:off x="3850941" y="1"/>
            <a:ext cx="2944717" cy="493219"/>
          </a:xfrm>
          <a:prstGeom prst="rect">
            <a:avLst/>
          </a:prstGeom>
        </p:spPr>
        <p:txBody>
          <a:bodyPr vert="horz" lIns="83759" tIns="41880" rIns="83759" bIns="41880" rtlCol="0"/>
          <a:lstStyle>
            <a:lvl1pPr algn="r">
              <a:defRPr sz="1100"/>
            </a:lvl1pPr>
          </a:lstStyle>
          <a:p>
            <a:fld id="{667A17DA-1D83-2442-AC94-B79ADD33376A}" type="datetimeFigureOut">
              <a:rPr lang="en-US" smtClean="0"/>
              <a:t>8/18/2021</a:t>
            </a:fld>
            <a:endParaRPr lang="en-US"/>
          </a:p>
        </p:txBody>
      </p:sp>
      <p:sp>
        <p:nvSpPr>
          <p:cNvPr id="4" name="Slide Image Placeholder 3"/>
          <p:cNvSpPr>
            <a:spLocks noGrp="1" noRot="1" noChangeAspect="1"/>
          </p:cNvSpPr>
          <p:nvPr>
            <p:ph type="sldImg" idx="2"/>
          </p:nvPr>
        </p:nvSpPr>
        <p:spPr>
          <a:xfrm>
            <a:off x="106363" y="739775"/>
            <a:ext cx="6584950" cy="3703638"/>
          </a:xfrm>
          <a:prstGeom prst="rect">
            <a:avLst/>
          </a:prstGeom>
          <a:noFill/>
          <a:ln w="12700">
            <a:solidFill>
              <a:prstClr val="black"/>
            </a:solidFill>
          </a:ln>
        </p:spPr>
        <p:txBody>
          <a:bodyPr vert="horz" lIns="83759" tIns="41880" rIns="83759" bIns="41880" rtlCol="0" anchor="ctr"/>
          <a:lstStyle/>
          <a:p>
            <a:endParaRPr lang="en-US"/>
          </a:p>
        </p:txBody>
      </p:sp>
      <p:sp>
        <p:nvSpPr>
          <p:cNvPr id="5" name="Notes Placeholder 4"/>
          <p:cNvSpPr>
            <a:spLocks noGrp="1"/>
          </p:cNvSpPr>
          <p:nvPr>
            <p:ph type="body" sz="quarter" idx="3"/>
          </p:nvPr>
        </p:nvSpPr>
        <p:spPr>
          <a:xfrm>
            <a:off x="680172" y="4689724"/>
            <a:ext cx="5437332" cy="4443113"/>
          </a:xfrm>
          <a:prstGeom prst="rect">
            <a:avLst/>
          </a:prstGeom>
        </p:spPr>
        <p:txBody>
          <a:bodyPr vert="horz" lIns="83759" tIns="41880" rIns="83759" bIns="4188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1" y="9377374"/>
            <a:ext cx="2945727" cy="493219"/>
          </a:xfrm>
          <a:prstGeom prst="rect">
            <a:avLst/>
          </a:prstGeom>
        </p:spPr>
        <p:txBody>
          <a:bodyPr vert="horz" lIns="83759" tIns="41880" rIns="83759" bIns="41880" rtlCol="0" anchor="b"/>
          <a:lstStyle>
            <a:lvl1pPr algn="l">
              <a:defRPr sz="1100"/>
            </a:lvl1pPr>
          </a:lstStyle>
          <a:p>
            <a:endParaRPr lang="en-US"/>
          </a:p>
        </p:txBody>
      </p:sp>
      <p:sp>
        <p:nvSpPr>
          <p:cNvPr id="7" name="Slide Number Placeholder 6"/>
          <p:cNvSpPr>
            <a:spLocks noGrp="1"/>
          </p:cNvSpPr>
          <p:nvPr>
            <p:ph type="sldNum" sz="quarter" idx="5"/>
          </p:nvPr>
        </p:nvSpPr>
        <p:spPr>
          <a:xfrm>
            <a:off x="3850941" y="9377374"/>
            <a:ext cx="2944717" cy="493219"/>
          </a:xfrm>
          <a:prstGeom prst="rect">
            <a:avLst/>
          </a:prstGeom>
        </p:spPr>
        <p:txBody>
          <a:bodyPr vert="horz" lIns="83759" tIns="41880" rIns="83759" bIns="41880" rtlCol="0" anchor="b"/>
          <a:lstStyle>
            <a:lvl1pPr algn="r">
              <a:defRPr sz="1100"/>
            </a:lvl1pPr>
          </a:lstStyle>
          <a:p>
            <a:fld id="{8D5C49B4-0496-1946-B93A-F1476E990D33}" type="slidenum">
              <a:rPr lang="en-US" smtClean="0"/>
              <a:t>‹#›</a:t>
            </a:fld>
            <a:endParaRPr lang="en-US"/>
          </a:p>
        </p:txBody>
      </p:sp>
    </p:spTree>
    <p:extLst>
      <p:ext uri="{BB962C8B-B14F-4D97-AF65-F5344CB8AC3E}">
        <p14:creationId xmlns:p14="http://schemas.microsoft.com/office/powerpoint/2010/main" val="72653696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5C49B4-0496-1946-B93A-F1476E990D33}" type="slidenum">
              <a:rPr lang="en-US" smtClean="0"/>
              <a:t>1</a:t>
            </a:fld>
            <a:endParaRPr lang="en-US" dirty="0"/>
          </a:p>
        </p:txBody>
      </p:sp>
    </p:spTree>
    <p:extLst>
      <p:ext uri="{BB962C8B-B14F-4D97-AF65-F5344CB8AC3E}">
        <p14:creationId xmlns:p14="http://schemas.microsoft.com/office/powerpoint/2010/main" val="2975074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CEO and Founder of </a:t>
            </a:r>
            <a:r>
              <a:rPr lang="en-GB" sz="1200" b="1" kern="1200" dirty="0" err="1">
                <a:solidFill>
                  <a:schemeClr val="tx1"/>
                </a:solidFill>
                <a:effectLst/>
                <a:latin typeface="+mn-lt"/>
                <a:ea typeface="+mn-ea"/>
                <a:cs typeface="+mn-cs"/>
              </a:rPr>
              <a:t>Flex+Strategy</a:t>
            </a:r>
            <a:r>
              <a:rPr lang="en-GB" sz="1200" b="1" kern="1200" dirty="0">
                <a:solidFill>
                  <a:schemeClr val="tx1"/>
                </a:solidFill>
                <a:effectLst/>
                <a:latin typeface="+mn-lt"/>
                <a:ea typeface="+mn-ea"/>
                <a:cs typeface="+mn-cs"/>
              </a:rPr>
              <a:t> Group </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D5C49B4-0496-1946-B93A-F1476E990D33}" type="slidenum">
              <a:rPr lang="en-US" smtClean="0"/>
              <a:t>17</a:t>
            </a:fld>
            <a:endParaRPr lang="en-US"/>
          </a:p>
        </p:txBody>
      </p:sp>
    </p:spTree>
    <p:extLst>
      <p:ext uri="{BB962C8B-B14F-4D97-AF65-F5344CB8AC3E}">
        <p14:creationId xmlns:p14="http://schemas.microsoft.com/office/powerpoint/2010/main" val="3268931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18</a:t>
            </a:fld>
            <a:endParaRPr lang="en-US"/>
          </a:p>
        </p:txBody>
      </p:sp>
    </p:spTree>
    <p:extLst>
      <p:ext uri="{BB962C8B-B14F-4D97-AF65-F5344CB8AC3E}">
        <p14:creationId xmlns:p14="http://schemas.microsoft.com/office/powerpoint/2010/main" val="3718639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C49B4-0496-1946-B93A-F1476E990D33}"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7493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5C49B4-0496-1946-B93A-F1476E990D33}" type="slidenum">
              <a:rPr lang="en-US" smtClean="0"/>
              <a:t>4</a:t>
            </a:fld>
            <a:endParaRPr lang="en-US"/>
          </a:p>
        </p:txBody>
      </p:sp>
    </p:spTree>
    <p:extLst>
      <p:ext uri="{BB962C8B-B14F-4D97-AF65-F5344CB8AC3E}">
        <p14:creationId xmlns:p14="http://schemas.microsoft.com/office/powerpoint/2010/main" val="3275908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8D5C49B4-0496-1946-B93A-F1476E990D33}" type="slidenum">
              <a:rPr lang="en-US" smtClean="0"/>
              <a:t>6</a:t>
            </a:fld>
            <a:endParaRPr lang="en-US"/>
          </a:p>
        </p:txBody>
      </p:sp>
    </p:spTree>
    <p:extLst>
      <p:ext uri="{BB962C8B-B14F-4D97-AF65-F5344CB8AC3E}">
        <p14:creationId xmlns:p14="http://schemas.microsoft.com/office/powerpoint/2010/main" val="2534799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C49B4-0496-1946-B93A-F1476E990D33}" type="slidenum">
              <a:rPr lang="en-US" smtClean="0"/>
              <a:t>7</a:t>
            </a:fld>
            <a:endParaRPr lang="en-US"/>
          </a:p>
        </p:txBody>
      </p:sp>
    </p:spTree>
    <p:extLst>
      <p:ext uri="{BB962C8B-B14F-4D97-AF65-F5344CB8AC3E}">
        <p14:creationId xmlns:p14="http://schemas.microsoft.com/office/powerpoint/2010/main" val="2916103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C49B4-0496-1946-B93A-F1476E990D33}" type="slidenum">
              <a:rPr lang="en-US" smtClean="0"/>
              <a:t>10</a:t>
            </a:fld>
            <a:endParaRPr lang="en-US"/>
          </a:p>
        </p:txBody>
      </p:sp>
    </p:spTree>
    <p:extLst>
      <p:ext uri="{BB962C8B-B14F-4D97-AF65-F5344CB8AC3E}">
        <p14:creationId xmlns:p14="http://schemas.microsoft.com/office/powerpoint/2010/main" val="3700111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BB7E4F38-27EC-492B-952B-F20BAFE703EC}" type="slidenum">
              <a:rPr lang="en-GB" smtClean="0"/>
              <a:pPr>
                <a:defRPr/>
              </a:pPr>
              <a:t>11</a:t>
            </a:fld>
            <a:endParaRPr lang="en-GB"/>
          </a:p>
        </p:txBody>
      </p:sp>
    </p:spTree>
    <p:extLst>
      <p:ext uri="{BB962C8B-B14F-4D97-AF65-F5344CB8AC3E}">
        <p14:creationId xmlns:p14="http://schemas.microsoft.com/office/powerpoint/2010/main" val="842724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O at IBM </a:t>
            </a:r>
          </a:p>
        </p:txBody>
      </p:sp>
      <p:sp>
        <p:nvSpPr>
          <p:cNvPr id="4" name="Slide Number Placeholder 3"/>
          <p:cNvSpPr>
            <a:spLocks noGrp="1"/>
          </p:cNvSpPr>
          <p:nvPr>
            <p:ph type="sldNum" sz="quarter" idx="10"/>
          </p:nvPr>
        </p:nvSpPr>
        <p:spPr/>
        <p:txBody>
          <a:bodyPr/>
          <a:lstStyle/>
          <a:p>
            <a:fld id="{8D5C49B4-0496-1946-B93A-F1476E990D33}" type="slidenum">
              <a:rPr lang="en-US" smtClean="0"/>
              <a:t>12</a:t>
            </a:fld>
            <a:endParaRPr lang="en-US"/>
          </a:p>
        </p:txBody>
      </p:sp>
    </p:spTree>
    <p:extLst>
      <p:ext uri="{BB962C8B-B14F-4D97-AF65-F5344CB8AC3E}">
        <p14:creationId xmlns:p14="http://schemas.microsoft.com/office/powerpoint/2010/main" val="447814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5C49B4-0496-1946-B93A-F1476E990D33}" type="slidenum">
              <a:rPr lang="en-US" smtClean="0"/>
              <a:t>13</a:t>
            </a:fld>
            <a:endParaRPr lang="en-US"/>
          </a:p>
        </p:txBody>
      </p:sp>
    </p:spTree>
    <p:extLst>
      <p:ext uri="{BB962C8B-B14F-4D97-AF65-F5344CB8AC3E}">
        <p14:creationId xmlns:p14="http://schemas.microsoft.com/office/powerpoint/2010/main" val="3349804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C49B4-0496-1946-B93A-F1476E990D33}" type="slidenum">
              <a:rPr lang="en-US" smtClean="0"/>
              <a:t>14</a:t>
            </a:fld>
            <a:endParaRPr lang="en-US"/>
          </a:p>
        </p:txBody>
      </p:sp>
    </p:spTree>
    <p:extLst>
      <p:ext uri="{BB962C8B-B14F-4D97-AF65-F5344CB8AC3E}">
        <p14:creationId xmlns:p14="http://schemas.microsoft.com/office/powerpoint/2010/main" val="32356486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2 lines + image">
    <p:bg>
      <p:bgPr>
        <a:solidFill>
          <a:schemeClr val="accent1">
            <a:alpha val="0"/>
          </a:schemeClr>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D69CD2F-1BBD-B44F-8D01-4E8C584E8ED1}"/>
              </a:ext>
            </a:extLst>
          </p:cNvPr>
          <p:cNvSpPr>
            <a:spLocks noGrp="1"/>
          </p:cNvSpPr>
          <p:nvPr>
            <p:ph type="pic" sz="quarter" idx="10"/>
          </p:nvPr>
        </p:nvSpPr>
        <p:spPr>
          <a:xfrm>
            <a:off x="0" y="0"/>
            <a:ext cx="13444538" cy="7562850"/>
          </a:xfrm>
          <a:prstGeom prst="rect">
            <a:avLst/>
          </a:prstGeom>
        </p:spPr>
        <p:txBody>
          <a:bodyPr/>
          <a:lstStyle/>
          <a:p>
            <a:endParaRPr lang="en-US"/>
          </a:p>
        </p:txBody>
      </p:sp>
      <p:sp>
        <p:nvSpPr>
          <p:cNvPr id="7" name="Round Single Corner Rectangle 6">
            <a:extLst>
              <a:ext uri="{FF2B5EF4-FFF2-40B4-BE49-F238E27FC236}">
                <a16:creationId xmlns:a16="http://schemas.microsoft.com/office/drawing/2014/main" id="{9A681C07-EA33-1D45-8CD2-39438A3726E3}"/>
              </a:ext>
            </a:extLst>
          </p:cNvPr>
          <p:cNvSpPr/>
          <p:nvPr userDrawn="1"/>
        </p:nvSpPr>
        <p:spPr>
          <a:xfrm>
            <a:off x="397670" y="371706"/>
            <a:ext cx="5060738" cy="4349584"/>
          </a:xfrm>
          <a:prstGeom prst="round1Rect">
            <a:avLst/>
          </a:prstGeom>
          <a:solidFill>
            <a:schemeClr val="accent1">
              <a:alpha val="5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generated with high confidence">
            <a:extLst>
              <a:ext uri="{FF2B5EF4-FFF2-40B4-BE49-F238E27FC236}">
                <a16:creationId xmlns:a16="http://schemas.microsoft.com/office/drawing/2014/main" id="{5707B01B-0DC8-9A46-9A11-50CA50B29A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7669" y="371705"/>
            <a:ext cx="3290839" cy="1205167"/>
          </a:xfrm>
          <a:prstGeom prst="rect">
            <a:avLst/>
          </a:prstGeom>
        </p:spPr>
      </p:pic>
      <p:sp>
        <p:nvSpPr>
          <p:cNvPr id="14" name="Text Placeholder 13">
            <a:extLst>
              <a:ext uri="{FF2B5EF4-FFF2-40B4-BE49-F238E27FC236}">
                <a16:creationId xmlns:a16="http://schemas.microsoft.com/office/drawing/2014/main" id="{337D3B52-7295-1442-BDDE-486EE415A926}"/>
              </a:ext>
            </a:extLst>
          </p:cNvPr>
          <p:cNvSpPr>
            <a:spLocks noGrp="1"/>
          </p:cNvSpPr>
          <p:nvPr>
            <p:ph type="body" sz="quarter" idx="11" hasCustomPrompt="1"/>
          </p:nvPr>
        </p:nvSpPr>
        <p:spPr>
          <a:xfrm>
            <a:off x="739257" y="1948577"/>
            <a:ext cx="4381384" cy="916543"/>
          </a:xfrm>
          <a:prstGeom prst="rect">
            <a:avLst/>
          </a:prstGeom>
        </p:spPr>
        <p:txBody>
          <a:bodyPr/>
          <a:lstStyle>
            <a:lvl1pPr>
              <a:defRPr sz="3000">
                <a:solidFill>
                  <a:schemeClr val="bg1"/>
                </a:solidFill>
                <a:latin typeface="Palatino" pitchFamily="2" charset="77"/>
                <a:ea typeface="Palatino" pitchFamily="2" charset="77"/>
              </a:defRPr>
            </a:lvl1pPr>
          </a:lstStyle>
          <a:p>
            <a:pPr lvl="0"/>
            <a:r>
              <a:rPr lang="en-US"/>
              <a:t>Insert document </a:t>
            </a:r>
            <a:br>
              <a:rPr lang="en-US"/>
            </a:br>
            <a:r>
              <a:rPr lang="en-US"/>
              <a:t>title here</a:t>
            </a:r>
          </a:p>
        </p:txBody>
      </p:sp>
      <p:sp>
        <p:nvSpPr>
          <p:cNvPr id="16" name="Text Placeholder 15">
            <a:extLst>
              <a:ext uri="{FF2B5EF4-FFF2-40B4-BE49-F238E27FC236}">
                <a16:creationId xmlns:a16="http://schemas.microsoft.com/office/drawing/2014/main" id="{B589CBC4-4156-944B-AD4B-7753CF94213E}"/>
              </a:ext>
            </a:extLst>
          </p:cNvPr>
          <p:cNvSpPr>
            <a:spLocks noGrp="1"/>
          </p:cNvSpPr>
          <p:nvPr>
            <p:ph type="body" sz="quarter" idx="12" hasCustomPrompt="1"/>
          </p:nvPr>
        </p:nvSpPr>
        <p:spPr>
          <a:xfrm>
            <a:off x="739775" y="3035300"/>
            <a:ext cx="4381500" cy="1500188"/>
          </a:xfrm>
          <a:prstGeom prst="rect">
            <a:avLst/>
          </a:prstGeom>
        </p:spPr>
        <p:txBody>
          <a:bodyPr/>
          <a:lstStyle>
            <a:lvl1pPr>
              <a:defRPr sz="1600">
                <a:solidFill>
                  <a:schemeClr val="bg1"/>
                </a:solidFill>
              </a:defRPr>
            </a:lvl1pPr>
          </a:lstStyle>
          <a:p>
            <a:pPr lvl="0"/>
            <a:r>
              <a:rPr lang="en-US"/>
              <a:t>Sub details</a:t>
            </a:r>
          </a:p>
          <a:p>
            <a:pPr lvl="0"/>
            <a:r>
              <a:rPr lang="en-US"/>
              <a:t>Dates</a:t>
            </a:r>
          </a:p>
          <a:p>
            <a:pPr lvl="0"/>
            <a:r>
              <a:rPr lang="en-US"/>
              <a:t>Location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1 line + square on righ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00BF611-62C1-3A4F-B3E6-D75D6C2B70B2}"/>
              </a:ext>
            </a:extLst>
          </p:cNvPr>
          <p:cNvSpPr/>
          <p:nvPr userDrawn="1"/>
        </p:nvSpPr>
        <p:spPr>
          <a:xfrm>
            <a:off x="0" y="1863759"/>
            <a:ext cx="13444538" cy="314953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756BDDDE-07CC-794B-A653-90DFD9FF7713}"/>
              </a:ext>
            </a:extLst>
          </p:cNvPr>
          <p:cNvGrpSpPr/>
          <p:nvPr userDrawn="1"/>
        </p:nvGrpSpPr>
        <p:grpSpPr>
          <a:xfrm>
            <a:off x="11592568" y="3536285"/>
            <a:ext cx="1636504" cy="1319318"/>
            <a:chOff x="12311279" y="4972087"/>
            <a:chExt cx="915745" cy="738256"/>
          </a:xfrm>
          <a:solidFill>
            <a:schemeClr val="bg2"/>
          </a:solidFill>
        </p:grpSpPr>
        <p:sp>
          <p:nvSpPr>
            <p:cNvPr id="8" name="Freeform 25">
              <a:extLst>
                <a:ext uri="{FF2B5EF4-FFF2-40B4-BE49-F238E27FC236}">
                  <a16:creationId xmlns:a16="http://schemas.microsoft.com/office/drawing/2014/main" id="{FD9A549E-8591-D64A-9314-34F31B30A189}"/>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6">
              <a:extLst>
                <a:ext uri="{FF2B5EF4-FFF2-40B4-BE49-F238E27FC236}">
                  <a16:creationId xmlns:a16="http://schemas.microsoft.com/office/drawing/2014/main" id="{E043A3F5-4741-0149-B8A0-CAB40AA6C301}"/>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 name="Group 9">
            <a:extLst>
              <a:ext uri="{FF2B5EF4-FFF2-40B4-BE49-F238E27FC236}">
                <a16:creationId xmlns:a16="http://schemas.microsoft.com/office/drawing/2014/main" id="{E87695F1-DE74-944D-88F9-3F2DE8C51FB6}"/>
              </a:ext>
            </a:extLst>
          </p:cNvPr>
          <p:cNvGrpSpPr/>
          <p:nvPr userDrawn="1"/>
        </p:nvGrpSpPr>
        <p:grpSpPr>
          <a:xfrm rot="10800000">
            <a:off x="4128423" y="2106345"/>
            <a:ext cx="1636504" cy="1319318"/>
            <a:chOff x="12311279" y="4972087"/>
            <a:chExt cx="915745" cy="738256"/>
          </a:xfrm>
          <a:solidFill>
            <a:schemeClr val="bg2"/>
          </a:solidFill>
        </p:grpSpPr>
        <p:sp>
          <p:nvSpPr>
            <p:cNvPr id="12" name="Freeform 25">
              <a:extLst>
                <a:ext uri="{FF2B5EF4-FFF2-40B4-BE49-F238E27FC236}">
                  <a16:creationId xmlns:a16="http://schemas.microsoft.com/office/drawing/2014/main" id="{0AED7517-3701-EA47-AC91-D4111C82E608}"/>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6">
              <a:extLst>
                <a:ext uri="{FF2B5EF4-FFF2-40B4-BE49-F238E27FC236}">
                  <a16:creationId xmlns:a16="http://schemas.microsoft.com/office/drawing/2014/main" id="{DCFDCB63-07C2-994D-807C-439CD5459186}"/>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 name="Text Placeholder 2">
            <a:extLst>
              <a:ext uri="{FF2B5EF4-FFF2-40B4-BE49-F238E27FC236}">
                <a16:creationId xmlns:a16="http://schemas.microsoft.com/office/drawing/2014/main" id="{6551B793-05F4-2844-9C09-B3F70AF4428A}"/>
              </a:ext>
            </a:extLst>
          </p:cNvPr>
          <p:cNvSpPr>
            <a:spLocks noGrp="1"/>
          </p:cNvSpPr>
          <p:nvPr>
            <p:ph type="body" sz="quarter" idx="14" hasCustomPrompt="1"/>
          </p:nvPr>
        </p:nvSpPr>
        <p:spPr>
          <a:xfrm>
            <a:off x="4528614" y="2239320"/>
            <a:ext cx="8069340" cy="48912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endParaRPr lang="en-GB">
              <a:solidFill>
                <a:schemeClr val="accent2"/>
              </a:solidFill>
            </a:endParaRPr>
          </a:p>
        </p:txBody>
      </p:sp>
      <p:sp>
        <p:nvSpPr>
          <p:cNvPr id="24" name="Text Placeholder 9">
            <a:extLst>
              <a:ext uri="{FF2B5EF4-FFF2-40B4-BE49-F238E27FC236}">
                <a16:creationId xmlns:a16="http://schemas.microsoft.com/office/drawing/2014/main" id="{DD98AE58-32E7-3945-A617-CCED1CA1073D}"/>
              </a:ext>
            </a:extLst>
          </p:cNvPr>
          <p:cNvSpPr>
            <a:spLocks noGrp="1"/>
          </p:cNvSpPr>
          <p:nvPr>
            <p:ph type="body" sz="quarter" idx="16" hasCustomPrompt="1"/>
          </p:nvPr>
        </p:nvSpPr>
        <p:spPr>
          <a:xfrm>
            <a:off x="4528614" y="2974525"/>
            <a:ext cx="8069340" cy="1221419"/>
          </a:xfrm>
          <a:prstGeom prst="rect">
            <a:avLst/>
          </a:prstGeom>
        </p:spPr>
        <p:txBody>
          <a:bodyPr/>
          <a:lstStyle>
            <a:lvl1pPr>
              <a:defRPr sz="16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quote here</a:t>
            </a:r>
          </a:p>
        </p:txBody>
      </p:sp>
      <p:sp>
        <p:nvSpPr>
          <p:cNvPr id="29" name="Text Placeholder 9">
            <a:extLst>
              <a:ext uri="{FF2B5EF4-FFF2-40B4-BE49-F238E27FC236}">
                <a16:creationId xmlns:a16="http://schemas.microsoft.com/office/drawing/2014/main" id="{B0E5FABA-A590-154C-A8CE-5AB688D2CF71}"/>
              </a:ext>
            </a:extLst>
          </p:cNvPr>
          <p:cNvSpPr>
            <a:spLocks noGrp="1"/>
          </p:cNvSpPr>
          <p:nvPr>
            <p:ph type="body" sz="quarter" idx="17" hasCustomPrompt="1"/>
          </p:nvPr>
        </p:nvSpPr>
        <p:spPr>
          <a:xfrm>
            <a:off x="4565190" y="4364414"/>
            <a:ext cx="8069340" cy="335638"/>
          </a:xfrm>
          <a:prstGeom prst="rect">
            <a:avLst/>
          </a:prstGeom>
        </p:spPr>
        <p:txBody>
          <a:bodyPr/>
          <a:lstStyle>
            <a:lvl1pPr>
              <a:defRPr sz="1400">
                <a:solidFill>
                  <a:schemeClr val="accent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and title</a:t>
            </a:r>
          </a:p>
        </p:txBody>
      </p:sp>
      <p:sp>
        <p:nvSpPr>
          <p:cNvPr id="16" name="Picture Placeholder 2">
            <a:extLst>
              <a:ext uri="{FF2B5EF4-FFF2-40B4-BE49-F238E27FC236}">
                <a16:creationId xmlns:a16="http://schemas.microsoft.com/office/drawing/2014/main" id="{1A20795B-7DC5-D445-AC4D-6D46CF9525A9}"/>
              </a:ext>
            </a:extLst>
          </p:cNvPr>
          <p:cNvSpPr>
            <a:spLocks noGrp="1"/>
          </p:cNvSpPr>
          <p:nvPr>
            <p:ph type="pic" sz="quarter" idx="19" hasCustomPrompt="1"/>
          </p:nvPr>
        </p:nvSpPr>
        <p:spPr>
          <a:xfrm>
            <a:off x="-15384" y="-13743"/>
            <a:ext cx="3696950" cy="7595569"/>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950" h="7595569">
                <a:moveTo>
                  <a:pt x="0" y="7595565"/>
                </a:moveTo>
                <a:cubicBezTo>
                  <a:pt x="14131" y="7602373"/>
                  <a:pt x="-312" y="375263"/>
                  <a:pt x="2710" y="0"/>
                </a:cubicBezTo>
                <a:lnTo>
                  <a:pt x="3696950" y="4929"/>
                </a:lnTo>
                <a:cubicBezTo>
                  <a:pt x="3691025" y="5011"/>
                  <a:pt x="3693775" y="4660408"/>
                  <a:pt x="3693775" y="6987886"/>
                </a:cubicBezTo>
                <a:cubicBezTo>
                  <a:pt x="3693775" y="7319991"/>
                  <a:pt x="3424551" y="7589215"/>
                  <a:pt x="3092446" y="7589215"/>
                </a:cubicBezTo>
                <a:lnTo>
                  <a:pt x="0" y="7595565"/>
                </a:lnTo>
                <a:close/>
              </a:path>
            </a:pathLst>
          </a:custGeom>
        </p:spPr>
        <p:txBody>
          <a:bodyPr/>
          <a:lstStyle/>
          <a:p>
            <a:r>
              <a:rPr lang="en-US"/>
              <a:t>    </a:t>
            </a:r>
          </a:p>
        </p:txBody>
      </p:sp>
    </p:spTree>
    <p:extLst>
      <p:ext uri="{BB962C8B-B14F-4D97-AF65-F5344CB8AC3E}">
        <p14:creationId xmlns:p14="http://schemas.microsoft.com/office/powerpoint/2010/main" val="33125397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5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 y="3"/>
            <a:ext cx="5858086" cy="7562849"/>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7147386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6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3"/>
            <a:ext cx="9077427" cy="7562849"/>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6850520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4367111" y="3"/>
            <a:ext cx="9077427" cy="7562849"/>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92976912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8BCBE9-A7EE-4DE9-82E4-6064C9BBAFF4}"/>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C8BCBE9-A7EE-4DE9-82E4-6064C9BBAFF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6" name="Picture Placeholder 2"/>
          <p:cNvSpPr>
            <a:spLocks noGrp="1"/>
          </p:cNvSpPr>
          <p:nvPr>
            <p:ph type="pic" sz="quarter" idx="11"/>
          </p:nvPr>
        </p:nvSpPr>
        <p:spPr>
          <a:xfrm>
            <a:off x="967828" y="3346058"/>
            <a:ext cx="5346301" cy="3491495"/>
          </a:xfrm>
          <a:solidFill>
            <a:schemeClr val="bg1">
              <a:lumMod val="95000"/>
            </a:schemeClr>
          </a:solidFill>
        </p:spPr>
        <p:txBody>
          <a:bodyPr>
            <a:normAutofit/>
          </a:bodyPr>
          <a:lstStyle>
            <a:lvl1pPr>
              <a:defRPr sz="1158"/>
            </a:lvl1pPr>
          </a:lstStyle>
          <a:p>
            <a:endParaRPr lang="en-US"/>
          </a:p>
        </p:txBody>
      </p:sp>
      <p:sp>
        <p:nvSpPr>
          <p:cNvPr id="8" name="Picture Placeholder 2"/>
          <p:cNvSpPr>
            <a:spLocks noGrp="1"/>
          </p:cNvSpPr>
          <p:nvPr>
            <p:ph type="pic" sz="quarter" idx="12"/>
          </p:nvPr>
        </p:nvSpPr>
        <p:spPr>
          <a:xfrm>
            <a:off x="7175435" y="3346058"/>
            <a:ext cx="5346301" cy="349149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265950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Placeholder">
    <p:spTree>
      <p:nvGrpSpPr>
        <p:cNvPr id="1" name=""/>
        <p:cNvGrpSpPr/>
        <p:nvPr/>
      </p:nvGrpSpPr>
      <p:grpSpPr>
        <a:xfrm>
          <a:off x="0" y="0"/>
          <a:ext cx="0" cy="0"/>
          <a:chOff x="0" y="0"/>
          <a:chExt cx="0" cy="0"/>
        </a:xfrm>
      </p:grpSpPr>
      <p:sp>
        <p:nvSpPr>
          <p:cNvPr id="11" name="Picture Placeholder 2"/>
          <p:cNvSpPr>
            <a:spLocks noGrp="1"/>
          </p:cNvSpPr>
          <p:nvPr>
            <p:ph type="pic" sz="quarter" idx="11"/>
          </p:nvPr>
        </p:nvSpPr>
        <p:spPr>
          <a:xfrm>
            <a:off x="967830" y="3346058"/>
            <a:ext cx="3477781" cy="3491495"/>
          </a:xfrm>
          <a:solidFill>
            <a:schemeClr val="bg1">
              <a:lumMod val="95000"/>
            </a:schemeClr>
          </a:solidFill>
        </p:spPr>
        <p:txBody>
          <a:bodyPr>
            <a:normAutofit/>
          </a:bodyPr>
          <a:lstStyle>
            <a:lvl1pPr>
              <a:defRPr sz="1158"/>
            </a:lvl1pPr>
          </a:lstStyle>
          <a:p>
            <a:endParaRPr lang="en-US"/>
          </a:p>
        </p:txBody>
      </p:sp>
      <p:sp>
        <p:nvSpPr>
          <p:cNvPr id="12" name="Picture Placeholder 2"/>
          <p:cNvSpPr>
            <a:spLocks noGrp="1"/>
          </p:cNvSpPr>
          <p:nvPr>
            <p:ph type="pic" sz="quarter" idx="12"/>
          </p:nvPr>
        </p:nvSpPr>
        <p:spPr>
          <a:xfrm>
            <a:off x="5005893" y="3346058"/>
            <a:ext cx="3477781" cy="3491495"/>
          </a:xfrm>
          <a:solidFill>
            <a:schemeClr val="bg1">
              <a:lumMod val="95000"/>
            </a:schemeClr>
          </a:solidFill>
        </p:spPr>
        <p:txBody>
          <a:bodyPr>
            <a:normAutofit/>
          </a:bodyPr>
          <a:lstStyle>
            <a:lvl1pPr>
              <a:defRPr sz="1158"/>
            </a:lvl1pPr>
          </a:lstStyle>
          <a:p>
            <a:endParaRPr lang="en-US"/>
          </a:p>
        </p:txBody>
      </p:sp>
      <p:sp>
        <p:nvSpPr>
          <p:cNvPr id="13" name="Picture Placeholder 2"/>
          <p:cNvSpPr>
            <a:spLocks noGrp="1"/>
          </p:cNvSpPr>
          <p:nvPr>
            <p:ph type="pic" sz="quarter" idx="13"/>
          </p:nvPr>
        </p:nvSpPr>
        <p:spPr>
          <a:xfrm>
            <a:off x="9043955" y="3346058"/>
            <a:ext cx="3477781" cy="349149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1356247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2082D2-B4F8-4458-90EC-758228494354}"/>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32082D2-B4F8-4458-90EC-75822849435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6" name="Picture Placeholder 2"/>
          <p:cNvSpPr>
            <a:spLocks noGrp="1"/>
          </p:cNvSpPr>
          <p:nvPr>
            <p:ph type="pic" sz="quarter" idx="11"/>
          </p:nvPr>
        </p:nvSpPr>
        <p:spPr>
          <a:xfrm>
            <a:off x="1006851" y="1782672"/>
            <a:ext cx="3671140" cy="4843826"/>
          </a:xfrm>
          <a:solidFill>
            <a:schemeClr val="bg1">
              <a:lumMod val="95000"/>
            </a:schemeClr>
          </a:solidFill>
        </p:spPr>
        <p:txBody>
          <a:bodyPr>
            <a:normAutofit/>
          </a:bodyPr>
          <a:lstStyle>
            <a:lvl1pPr>
              <a:defRPr sz="1158"/>
            </a:lvl1pPr>
          </a:lstStyle>
          <a:p>
            <a:endParaRPr lang="en-US"/>
          </a:p>
        </p:txBody>
      </p:sp>
      <p:sp>
        <p:nvSpPr>
          <p:cNvPr id="17" name="Picture Placeholder 2"/>
          <p:cNvSpPr>
            <a:spLocks noGrp="1"/>
          </p:cNvSpPr>
          <p:nvPr>
            <p:ph type="pic" sz="quarter" idx="12"/>
          </p:nvPr>
        </p:nvSpPr>
        <p:spPr>
          <a:xfrm>
            <a:off x="4928724" y="1782675"/>
            <a:ext cx="3671140" cy="1998753"/>
          </a:xfrm>
          <a:solidFill>
            <a:schemeClr val="bg1">
              <a:lumMod val="95000"/>
            </a:schemeClr>
          </a:solidFill>
        </p:spPr>
        <p:txBody>
          <a:bodyPr>
            <a:normAutofit/>
          </a:bodyPr>
          <a:lstStyle>
            <a:lvl1pPr>
              <a:defRPr sz="1158"/>
            </a:lvl1pPr>
          </a:lstStyle>
          <a:p>
            <a:endParaRPr lang="en-US"/>
          </a:p>
        </p:txBody>
      </p:sp>
      <p:sp>
        <p:nvSpPr>
          <p:cNvPr id="18" name="Picture Placeholder 2"/>
          <p:cNvSpPr>
            <a:spLocks noGrp="1"/>
          </p:cNvSpPr>
          <p:nvPr>
            <p:ph type="pic" sz="quarter" idx="13"/>
          </p:nvPr>
        </p:nvSpPr>
        <p:spPr>
          <a:xfrm>
            <a:off x="4928724" y="4004760"/>
            <a:ext cx="3671140" cy="2621737"/>
          </a:xfr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14"/>
          </p:nvPr>
        </p:nvSpPr>
        <p:spPr>
          <a:xfrm>
            <a:off x="8850596" y="1782674"/>
            <a:ext cx="3671140" cy="3453147"/>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1753469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ADD0F0-9651-4E99-9CD6-51F5746BEF8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9ADD0F0-9651-4E99-9CD6-51F5746BEF8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23" name="Picture Placeholder 2"/>
          <p:cNvSpPr>
            <a:spLocks noGrp="1"/>
          </p:cNvSpPr>
          <p:nvPr>
            <p:ph type="pic" sz="quarter" idx="28"/>
          </p:nvPr>
        </p:nvSpPr>
        <p:spPr>
          <a:xfrm>
            <a:off x="6722269" y="0"/>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24" name="Picture Placeholder 2"/>
          <p:cNvSpPr>
            <a:spLocks noGrp="1"/>
          </p:cNvSpPr>
          <p:nvPr>
            <p:ph type="pic" sz="quarter" idx="29"/>
          </p:nvPr>
        </p:nvSpPr>
        <p:spPr>
          <a:xfrm>
            <a:off x="0" y="3781425"/>
            <a:ext cx="6722269" cy="3781425"/>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9018946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2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898C3D-61CC-4BE9-BDCE-15D1B87D7367}"/>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6898C3D-61CC-4BE9-BDCE-15D1B87D7367}"/>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8" name="Picture Placeholder 2"/>
          <p:cNvSpPr>
            <a:spLocks noGrp="1"/>
          </p:cNvSpPr>
          <p:nvPr>
            <p:ph type="pic" sz="quarter" idx="26"/>
          </p:nvPr>
        </p:nvSpPr>
        <p:spPr>
          <a:xfrm>
            <a:off x="0" y="0"/>
            <a:ext cx="6722269" cy="7562850"/>
          </a:xfrm>
          <a:prstGeom prst="rect">
            <a:avLst/>
          </a:prstGeom>
          <a:solidFill>
            <a:schemeClr val="bg1">
              <a:lumMod val="95000"/>
            </a:schemeClr>
          </a:solidFill>
        </p:spPr>
        <p:txBody>
          <a:bodyPr>
            <a:normAutofit/>
          </a:bodyPr>
          <a:lstStyle>
            <a:lvl1pPr>
              <a:defRPr sz="1158"/>
            </a:lvl1pPr>
          </a:lstStyle>
          <a:p>
            <a:endParaRPr lang="en-US"/>
          </a:p>
        </p:txBody>
      </p:sp>
      <p:sp>
        <p:nvSpPr>
          <p:cNvPr id="23" name="Picture Placeholder 2"/>
          <p:cNvSpPr>
            <a:spLocks noGrp="1"/>
          </p:cNvSpPr>
          <p:nvPr>
            <p:ph type="pic" sz="quarter" idx="28"/>
          </p:nvPr>
        </p:nvSpPr>
        <p:spPr>
          <a:xfrm>
            <a:off x="6722269" y="0"/>
            <a:ext cx="6722269" cy="7562850"/>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0557593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3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6293C4-90D0-41EE-B84B-DE4AAFD34578}"/>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DA6293C4-90D0-41EE-B84B-DE4AAFD3457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7" name="Picture Placeholder 2"/>
          <p:cNvSpPr>
            <a:spLocks noGrp="1"/>
          </p:cNvSpPr>
          <p:nvPr>
            <p:ph type="pic" sz="quarter" idx="26"/>
          </p:nvPr>
        </p:nvSpPr>
        <p:spPr>
          <a:xfrm>
            <a:off x="-1" y="0"/>
            <a:ext cx="13444539" cy="3802433"/>
          </a:xfrm>
          <a:prstGeom prst="rect">
            <a:avLst/>
          </a:prstGeom>
          <a:solidFill>
            <a:schemeClr val="bg1">
              <a:lumMod val="95000"/>
            </a:schemeClr>
          </a:solidFill>
        </p:spPr>
        <p:txBody>
          <a:bodyPr>
            <a:normAutofit/>
          </a:bodyPr>
          <a:lstStyle>
            <a:lvl1pPr>
              <a:defRPr sz="1158"/>
            </a:lvl1pPr>
          </a:lstStyle>
          <a:p>
            <a:endParaRPr lang="en-US"/>
          </a:p>
        </p:txBody>
      </p:sp>
      <p:sp>
        <p:nvSpPr>
          <p:cNvPr id="8" name="Picture Placeholder 2"/>
          <p:cNvSpPr>
            <a:spLocks noGrp="1"/>
          </p:cNvSpPr>
          <p:nvPr>
            <p:ph type="pic" sz="quarter" idx="27"/>
          </p:nvPr>
        </p:nvSpPr>
        <p:spPr>
          <a:xfrm>
            <a:off x="-1" y="3802433"/>
            <a:ext cx="13444539" cy="3760417"/>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50422118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8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7AA381-01D7-448D-A07B-051FF3CA4660}"/>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6F7AA381-01D7-448D-A07B-051FF3CA4660}"/>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7" name="Picture Placeholder 2"/>
          <p:cNvSpPr>
            <a:spLocks noGrp="1"/>
          </p:cNvSpPr>
          <p:nvPr>
            <p:ph type="pic" sz="quarter" idx="29"/>
          </p:nvPr>
        </p:nvSpPr>
        <p:spPr>
          <a:xfrm>
            <a:off x="0" y="0"/>
            <a:ext cx="4481513" cy="3781425"/>
          </a:xfrm>
          <a:prstGeom prst="rect">
            <a:avLst/>
          </a:prstGeom>
          <a:solidFill>
            <a:schemeClr val="bg1">
              <a:lumMod val="95000"/>
            </a:schemeClr>
          </a:solidFill>
        </p:spPr>
        <p:txBody>
          <a:bodyPr>
            <a:normAutofit/>
          </a:bodyPr>
          <a:lstStyle>
            <a:lvl1pPr>
              <a:defRPr sz="1158"/>
            </a:lvl1pPr>
          </a:lstStyle>
          <a:p>
            <a:endParaRPr lang="en-US"/>
          </a:p>
        </p:txBody>
      </p:sp>
      <p:sp>
        <p:nvSpPr>
          <p:cNvPr id="20" name="Picture Placeholder 2"/>
          <p:cNvSpPr>
            <a:spLocks noGrp="1"/>
          </p:cNvSpPr>
          <p:nvPr>
            <p:ph type="pic" sz="quarter" idx="30"/>
          </p:nvPr>
        </p:nvSpPr>
        <p:spPr>
          <a:xfrm>
            <a:off x="4481512" y="0"/>
            <a:ext cx="4481513" cy="3781425"/>
          </a:xfrm>
          <a:prstGeom prst="rect">
            <a:avLst/>
          </a:prstGeom>
          <a:solidFill>
            <a:srgbClr val="3C3C41"/>
          </a:solidFill>
        </p:spPr>
        <p:txBody>
          <a:bodyPr>
            <a:normAutofit/>
          </a:bodyPr>
          <a:lstStyle>
            <a:lvl1pPr>
              <a:defRPr sz="1158"/>
            </a:lvl1pPr>
          </a:lstStyle>
          <a:p>
            <a:endParaRPr lang="en-US"/>
          </a:p>
        </p:txBody>
      </p:sp>
      <p:sp>
        <p:nvSpPr>
          <p:cNvPr id="21" name="Picture Placeholder 2"/>
          <p:cNvSpPr>
            <a:spLocks noGrp="1"/>
          </p:cNvSpPr>
          <p:nvPr>
            <p:ph type="pic" sz="quarter" idx="31"/>
          </p:nvPr>
        </p:nvSpPr>
        <p:spPr>
          <a:xfrm>
            <a:off x="8963026" y="0"/>
            <a:ext cx="4481513" cy="3781425"/>
          </a:xfrm>
          <a:prstGeom prst="rect">
            <a:avLst/>
          </a:prstGeom>
          <a:solidFill>
            <a:schemeClr val="bg1">
              <a:lumMod val="95000"/>
            </a:schemeClr>
          </a:solidFill>
        </p:spPr>
        <p:txBody>
          <a:bodyPr>
            <a:normAutofit/>
          </a:bodyPr>
          <a:lstStyle>
            <a:lvl1pPr>
              <a:defRPr sz="1158"/>
            </a:lvl1pPr>
          </a:lstStyle>
          <a:p>
            <a:endParaRPr lang="en-US"/>
          </a:p>
        </p:txBody>
      </p:sp>
      <p:sp>
        <p:nvSpPr>
          <p:cNvPr id="22" name="Picture Placeholder 2"/>
          <p:cNvSpPr>
            <a:spLocks noGrp="1"/>
          </p:cNvSpPr>
          <p:nvPr>
            <p:ph type="pic" sz="quarter" idx="32"/>
          </p:nvPr>
        </p:nvSpPr>
        <p:spPr>
          <a:xfrm>
            <a:off x="0" y="3781425"/>
            <a:ext cx="4481513" cy="3781425"/>
          </a:xfrm>
          <a:prstGeom prst="rect">
            <a:avLst/>
          </a:prstGeom>
          <a:solidFill>
            <a:srgbClr val="3C3C41"/>
          </a:solidFill>
        </p:spPr>
        <p:txBody>
          <a:bodyPr>
            <a:normAutofit/>
          </a:bodyPr>
          <a:lstStyle>
            <a:lvl1pPr>
              <a:defRPr sz="1158"/>
            </a:lvl1pPr>
          </a:lstStyle>
          <a:p>
            <a:endParaRPr lang="en-US"/>
          </a:p>
        </p:txBody>
      </p:sp>
      <p:sp>
        <p:nvSpPr>
          <p:cNvPr id="25" name="Picture Placeholder 2"/>
          <p:cNvSpPr>
            <a:spLocks noGrp="1"/>
          </p:cNvSpPr>
          <p:nvPr>
            <p:ph type="pic" sz="quarter" idx="33"/>
          </p:nvPr>
        </p:nvSpPr>
        <p:spPr>
          <a:xfrm>
            <a:off x="4481512" y="3781425"/>
            <a:ext cx="4481513" cy="3781425"/>
          </a:xfrm>
          <a:prstGeom prst="rect">
            <a:avLst/>
          </a:prstGeom>
          <a:solidFill>
            <a:schemeClr val="bg1">
              <a:lumMod val="95000"/>
            </a:schemeClr>
          </a:solidFill>
        </p:spPr>
        <p:txBody>
          <a:bodyPr>
            <a:normAutofit/>
          </a:bodyPr>
          <a:lstStyle>
            <a:lvl1pPr>
              <a:defRPr sz="1158"/>
            </a:lvl1pPr>
          </a:lstStyle>
          <a:p>
            <a:endParaRPr lang="en-US"/>
          </a:p>
        </p:txBody>
      </p:sp>
      <p:sp>
        <p:nvSpPr>
          <p:cNvPr id="26" name="Picture Placeholder 2"/>
          <p:cNvSpPr>
            <a:spLocks noGrp="1"/>
          </p:cNvSpPr>
          <p:nvPr>
            <p:ph type="pic" sz="quarter" idx="34"/>
          </p:nvPr>
        </p:nvSpPr>
        <p:spPr>
          <a:xfrm>
            <a:off x="8963026" y="3781425"/>
            <a:ext cx="4481513" cy="3781425"/>
          </a:xfrm>
          <a:prstGeom prst="rect">
            <a:avLst/>
          </a:prstGeom>
          <a:solidFill>
            <a:srgbClr val="3C3C41"/>
          </a:solidFill>
        </p:spPr>
        <p:txBody>
          <a:bodyPr>
            <a:normAutofit/>
          </a:bodyPr>
          <a:lstStyle>
            <a:lvl1pPr>
              <a:defRPr sz="1158"/>
            </a:lvl1pPr>
          </a:lstStyle>
          <a:p>
            <a:endParaRPr lang="en-US"/>
          </a:p>
        </p:txBody>
      </p:sp>
    </p:spTree>
    <p:extLst>
      <p:ext uri="{BB962C8B-B14F-4D97-AF65-F5344CB8AC3E}">
        <p14:creationId xmlns:p14="http://schemas.microsoft.com/office/powerpoint/2010/main" val="890565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 text">
    <p:bg>
      <p:bgPr>
        <a:solidFill>
          <a:schemeClr val="bg1"/>
        </a:solidFill>
        <a:effectLst/>
      </p:bgPr>
    </p:bg>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5A4DCD26-4DA3-9F47-929D-7A156A289A4F}"/>
              </a:ext>
            </a:extLst>
          </p:cNvPr>
          <p:cNvSpPr>
            <a:spLocks noGrp="1"/>
          </p:cNvSpPr>
          <p:nvPr>
            <p:ph type="pic" sz="quarter" idx="10"/>
          </p:nvPr>
        </p:nvSpPr>
        <p:spPr>
          <a:xfrm>
            <a:off x="0" y="0"/>
            <a:ext cx="13444538" cy="7562850"/>
          </a:xfrm>
          <a:prstGeom prst="rect">
            <a:avLst/>
          </a:prstGeom>
        </p:spPr>
        <p:txBody>
          <a:bodyPr/>
          <a:lstStyle/>
          <a:p>
            <a:endParaRPr lang="en-US"/>
          </a:p>
        </p:txBody>
      </p:sp>
      <p:sp>
        <p:nvSpPr>
          <p:cNvPr id="9" name="Rectangle 8">
            <a:extLst>
              <a:ext uri="{FF2B5EF4-FFF2-40B4-BE49-F238E27FC236}">
                <a16:creationId xmlns:a16="http://schemas.microsoft.com/office/drawing/2014/main" id="{419EA3B3-9BE9-2348-97E8-70A9E6BDD193}"/>
              </a:ext>
            </a:extLst>
          </p:cNvPr>
          <p:cNvSpPr/>
          <p:nvPr userDrawn="1"/>
        </p:nvSpPr>
        <p:spPr>
          <a:xfrm>
            <a:off x="0" y="4119338"/>
            <a:ext cx="13444538" cy="259022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52DDE9C-5CF5-6341-BDC9-87F23794A80D}"/>
              </a:ext>
            </a:extLst>
          </p:cNvPr>
          <p:cNvGrpSpPr/>
          <p:nvPr userDrawn="1"/>
        </p:nvGrpSpPr>
        <p:grpSpPr>
          <a:xfrm rot="10800000">
            <a:off x="499482" y="4486279"/>
            <a:ext cx="981677" cy="791409"/>
            <a:chOff x="12311279" y="4972087"/>
            <a:chExt cx="915745" cy="738256"/>
          </a:xfrm>
          <a:solidFill>
            <a:schemeClr val="bg1"/>
          </a:solidFill>
        </p:grpSpPr>
        <p:sp>
          <p:nvSpPr>
            <p:cNvPr id="12" name="Freeform 25">
              <a:extLst>
                <a:ext uri="{FF2B5EF4-FFF2-40B4-BE49-F238E27FC236}">
                  <a16:creationId xmlns:a16="http://schemas.microsoft.com/office/drawing/2014/main" id="{67DFC191-AF16-C34E-844A-2797208AA31C}"/>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sp>
          <p:nvSpPr>
            <p:cNvPr id="13" name="Freeform 26">
              <a:extLst>
                <a:ext uri="{FF2B5EF4-FFF2-40B4-BE49-F238E27FC236}">
                  <a16:creationId xmlns:a16="http://schemas.microsoft.com/office/drawing/2014/main" id="{6000AFFD-38C0-ED4D-B395-42C26E8D218A}"/>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grpSp>
      <p:grpSp>
        <p:nvGrpSpPr>
          <p:cNvPr id="14" name="Group 13">
            <a:extLst>
              <a:ext uri="{FF2B5EF4-FFF2-40B4-BE49-F238E27FC236}">
                <a16:creationId xmlns:a16="http://schemas.microsoft.com/office/drawing/2014/main" id="{2C9D7799-3366-2A43-9364-889A856FED6F}"/>
              </a:ext>
            </a:extLst>
          </p:cNvPr>
          <p:cNvGrpSpPr/>
          <p:nvPr userDrawn="1"/>
        </p:nvGrpSpPr>
        <p:grpSpPr>
          <a:xfrm>
            <a:off x="11829875" y="5631848"/>
            <a:ext cx="981677" cy="791409"/>
            <a:chOff x="12311279" y="4972087"/>
            <a:chExt cx="915745" cy="738256"/>
          </a:xfrm>
          <a:solidFill>
            <a:schemeClr val="bg1"/>
          </a:solidFill>
        </p:grpSpPr>
        <p:sp>
          <p:nvSpPr>
            <p:cNvPr id="15" name="Freeform 25">
              <a:extLst>
                <a:ext uri="{FF2B5EF4-FFF2-40B4-BE49-F238E27FC236}">
                  <a16:creationId xmlns:a16="http://schemas.microsoft.com/office/drawing/2014/main" id="{153E5A51-DDE4-5E41-9EE4-B06F99A74966}"/>
                </a:ext>
              </a:extLst>
            </p:cNvPr>
            <p:cNvSpPr>
              <a:spLocks/>
            </p:cNvSpPr>
            <p:nvPr/>
          </p:nvSpPr>
          <p:spPr bwMode="auto">
            <a:xfrm>
              <a:off x="12825742" y="4972087"/>
              <a:ext cx="401282" cy="738256"/>
            </a:xfrm>
            <a:custGeom>
              <a:avLst/>
              <a:gdLst>
                <a:gd name="T0" fmla="*/ 4 w 25"/>
                <a:gd name="T1" fmla="*/ 41 h 46"/>
                <a:gd name="T2" fmla="*/ 9 w 25"/>
                <a:gd name="T3" fmla="*/ 46 h 46"/>
                <a:gd name="T4" fmla="*/ 25 w 25"/>
                <a:gd name="T5" fmla="*/ 22 h 46"/>
                <a:gd name="T6" fmla="*/ 25 w 25"/>
                <a:gd name="T7" fmla="*/ 0 h 46"/>
                <a:gd name="T8" fmla="*/ 0 w 25"/>
                <a:gd name="T9" fmla="*/ 0 h 46"/>
                <a:gd name="T10" fmla="*/ 0 w 25"/>
                <a:gd name="T11" fmla="*/ 22 h 46"/>
                <a:gd name="T12" fmla="*/ 12 w 25"/>
                <a:gd name="T13" fmla="*/ 22 h 46"/>
                <a:gd name="T14" fmla="*/ 4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4" y="41"/>
                  </a:moveTo>
                  <a:cubicBezTo>
                    <a:pt x="9" y="46"/>
                    <a:pt x="9" y="46"/>
                    <a:pt x="9" y="46"/>
                  </a:cubicBezTo>
                  <a:cubicBezTo>
                    <a:pt x="22" y="39"/>
                    <a:pt x="25" y="22"/>
                    <a:pt x="25" y="22"/>
                  </a:cubicBezTo>
                  <a:cubicBezTo>
                    <a:pt x="25" y="0"/>
                    <a:pt x="25" y="0"/>
                    <a:pt x="25" y="0"/>
                  </a:cubicBezTo>
                  <a:cubicBezTo>
                    <a:pt x="0" y="0"/>
                    <a:pt x="0" y="0"/>
                    <a:pt x="0" y="0"/>
                  </a:cubicBezTo>
                  <a:cubicBezTo>
                    <a:pt x="0" y="22"/>
                    <a:pt x="0" y="22"/>
                    <a:pt x="0" y="22"/>
                  </a:cubicBezTo>
                  <a:cubicBezTo>
                    <a:pt x="12" y="22"/>
                    <a:pt x="12" y="22"/>
                    <a:pt x="12" y="22"/>
                  </a:cubicBezTo>
                  <a:cubicBezTo>
                    <a:pt x="12" y="35"/>
                    <a:pt x="4" y="41"/>
                    <a:pt x="4"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sp>
          <p:nvSpPr>
            <p:cNvPr id="17" name="Freeform 26">
              <a:extLst>
                <a:ext uri="{FF2B5EF4-FFF2-40B4-BE49-F238E27FC236}">
                  <a16:creationId xmlns:a16="http://schemas.microsoft.com/office/drawing/2014/main" id="{25412871-3EE8-B940-A1CF-3D4F3DC27CA3}"/>
                </a:ext>
              </a:extLst>
            </p:cNvPr>
            <p:cNvSpPr>
              <a:spLocks/>
            </p:cNvSpPr>
            <p:nvPr/>
          </p:nvSpPr>
          <p:spPr bwMode="auto">
            <a:xfrm>
              <a:off x="12311279" y="4972087"/>
              <a:ext cx="401282" cy="738256"/>
            </a:xfrm>
            <a:custGeom>
              <a:avLst/>
              <a:gdLst>
                <a:gd name="T0" fmla="*/ 5 w 25"/>
                <a:gd name="T1" fmla="*/ 41 h 46"/>
                <a:gd name="T2" fmla="*/ 10 w 25"/>
                <a:gd name="T3" fmla="*/ 46 h 46"/>
                <a:gd name="T4" fmla="*/ 25 w 25"/>
                <a:gd name="T5" fmla="*/ 22 h 46"/>
                <a:gd name="T6" fmla="*/ 25 w 25"/>
                <a:gd name="T7" fmla="*/ 0 h 46"/>
                <a:gd name="T8" fmla="*/ 0 w 25"/>
                <a:gd name="T9" fmla="*/ 0 h 46"/>
                <a:gd name="T10" fmla="*/ 0 w 25"/>
                <a:gd name="T11" fmla="*/ 22 h 46"/>
                <a:gd name="T12" fmla="*/ 13 w 25"/>
                <a:gd name="T13" fmla="*/ 22 h 46"/>
                <a:gd name="T14" fmla="*/ 5 w 25"/>
                <a:gd name="T15" fmla="*/ 4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6">
                  <a:moveTo>
                    <a:pt x="5" y="41"/>
                  </a:moveTo>
                  <a:cubicBezTo>
                    <a:pt x="10" y="46"/>
                    <a:pt x="10" y="46"/>
                    <a:pt x="10" y="46"/>
                  </a:cubicBezTo>
                  <a:cubicBezTo>
                    <a:pt x="23" y="39"/>
                    <a:pt x="25" y="22"/>
                    <a:pt x="25" y="22"/>
                  </a:cubicBezTo>
                  <a:cubicBezTo>
                    <a:pt x="25" y="0"/>
                    <a:pt x="25" y="0"/>
                    <a:pt x="25" y="0"/>
                  </a:cubicBezTo>
                  <a:cubicBezTo>
                    <a:pt x="0" y="0"/>
                    <a:pt x="0" y="0"/>
                    <a:pt x="0" y="0"/>
                  </a:cubicBezTo>
                  <a:cubicBezTo>
                    <a:pt x="0" y="22"/>
                    <a:pt x="0" y="22"/>
                    <a:pt x="0" y="22"/>
                  </a:cubicBezTo>
                  <a:cubicBezTo>
                    <a:pt x="13" y="22"/>
                    <a:pt x="13" y="22"/>
                    <a:pt x="13" y="22"/>
                  </a:cubicBezTo>
                  <a:cubicBezTo>
                    <a:pt x="13" y="35"/>
                    <a:pt x="5" y="41"/>
                    <a:pt x="5" y="4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00"/>
            </a:p>
          </p:txBody>
        </p:sp>
      </p:grpSp>
      <p:sp>
        <p:nvSpPr>
          <p:cNvPr id="24" name="Text Placeholder 9">
            <a:extLst>
              <a:ext uri="{FF2B5EF4-FFF2-40B4-BE49-F238E27FC236}">
                <a16:creationId xmlns:a16="http://schemas.microsoft.com/office/drawing/2014/main" id="{D569496D-4436-F14C-9315-0A38915358E6}"/>
              </a:ext>
            </a:extLst>
          </p:cNvPr>
          <p:cNvSpPr>
            <a:spLocks noGrp="1"/>
          </p:cNvSpPr>
          <p:nvPr>
            <p:ph type="body" sz="quarter" idx="16" hasCustomPrompt="1"/>
          </p:nvPr>
        </p:nvSpPr>
        <p:spPr>
          <a:xfrm>
            <a:off x="1798986" y="4557548"/>
            <a:ext cx="9846566" cy="1221419"/>
          </a:xfrm>
          <a:prstGeom prst="rect">
            <a:avLst/>
          </a:prstGeom>
        </p:spPr>
        <p:txBody>
          <a:bodyPr/>
          <a:lstStyle>
            <a:lvl1pPr>
              <a:defRPr sz="18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quote here</a:t>
            </a:r>
          </a:p>
        </p:txBody>
      </p:sp>
      <p:sp>
        <p:nvSpPr>
          <p:cNvPr id="25" name="Text Placeholder 9">
            <a:extLst>
              <a:ext uri="{FF2B5EF4-FFF2-40B4-BE49-F238E27FC236}">
                <a16:creationId xmlns:a16="http://schemas.microsoft.com/office/drawing/2014/main" id="{41DBDC45-83ED-6E44-AEA5-A063E6D6B1E1}"/>
              </a:ext>
            </a:extLst>
          </p:cNvPr>
          <p:cNvSpPr>
            <a:spLocks noGrp="1"/>
          </p:cNvSpPr>
          <p:nvPr>
            <p:ph type="body" sz="quarter" idx="17" hasCustomPrompt="1"/>
          </p:nvPr>
        </p:nvSpPr>
        <p:spPr>
          <a:xfrm>
            <a:off x="1798986" y="5947437"/>
            <a:ext cx="9846566" cy="335638"/>
          </a:xfrm>
          <a:prstGeom prst="rect">
            <a:avLst/>
          </a:prstGeom>
        </p:spPr>
        <p:txBody>
          <a:bodyPr/>
          <a:lstStyle>
            <a:lvl1pPr>
              <a:defRPr sz="1600">
                <a:solidFill>
                  <a:schemeClr val="accent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Name and title</a:t>
            </a:r>
          </a:p>
        </p:txBody>
      </p:sp>
      <p:sp>
        <p:nvSpPr>
          <p:cNvPr id="3" name="Text Placeholder 2">
            <a:extLst>
              <a:ext uri="{FF2B5EF4-FFF2-40B4-BE49-F238E27FC236}">
                <a16:creationId xmlns:a16="http://schemas.microsoft.com/office/drawing/2014/main" id="{B54CA2D9-337B-A546-A845-30E2B3FCF1E7}"/>
              </a:ext>
            </a:extLst>
          </p:cNvPr>
          <p:cNvSpPr>
            <a:spLocks noGrp="1"/>
          </p:cNvSpPr>
          <p:nvPr>
            <p:ph type="body" sz="quarter" idx="15" hasCustomPrompt="1"/>
          </p:nvPr>
        </p:nvSpPr>
        <p:spPr>
          <a:xfrm>
            <a:off x="785670" y="776579"/>
            <a:ext cx="9955482" cy="511175"/>
          </a:xfrm>
          <a:prstGeom prst="rect">
            <a:avLst/>
          </a:prstGeom>
        </p:spPr>
        <p:txBody>
          <a:bodyPr/>
          <a:lstStyle>
            <a:lvl1pPr>
              <a:defRPr sz="3000">
                <a:solidFill>
                  <a:schemeClr val="tx2">
                    <a:lumMod val="10000"/>
                    <a:lumOff val="90000"/>
                  </a:schemeClr>
                </a:solidFill>
                <a:latin typeface="Palatino" pitchFamily="2" charset="77"/>
                <a:ea typeface="Palatino" pitchFamily="2" charset="77"/>
              </a:defRPr>
            </a:lvl1pPr>
          </a:lstStyle>
          <a:p>
            <a:pPr lvl="0"/>
            <a:r>
              <a:rPr lang="en-US"/>
              <a:t>Title line one</a:t>
            </a:r>
          </a:p>
        </p:txBody>
      </p:sp>
    </p:spTree>
    <p:extLst>
      <p:ext uri="{BB962C8B-B14F-4D97-AF65-F5344CB8AC3E}">
        <p14:creationId xmlns:p14="http://schemas.microsoft.com/office/powerpoint/2010/main" val="153738135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1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854736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3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3781425"/>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7"/>
          </p:nvPr>
        </p:nvSpPr>
        <p:spPr>
          <a:xfrm>
            <a:off x="6722269" y="3781425"/>
            <a:ext cx="6722269" cy="3781425"/>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1585501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2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0" y="0"/>
            <a:ext cx="6722269" cy="3781425"/>
          </a:xfrm>
          <a:prstGeom prst="rect">
            <a:avLst/>
          </a:prstGeo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7"/>
          </p:nvPr>
        </p:nvSpPr>
        <p:spPr>
          <a:xfrm>
            <a:off x="6722269" y="0"/>
            <a:ext cx="6722269" cy="3781425"/>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30050764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Placeholder">
    <p:spTree>
      <p:nvGrpSpPr>
        <p:cNvPr id="1" name=""/>
        <p:cNvGrpSpPr/>
        <p:nvPr/>
      </p:nvGrpSpPr>
      <p:grpSpPr>
        <a:xfrm>
          <a:off x="0" y="0"/>
          <a:ext cx="0" cy="0"/>
          <a:chOff x="0" y="0"/>
          <a:chExt cx="0" cy="0"/>
        </a:xfrm>
      </p:grpSpPr>
      <p:sp>
        <p:nvSpPr>
          <p:cNvPr id="22" name="Picture Placeholder 2"/>
          <p:cNvSpPr>
            <a:spLocks noGrp="1"/>
          </p:cNvSpPr>
          <p:nvPr>
            <p:ph type="pic" sz="quarter" idx="14"/>
          </p:nvPr>
        </p:nvSpPr>
        <p:spPr>
          <a:xfrm>
            <a:off x="975334" y="2443776"/>
            <a:ext cx="3651260" cy="1998753"/>
          </a:xfrm>
          <a:solidFill>
            <a:schemeClr val="bg1">
              <a:lumMod val="95000"/>
            </a:schemeClr>
          </a:solidFill>
        </p:spPr>
        <p:txBody>
          <a:bodyPr>
            <a:normAutofit/>
          </a:bodyPr>
          <a:lstStyle>
            <a:lvl1pPr>
              <a:defRPr sz="1158"/>
            </a:lvl1pPr>
          </a:lstStyle>
          <a:p>
            <a:endParaRPr lang="en-US"/>
          </a:p>
        </p:txBody>
      </p:sp>
      <p:sp>
        <p:nvSpPr>
          <p:cNvPr id="23" name="Picture Placeholder 2"/>
          <p:cNvSpPr>
            <a:spLocks noGrp="1"/>
          </p:cNvSpPr>
          <p:nvPr>
            <p:ph type="pic" sz="quarter" idx="15"/>
          </p:nvPr>
        </p:nvSpPr>
        <p:spPr>
          <a:xfrm>
            <a:off x="975334" y="4681254"/>
            <a:ext cx="3651260" cy="1998753"/>
          </a:xfrm>
          <a:solidFill>
            <a:schemeClr val="bg1">
              <a:lumMod val="95000"/>
            </a:schemeClr>
          </a:solidFill>
        </p:spPr>
        <p:txBody>
          <a:bodyPr>
            <a:normAutofit/>
          </a:bodyPr>
          <a:lstStyle>
            <a:lvl1pPr>
              <a:defRPr sz="1158"/>
            </a:lvl1pPr>
          </a:lstStyle>
          <a:p>
            <a:endParaRPr lang="en-US"/>
          </a:p>
        </p:txBody>
      </p:sp>
      <p:sp>
        <p:nvSpPr>
          <p:cNvPr id="24" name="Picture Placeholder 2"/>
          <p:cNvSpPr>
            <a:spLocks noGrp="1"/>
          </p:cNvSpPr>
          <p:nvPr>
            <p:ph type="pic" sz="quarter" idx="16"/>
          </p:nvPr>
        </p:nvSpPr>
        <p:spPr>
          <a:xfrm>
            <a:off x="4938665" y="2443776"/>
            <a:ext cx="3651260" cy="1998753"/>
          </a:xfrm>
          <a:solidFill>
            <a:schemeClr val="bg1">
              <a:lumMod val="95000"/>
            </a:schemeClr>
          </a:solidFill>
        </p:spPr>
        <p:txBody>
          <a:bodyPr>
            <a:normAutofit/>
          </a:bodyPr>
          <a:lstStyle>
            <a:lvl1pPr>
              <a:defRPr sz="1158"/>
            </a:lvl1pPr>
          </a:lstStyle>
          <a:p>
            <a:endParaRPr lang="en-US"/>
          </a:p>
        </p:txBody>
      </p:sp>
      <p:sp>
        <p:nvSpPr>
          <p:cNvPr id="25" name="Picture Placeholder 2"/>
          <p:cNvSpPr>
            <a:spLocks noGrp="1"/>
          </p:cNvSpPr>
          <p:nvPr>
            <p:ph type="pic" sz="quarter" idx="17"/>
          </p:nvPr>
        </p:nvSpPr>
        <p:spPr>
          <a:xfrm>
            <a:off x="4938665" y="4681254"/>
            <a:ext cx="3651260" cy="1998753"/>
          </a:xfrm>
          <a:solidFill>
            <a:schemeClr val="bg1">
              <a:lumMod val="95000"/>
            </a:schemeClr>
          </a:solidFill>
        </p:spPr>
        <p:txBody>
          <a:bodyPr>
            <a:normAutofit/>
          </a:bodyPr>
          <a:lstStyle>
            <a:lvl1pPr>
              <a:defRPr sz="1158"/>
            </a:lvl1pPr>
          </a:lstStyle>
          <a:p>
            <a:endParaRPr lang="en-US"/>
          </a:p>
        </p:txBody>
      </p:sp>
      <p:sp>
        <p:nvSpPr>
          <p:cNvPr id="26" name="Picture Placeholder 2"/>
          <p:cNvSpPr>
            <a:spLocks noGrp="1"/>
          </p:cNvSpPr>
          <p:nvPr>
            <p:ph type="pic" sz="quarter" idx="18"/>
          </p:nvPr>
        </p:nvSpPr>
        <p:spPr>
          <a:xfrm>
            <a:off x="8901996" y="2443776"/>
            <a:ext cx="3651260" cy="1998753"/>
          </a:xfrm>
          <a:solidFill>
            <a:schemeClr val="bg1">
              <a:lumMod val="95000"/>
            </a:schemeClr>
          </a:solidFill>
        </p:spPr>
        <p:txBody>
          <a:bodyPr>
            <a:normAutofit/>
          </a:bodyPr>
          <a:lstStyle>
            <a:lvl1pPr>
              <a:defRPr sz="1158"/>
            </a:lvl1pPr>
          </a:lstStyle>
          <a:p>
            <a:endParaRPr lang="en-US"/>
          </a:p>
        </p:txBody>
      </p:sp>
      <p:sp>
        <p:nvSpPr>
          <p:cNvPr id="27" name="Picture Placeholder 2"/>
          <p:cNvSpPr>
            <a:spLocks noGrp="1"/>
          </p:cNvSpPr>
          <p:nvPr>
            <p:ph type="pic" sz="quarter" idx="19"/>
          </p:nvPr>
        </p:nvSpPr>
        <p:spPr>
          <a:xfrm>
            <a:off x="8901996" y="4681254"/>
            <a:ext cx="3651260" cy="1998753"/>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0602083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9003870" y="0"/>
            <a:ext cx="4440671" cy="7562850"/>
          </a:xfrm>
          <a:solidFill>
            <a:schemeClr val="bg1">
              <a:lumMod val="95000"/>
            </a:schemeClr>
          </a:solidFill>
        </p:spPr>
        <p:txBody>
          <a:bodyPr>
            <a:normAutofit/>
          </a:bodyPr>
          <a:lstStyle>
            <a:lvl1pPr>
              <a:defRPr sz="993"/>
            </a:lvl1pPr>
          </a:lstStyle>
          <a:p>
            <a:endParaRPr lang="en-US"/>
          </a:p>
        </p:txBody>
      </p:sp>
      <p:sp>
        <p:nvSpPr>
          <p:cNvPr id="6" name="Picture Placeholder 2"/>
          <p:cNvSpPr>
            <a:spLocks noGrp="1"/>
          </p:cNvSpPr>
          <p:nvPr>
            <p:ph type="pic" sz="quarter" idx="12"/>
          </p:nvPr>
        </p:nvSpPr>
        <p:spPr>
          <a:xfrm>
            <a:off x="2" y="0"/>
            <a:ext cx="4440671" cy="7562850"/>
          </a:xfrm>
          <a:solidFill>
            <a:schemeClr val="bg1">
              <a:lumMod val="95000"/>
            </a:schemeClr>
          </a:solidFill>
        </p:spPr>
        <p:txBody>
          <a:bodyPr>
            <a:normAutofit/>
          </a:bodyPr>
          <a:lstStyle>
            <a:lvl1pPr>
              <a:defRPr sz="993"/>
            </a:lvl1pPr>
          </a:lstStyle>
          <a:p>
            <a:endParaRPr lang="en-US"/>
          </a:p>
        </p:txBody>
      </p:sp>
      <p:sp>
        <p:nvSpPr>
          <p:cNvPr id="7" name="Picture Placeholder 2"/>
          <p:cNvSpPr>
            <a:spLocks noGrp="1"/>
          </p:cNvSpPr>
          <p:nvPr>
            <p:ph type="pic" sz="quarter" idx="13"/>
          </p:nvPr>
        </p:nvSpPr>
        <p:spPr>
          <a:xfrm>
            <a:off x="4501936" y="0"/>
            <a:ext cx="4440671" cy="3781425"/>
          </a:xfrm>
          <a:solidFill>
            <a:schemeClr val="bg1">
              <a:lumMod val="95000"/>
            </a:schemeClr>
          </a:solidFill>
        </p:spPr>
        <p:txBody>
          <a:bodyPr>
            <a:normAutofit/>
          </a:bodyPr>
          <a:lstStyle>
            <a:lvl1pPr>
              <a:defRPr sz="993"/>
            </a:lvl1pPr>
          </a:lstStyle>
          <a:p>
            <a:endParaRPr lang="en-US"/>
          </a:p>
        </p:txBody>
      </p:sp>
      <p:sp>
        <p:nvSpPr>
          <p:cNvPr id="8" name="Picture Placeholder 2"/>
          <p:cNvSpPr>
            <a:spLocks noGrp="1"/>
          </p:cNvSpPr>
          <p:nvPr>
            <p:ph type="pic" sz="quarter" idx="14"/>
          </p:nvPr>
        </p:nvSpPr>
        <p:spPr>
          <a:xfrm>
            <a:off x="4501936" y="3846970"/>
            <a:ext cx="4440671" cy="3715880"/>
          </a:xfrm>
          <a:solidFill>
            <a:schemeClr val="bg1">
              <a:lumMod val="95000"/>
            </a:schemeClr>
          </a:solidFill>
        </p:spPr>
        <p:txBody>
          <a:bodyPr>
            <a:normAutofit/>
          </a:bodyPr>
          <a:lstStyle>
            <a:lvl1pPr>
              <a:defRPr sz="993"/>
            </a:lvl1pPr>
          </a:lstStyle>
          <a:p>
            <a:endParaRPr lang="en-US"/>
          </a:p>
        </p:txBody>
      </p:sp>
    </p:spTree>
    <p:extLst>
      <p:ext uri="{BB962C8B-B14F-4D97-AF65-F5344CB8AC3E}">
        <p14:creationId xmlns:p14="http://schemas.microsoft.com/office/powerpoint/2010/main" val="31176446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0" y="0"/>
            <a:ext cx="6032222" cy="7562850"/>
          </a:xfrm>
          <a:solidFill>
            <a:schemeClr val="bg1">
              <a:lumMod val="95000"/>
            </a:schemeClr>
          </a:solidFill>
        </p:spPr>
        <p:txBody>
          <a:bodyPr>
            <a:normAutofit/>
          </a:bodyPr>
          <a:lstStyle>
            <a:lvl1pPr>
              <a:defRPr sz="993"/>
            </a:lvl1pPr>
          </a:lstStyle>
          <a:p>
            <a:endParaRPr lang="en-US"/>
          </a:p>
        </p:txBody>
      </p:sp>
    </p:spTree>
    <p:extLst>
      <p:ext uri="{BB962C8B-B14F-4D97-AF65-F5344CB8AC3E}">
        <p14:creationId xmlns:p14="http://schemas.microsoft.com/office/powerpoint/2010/main" val="247098802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5_Portfolio Three">
    <p:spTree>
      <p:nvGrpSpPr>
        <p:cNvPr id="1" name=""/>
        <p:cNvGrpSpPr/>
        <p:nvPr/>
      </p:nvGrpSpPr>
      <p:grpSpPr>
        <a:xfrm>
          <a:off x="0" y="0"/>
          <a:ext cx="0" cy="0"/>
          <a:chOff x="0" y="0"/>
          <a:chExt cx="0" cy="0"/>
        </a:xfrm>
      </p:grpSpPr>
      <p:sp>
        <p:nvSpPr>
          <p:cNvPr id="9" name="Picture Placeholder 2"/>
          <p:cNvSpPr>
            <a:spLocks noGrp="1"/>
          </p:cNvSpPr>
          <p:nvPr>
            <p:ph type="pic" sz="quarter" idx="12"/>
          </p:nvPr>
        </p:nvSpPr>
        <p:spPr>
          <a:xfrm>
            <a:off x="7412316" y="0"/>
            <a:ext cx="6032222" cy="7562850"/>
          </a:xfrm>
          <a:solidFill>
            <a:schemeClr val="bg1">
              <a:lumMod val="95000"/>
            </a:schemeClr>
          </a:solidFill>
        </p:spPr>
        <p:txBody>
          <a:bodyPr>
            <a:normAutofit/>
          </a:bodyPr>
          <a:lstStyle>
            <a:lvl1pPr>
              <a:defRPr sz="993"/>
            </a:lvl1pPr>
          </a:lstStyle>
          <a:p>
            <a:endParaRPr lang="en-US"/>
          </a:p>
        </p:txBody>
      </p:sp>
    </p:spTree>
    <p:extLst>
      <p:ext uri="{BB962C8B-B14F-4D97-AF65-F5344CB8AC3E}">
        <p14:creationId xmlns:p14="http://schemas.microsoft.com/office/powerpoint/2010/main" val="18290327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59DFF5-4277-4F8D-815B-CA4ACBB22D03}"/>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159DFF5-4277-4F8D-815B-CA4ACBB22D03}"/>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3" name="Picture Placeholder 12"/>
          <p:cNvSpPr>
            <a:spLocks noGrp="1"/>
          </p:cNvSpPr>
          <p:nvPr>
            <p:ph type="pic" sz="quarter" idx="12"/>
          </p:nvPr>
        </p:nvSpPr>
        <p:spPr>
          <a:xfrm>
            <a:off x="1" y="0"/>
            <a:ext cx="8717211" cy="7562850"/>
          </a:xfrm>
          <a:custGeom>
            <a:avLst/>
            <a:gdLst>
              <a:gd name="connsiteX0" fmla="*/ 0 w 15806056"/>
              <a:gd name="connsiteY0" fmla="*/ 0 h 13716000"/>
              <a:gd name="connsiteX1" fmla="*/ 9050443 w 15806056"/>
              <a:gd name="connsiteY1" fmla="*/ 0 h 13716000"/>
              <a:gd name="connsiteX2" fmla="*/ 15806056 w 15806056"/>
              <a:gd name="connsiteY2" fmla="*/ 13716000 h 13716000"/>
              <a:gd name="connsiteX3" fmla="*/ 0 w 1580605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06056" h="13716000">
                <a:moveTo>
                  <a:pt x="0" y="0"/>
                </a:moveTo>
                <a:lnTo>
                  <a:pt x="9050443" y="0"/>
                </a:lnTo>
                <a:lnTo>
                  <a:pt x="15806056" y="13716000"/>
                </a:lnTo>
                <a:lnTo>
                  <a:pt x="0" y="13716000"/>
                </a:lnTo>
                <a:close/>
              </a:path>
            </a:pathLst>
          </a:custGeom>
          <a:solidFill>
            <a:schemeClr val="bg1">
              <a:lumMod val="95000"/>
            </a:schemeClr>
          </a:solidFill>
        </p:spPr>
        <p:txBody>
          <a:bodyPr wrap="square">
            <a:noAutofit/>
          </a:bodyPr>
          <a:lstStyle>
            <a:lvl1pPr>
              <a:defRPr sz="993"/>
            </a:lvl1pPr>
          </a:lstStyle>
          <a:p>
            <a:endParaRPr lang="en-US"/>
          </a:p>
        </p:txBody>
      </p:sp>
    </p:spTree>
    <p:extLst>
      <p:ext uri="{BB962C8B-B14F-4D97-AF65-F5344CB8AC3E}">
        <p14:creationId xmlns:p14="http://schemas.microsoft.com/office/powerpoint/2010/main" val="353766478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9869D8-7794-41BA-A775-DF81327CE32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D9869D8-7794-41BA-A775-DF81327CE32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 name="Picture Placeholder 2"/>
          <p:cNvSpPr>
            <a:spLocks noGrp="1"/>
          </p:cNvSpPr>
          <p:nvPr>
            <p:ph type="pic" sz="quarter" idx="10"/>
          </p:nvPr>
        </p:nvSpPr>
        <p:spPr>
          <a:xfrm>
            <a:off x="4718823" y="0"/>
            <a:ext cx="8725715" cy="7562850"/>
          </a:xfrm>
          <a:custGeom>
            <a:avLst/>
            <a:gdLst>
              <a:gd name="connsiteX0" fmla="*/ 6809359 w 15821476"/>
              <a:gd name="connsiteY0" fmla="*/ 0 h 13716000"/>
              <a:gd name="connsiteX1" fmla="*/ 15821476 w 15821476"/>
              <a:gd name="connsiteY1" fmla="*/ 0 h 13716000"/>
              <a:gd name="connsiteX2" fmla="*/ 15821476 w 15821476"/>
              <a:gd name="connsiteY2" fmla="*/ 13716000 h 13716000"/>
              <a:gd name="connsiteX3" fmla="*/ 0 w 15821476"/>
              <a:gd name="connsiteY3" fmla="*/ 13716000 h 13716000"/>
            </a:gdLst>
            <a:ahLst/>
            <a:cxnLst>
              <a:cxn ang="0">
                <a:pos x="connsiteX0" y="connsiteY0"/>
              </a:cxn>
              <a:cxn ang="0">
                <a:pos x="connsiteX1" y="connsiteY1"/>
              </a:cxn>
              <a:cxn ang="0">
                <a:pos x="connsiteX2" y="connsiteY2"/>
              </a:cxn>
              <a:cxn ang="0">
                <a:pos x="connsiteX3" y="connsiteY3"/>
              </a:cxn>
            </a:cxnLst>
            <a:rect l="l" t="t" r="r" b="b"/>
            <a:pathLst>
              <a:path w="15821476" h="13716000">
                <a:moveTo>
                  <a:pt x="6809359" y="0"/>
                </a:moveTo>
                <a:lnTo>
                  <a:pt x="15821476" y="0"/>
                </a:lnTo>
                <a:lnTo>
                  <a:pt x="15821476" y="13716000"/>
                </a:lnTo>
                <a:lnTo>
                  <a:pt x="0" y="13716000"/>
                </a:lnTo>
                <a:close/>
              </a:path>
            </a:pathLst>
          </a:custGeom>
          <a:solidFill>
            <a:schemeClr val="bg1">
              <a:lumMod val="95000"/>
            </a:schemeClr>
          </a:solidFill>
        </p:spPr>
        <p:txBody>
          <a:bodyPr wrap="square">
            <a:noAutofit/>
          </a:bodyPr>
          <a:lstStyle>
            <a:lvl1pPr>
              <a:defRPr sz="1655"/>
            </a:lvl1pPr>
          </a:lstStyle>
          <a:p>
            <a:endParaRPr lang="en-US"/>
          </a:p>
        </p:txBody>
      </p:sp>
    </p:spTree>
    <p:extLst>
      <p:ext uri="{BB962C8B-B14F-4D97-AF65-F5344CB8AC3E}">
        <p14:creationId xmlns:p14="http://schemas.microsoft.com/office/powerpoint/2010/main" val="20780255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8_Portfolio Three">
    <p:spTree>
      <p:nvGrpSpPr>
        <p:cNvPr id="1" name=""/>
        <p:cNvGrpSpPr/>
        <p:nvPr/>
      </p:nvGrpSpPr>
      <p:grpSpPr>
        <a:xfrm>
          <a:off x="0" y="0"/>
          <a:ext cx="0" cy="0"/>
          <a:chOff x="0" y="0"/>
          <a:chExt cx="0" cy="0"/>
        </a:xfrm>
      </p:grpSpPr>
      <p:sp>
        <p:nvSpPr>
          <p:cNvPr id="28" name="Picture Placeholder 8"/>
          <p:cNvSpPr>
            <a:spLocks noGrp="1"/>
          </p:cNvSpPr>
          <p:nvPr>
            <p:ph type="pic" sz="quarter" idx="10"/>
          </p:nvPr>
        </p:nvSpPr>
        <p:spPr>
          <a:xfrm>
            <a:off x="1965664"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29" name="Picture Placeholder 9"/>
          <p:cNvSpPr>
            <a:spLocks noGrp="1"/>
          </p:cNvSpPr>
          <p:nvPr>
            <p:ph type="pic" sz="quarter" idx="19"/>
          </p:nvPr>
        </p:nvSpPr>
        <p:spPr>
          <a:xfrm>
            <a:off x="3817953"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30" name="Picture Placeholder 8"/>
          <p:cNvSpPr>
            <a:spLocks noGrp="1"/>
          </p:cNvSpPr>
          <p:nvPr>
            <p:ph type="pic" sz="quarter" idx="31"/>
          </p:nvPr>
        </p:nvSpPr>
        <p:spPr>
          <a:xfrm>
            <a:off x="1042660"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31" name="Picture Placeholder 9"/>
          <p:cNvSpPr>
            <a:spLocks noGrp="1"/>
          </p:cNvSpPr>
          <p:nvPr>
            <p:ph type="pic" sz="quarter" idx="32"/>
          </p:nvPr>
        </p:nvSpPr>
        <p:spPr>
          <a:xfrm>
            <a:off x="2894950"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32" name="Picture Placeholder 9"/>
          <p:cNvSpPr>
            <a:spLocks noGrp="1"/>
          </p:cNvSpPr>
          <p:nvPr>
            <p:ph type="pic" sz="quarter" idx="33"/>
          </p:nvPr>
        </p:nvSpPr>
        <p:spPr>
          <a:xfrm>
            <a:off x="4743144" y="3010936"/>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33" name="Picture Placeholder 8"/>
          <p:cNvSpPr>
            <a:spLocks noGrp="1"/>
          </p:cNvSpPr>
          <p:nvPr>
            <p:ph type="pic" sz="quarter" idx="34"/>
          </p:nvPr>
        </p:nvSpPr>
        <p:spPr>
          <a:xfrm>
            <a:off x="1965664"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34" name="Picture Placeholder 9"/>
          <p:cNvSpPr>
            <a:spLocks noGrp="1"/>
          </p:cNvSpPr>
          <p:nvPr>
            <p:ph type="pic" sz="quarter" idx="35"/>
          </p:nvPr>
        </p:nvSpPr>
        <p:spPr>
          <a:xfrm>
            <a:off x="3817953"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Tree>
    <p:extLst>
      <p:ext uri="{BB962C8B-B14F-4D97-AF65-F5344CB8AC3E}">
        <p14:creationId xmlns:p14="http://schemas.microsoft.com/office/powerpoint/2010/main" val="3150253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C6EF24DA-71B3-0648-A902-86491C36FD41}"/>
              </a:ext>
            </a:extLst>
          </p:cNvPr>
          <p:cNvSpPr>
            <a:spLocks noGrp="1"/>
          </p:cNvSpPr>
          <p:nvPr>
            <p:ph type="pic" sz="quarter" idx="10"/>
          </p:nvPr>
        </p:nvSpPr>
        <p:spPr>
          <a:xfrm>
            <a:off x="0" y="0"/>
            <a:ext cx="13444538" cy="7562850"/>
          </a:xfrm>
          <a:prstGeom prst="rect">
            <a:avLst/>
          </a:prstGeom>
        </p:spPr>
        <p:txBody>
          <a:bodyPr/>
          <a:lstStyle/>
          <a:p>
            <a:endParaRPr lang="en-US"/>
          </a:p>
        </p:txBody>
      </p:sp>
      <p:pic>
        <p:nvPicPr>
          <p:cNvPr id="9" name="Picture 8" descr="A close up of a sign&#10;&#10;Description generated with high confidence">
            <a:extLst>
              <a:ext uri="{FF2B5EF4-FFF2-40B4-BE49-F238E27FC236}">
                <a16:creationId xmlns:a16="http://schemas.microsoft.com/office/drawing/2014/main" id="{A853EF31-21BC-A041-A139-C1B4ECC7DED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8669" y="831727"/>
            <a:ext cx="2724552" cy="997782"/>
          </a:xfrm>
          <a:prstGeom prst="rect">
            <a:avLst/>
          </a:prstGeom>
        </p:spPr>
      </p:pic>
      <p:sp>
        <p:nvSpPr>
          <p:cNvPr id="10" name="object 2">
            <a:extLst>
              <a:ext uri="{FF2B5EF4-FFF2-40B4-BE49-F238E27FC236}">
                <a16:creationId xmlns:a16="http://schemas.microsoft.com/office/drawing/2014/main" id="{1FF34B6B-C022-5A44-A469-7F6E9C7C1E69}"/>
              </a:ext>
            </a:extLst>
          </p:cNvPr>
          <p:cNvSpPr txBox="1"/>
          <p:nvPr userDrawn="1"/>
        </p:nvSpPr>
        <p:spPr>
          <a:xfrm>
            <a:off x="4673133" y="6684263"/>
            <a:ext cx="4066463" cy="557781"/>
          </a:xfrm>
          <a:prstGeom prst="rect">
            <a:avLst/>
          </a:prstGeom>
        </p:spPr>
        <p:txBody>
          <a:bodyPr vert="horz" wrap="square" lIns="0" tIns="0" rIns="0" bIns="0" rtlCol="0">
            <a:spAutoFit/>
          </a:bodyPr>
          <a:lstStyle/>
          <a:p>
            <a:pPr>
              <a:lnSpc>
                <a:spcPct val="143000"/>
              </a:lnSpc>
            </a:pPr>
            <a:r>
              <a:rPr lang="en-GB" sz="2800" spc="-5">
                <a:solidFill>
                  <a:schemeClr val="accent1"/>
                </a:solidFill>
                <a:latin typeface="Palatino Linotype" panose="02040502050505030304" pitchFamily="18" charset="0"/>
                <a:cs typeface="Trebuchet MS"/>
              </a:rPr>
              <a:t>everywoman everywhere</a:t>
            </a:r>
          </a:p>
        </p:txBody>
      </p:sp>
    </p:spTree>
    <p:extLst>
      <p:ext uri="{BB962C8B-B14F-4D97-AF65-F5344CB8AC3E}">
        <p14:creationId xmlns:p14="http://schemas.microsoft.com/office/powerpoint/2010/main" val="2548841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9_Portfolio Three">
    <p:spTree>
      <p:nvGrpSpPr>
        <p:cNvPr id="1" name=""/>
        <p:cNvGrpSpPr/>
        <p:nvPr/>
      </p:nvGrpSpPr>
      <p:grpSpPr>
        <a:xfrm>
          <a:off x="0" y="0"/>
          <a:ext cx="0" cy="0"/>
          <a:chOff x="0" y="0"/>
          <a:chExt cx="0" cy="0"/>
        </a:xfrm>
      </p:grpSpPr>
      <p:sp>
        <p:nvSpPr>
          <p:cNvPr id="16" name="Picture Placeholder 8"/>
          <p:cNvSpPr>
            <a:spLocks noGrp="1"/>
          </p:cNvSpPr>
          <p:nvPr>
            <p:ph type="pic" sz="quarter" idx="10"/>
          </p:nvPr>
        </p:nvSpPr>
        <p:spPr>
          <a:xfrm>
            <a:off x="7900867"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17" name="Picture Placeholder 9"/>
          <p:cNvSpPr>
            <a:spLocks noGrp="1"/>
          </p:cNvSpPr>
          <p:nvPr>
            <p:ph type="pic" sz="quarter" idx="19"/>
          </p:nvPr>
        </p:nvSpPr>
        <p:spPr>
          <a:xfrm>
            <a:off x="9753157" y="1613375"/>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18" name="Picture Placeholder 8"/>
          <p:cNvSpPr>
            <a:spLocks noGrp="1"/>
          </p:cNvSpPr>
          <p:nvPr>
            <p:ph type="pic" sz="quarter" idx="31"/>
          </p:nvPr>
        </p:nvSpPr>
        <p:spPr>
          <a:xfrm>
            <a:off x="6977864"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19" name="Picture Placeholder 9"/>
          <p:cNvSpPr>
            <a:spLocks noGrp="1"/>
          </p:cNvSpPr>
          <p:nvPr>
            <p:ph type="pic" sz="quarter" idx="32"/>
          </p:nvPr>
        </p:nvSpPr>
        <p:spPr>
          <a:xfrm>
            <a:off x="8830153" y="301112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20" name="Picture Placeholder 9"/>
          <p:cNvSpPr>
            <a:spLocks noGrp="1"/>
          </p:cNvSpPr>
          <p:nvPr>
            <p:ph type="pic" sz="quarter" idx="33"/>
          </p:nvPr>
        </p:nvSpPr>
        <p:spPr>
          <a:xfrm>
            <a:off x="10678347" y="3010936"/>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21" name="Picture Placeholder 8"/>
          <p:cNvSpPr>
            <a:spLocks noGrp="1"/>
          </p:cNvSpPr>
          <p:nvPr>
            <p:ph type="pic" sz="quarter" idx="34"/>
          </p:nvPr>
        </p:nvSpPr>
        <p:spPr>
          <a:xfrm>
            <a:off x="7900867"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
        <p:nvSpPr>
          <p:cNvPr id="22" name="Picture Placeholder 9"/>
          <p:cNvSpPr>
            <a:spLocks noGrp="1"/>
          </p:cNvSpPr>
          <p:nvPr>
            <p:ph type="pic" sz="quarter" idx="35"/>
          </p:nvPr>
        </p:nvSpPr>
        <p:spPr>
          <a:xfrm>
            <a:off x="9753157" y="4411308"/>
            <a:ext cx="1602504" cy="1397753"/>
          </a:xfrm>
          <a:custGeom>
            <a:avLst/>
            <a:gdLst>
              <a:gd name="connsiteX0" fmla="*/ 2468878 w 4937758"/>
              <a:gd name="connsiteY0" fmla="*/ 0 h 5727802"/>
              <a:gd name="connsiteX1" fmla="*/ 4937758 w 4937758"/>
              <a:gd name="connsiteY1" fmla="*/ 1234440 h 5727802"/>
              <a:gd name="connsiteX2" fmla="*/ 4937758 w 4937758"/>
              <a:gd name="connsiteY2" fmla="*/ 4493362 h 5727802"/>
              <a:gd name="connsiteX3" fmla="*/ 2468878 w 4937758"/>
              <a:gd name="connsiteY3" fmla="*/ 5727802 h 5727802"/>
              <a:gd name="connsiteX4" fmla="*/ 0 w 4937758"/>
              <a:gd name="connsiteY4" fmla="*/ 4493362 h 5727802"/>
              <a:gd name="connsiteX5" fmla="*/ 0 w 4937758"/>
              <a:gd name="connsiteY5" fmla="*/ 1234440 h 572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37758" h="5727802">
                <a:moveTo>
                  <a:pt x="2468878" y="0"/>
                </a:moveTo>
                <a:lnTo>
                  <a:pt x="4937758" y="1234440"/>
                </a:lnTo>
                <a:lnTo>
                  <a:pt x="4937758" y="4493362"/>
                </a:lnTo>
                <a:lnTo>
                  <a:pt x="2468878" y="5727802"/>
                </a:lnTo>
                <a:lnTo>
                  <a:pt x="0" y="4493362"/>
                </a:lnTo>
                <a:lnTo>
                  <a:pt x="0" y="1234440"/>
                </a:lnTo>
                <a:close/>
              </a:path>
            </a:pathLst>
          </a:custGeom>
          <a:solidFill>
            <a:schemeClr val="bg1">
              <a:lumMod val="95000"/>
            </a:schemeClr>
          </a:solidFill>
        </p:spPr>
        <p:txBody>
          <a:bodyPr wrap="square">
            <a:noAutofit/>
          </a:bodyPr>
          <a:lstStyle>
            <a:lvl1pPr>
              <a:defRPr sz="1489"/>
            </a:lvl1pPr>
          </a:lstStyle>
          <a:p>
            <a:endParaRPr lang="en-US"/>
          </a:p>
        </p:txBody>
      </p:sp>
    </p:spTree>
    <p:extLst>
      <p:ext uri="{BB962C8B-B14F-4D97-AF65-F5344CB8AC3E}">
        <p14:creationId xmlns:p14="http://schemas.microsoft.com/office/powerpoint/2010/main" val="10963137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0_Portfolio Thre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7412184" y="0"/>
            <a:ext cx="6032356" cy="7562850"/>
          </a:xfrm>
          <a:solidFill>
            <a:schemeClr val="bg1">
              <a:lumMod val="95000"/>
            </a:schemeClr>
          </a:solidFill>
        </p:spPr>
        <p:txBody>
          <a:bodyPr/>
          <a:lstStyle/>
          <a:p>
            <a:endParaRPr lang="en-US"/>
          </a:p>
        </p:txBody>
      </p:sp>
    </p:spTree>
    <p:extLst>
      <p:ext uri="{BB962C8B-B14F-4D97-AF65-F5344CB8AC3E}">
        <p14:creationId xmlns:p14="http://schemas.microsoft.com/office/powerpoint/2010/main" val="21758848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1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2" y="0"/>
            <a:ext cx="6032356" cy="7562850"/>
          </a:xfrm>
          <a:solidFill>
            <a:schemeClr val="bg1">
              <a:lumMod val="95000"/>
            </a:schemeClr>
          </a:solidFill>
        </p:spPr>
        <p:txBody>
          <a:bodyPr/>
          <a:lstStyle/>
          <a:p>
            <a:endParaRPr lang="en-US"/>
          </a:p>
        </p:txBody>
      </p:sp>
    </p:spTree>
    <p:extLst>
      <p:ext uri="{BB962C8B-B14F-4D97-AF65-F5344CB8AC3E}">
        <p14:creationId xmlns:p14="http://schemas.microsoft.com/office/powerpoint/2010/main" val="3519165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2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2" y="0"/>
            <a:ext cx="6032356" cy="7562850"/>
          </a:xfrm>
          <a:solidFill>
            <a:schemeClr val="bg1">
              <a:lumMod val="95000"/>
            </a:schemeClr>
          </a:solidFill>
        </p:spPr>
        <p:txBody>
          <a:bodyPr/>
          <a:lstStyle/>
          <a:p>
            <a:endParaRPr lang="en-US"/>
          </a:p>
        </p:txBody>
      </p:sp>
      <p:sp>
        <p:nvSpPr>
          <p:cNvPr id="7" name="Picture Placeholder 2"/>
          <p:cNvSpPr>
            <a:spLocks noGrp="1"/>
          </p:cNvSpPr>
          <p:nvPr>
            <p:ph type="pic" sz="quarter" idx="11"/>
          </p:nvPr>
        </p:nvSpPr>
        <p:spPr>
          <a:xfrm>
            <a:off x="6032356" y="0"/>
            <a:ext cx="7412182" cy="3781425"/>
          </a:xfrm>
          <a:solidFill>
            <a:schemeClr val="bg1">
              <a:lumMod val="95000"/>
            </a:schemeClr>
          </a:solidFill>
        </p:spPr>
        <p:txBody>
          <a:bodyPr/>
          <a:lstStyle/>
          <a:p>
            <a:endParaRPr lang="en-US"/>
          </a:p>
        </p:txBody>
      </p:sp>
    </p:spTree>
    <p:extLst>
      <p:ext uri="{BB962C8B-B14F-4D97-AF65-F5344CB8AC3E}">
        <p14:creationId xmlns:p14="http://schemas.microsoft.com/office/powerpoint/2010/main" val="25197661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3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7412184" y="0"/>
            <a:ext cx="6032356" cy="7562850"/>
          </a:xfrm>
          <a:solidFill>
            <a:schemeClr val="bg1">
              <a:lumMod val="95000"/>
            </a:schemeClr>
          </a:solidFill>
        </p:spPr>
        <p:txBody>
          <a:bodyPr/>
          <a:lstStyle/>
          <a:p>
            <a:endParaRPr lang="en-US"/>
          </a:p>
        </p:txBody>
      </p:sp>
      <p:sp>
        <p:nvSpPr>
          <p:cNvPr id="7" name="Picture Placeholder 2"/>
          <p:cNvSpPr>
            <a:spLocks noGrp="1"/>
          </p:cNvSpPr>
          <p:nvPr>
            <p:ph type="pic" sz="quarter" idx="11"/>
          </p:nvPr>
        </p:nvSpPr>
        <p:spPr>
          <a:xfrm>
            <a:off x="0" y="0"/>
            <a:ext cx="7412182" cy="3781425"/>
          </a:xfrm>
          <a:solidFill>
            <a:schemeClr val="bg1">
              <a:lumMod val="95000"/>
            </a:schemeClr>
          </a:solidFill>
        </p:spPr>
        <p:txBody>
          <a:bodyPr/>
          <a:lstStyle/>
          <a:p>
            <a:endParaRPr lang="en-US"/>
          </a:p>
        </p:txBody>
      </p:sp>
    </p:spTree>
    <p:extLst>
      <p:ext uri="{BB962C8B-B14F-4D97-AF65-F5344CB8AC3E}">
        <p14:creationId xmlns:p14="http://schemas.microsoft.com/office/powerpoint/2010/main" val="7383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4_Portfolio Three">
    <p:spTree>
      <p:nvGrpSpPr>
        <p:cNvPr id="1" name=""/>
        <p:cNvGrpSpPr/>
        <p:nvPr/>
      </p:nvGrpSpPr>
      <p:grpSpPr>
        <a:xfrm>
          <a:off x="0" y="0"/>
          <a:ext cx="0" cy="0"/>
          <a:chOff x="0" y="0"/>
          <a:chExt cx="0" cy="0"/>
        </a:xfrm>
      </p:grpSpPr>
      <p:sp>
        <p:nvSpPr>
          <p:cNvPr id="6" name="Picture Placeholder 2"/>
          <p:cNvSpPr>
            <a:spLocks noGrp="1"/>
          </p:cNvSpPr>
          <p:nvPr>
            <p:ph type="pic" sz="quarter" idx="10"/>
          </p:nvPr>
        </p:nvSpPr>
        <p:spPr>
          <a:xfrm>
            <a:off x="7041544" y="0"/>
            <a:ext cx="3193728" cy="7562850"/>
          </a:xfrm>
          <a:solidFill>
            <a:schemeClr val="bg1">
              <a:lumMod val="95000"/>
            </a:schemeClr>
          </a:solidFill>
        </p:spPr>
        <p:txBody>
          <a:bodyPr/>
          <a:lstStyle/>
          <a:p>
            <a:endParaRPr lang="en-US"/>
          </a:p>
        </p:txBody>
      </p:sp>
    </p:spTree>
    <p:extLst>
      <p:ext uri="{BB962C8B-B14F-4D97-AF65-F5344CB8AC3E}">
        <p14:creationId xmlns:p14="http://schemas.microsoft.com/office/powerpoint/2010/main" val="40320864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5_Portfolio Three">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902196" y="0"/>
            <a:ext cx="2913743" cy="7562850"/>
          </a:xfrm>
          <a:solidFill>
            <a:schemeClr val="bg1">
              <a:lumMod val="95000"/>
            </a:schemeClr>
          </a:solidFill>
        </p:spPr>
        <p:txBody>
          <a:bodyPr/>
          <a:lstStyle/>
          <a:p>
            <a:endParaRPr lang="en-US"/>
          </a:p>
        </p:txBody>
      </p:sp>
    </p:spTree>
    <p:extLst>
      <p:ext uri="{BB962C8B-B14F-4D97-AF65-F5344CB8AC3E}">
        <p14:creationId xmlns:p14="http://schemas.microsoft.com/office/powerpoint/2010/main" val="1249535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6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2E227F-CD0F-4246-91D0-0906123DCDD5}"/>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532E227F-CD0F-4246-91D0-0906123DCDD5}"/>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4" name="Picture Placeholder 2"/>
          <p:cNvSpPr>
            <a:spLocks noGrp="1"/>
          </p:cNvSpPr>
          <p:nvPr>
            <p:ph type="pic" sz="quarter" idx="10"/>
          </p:nvPr>
        </p:nvSpPr>
        <p:spPr>
          <a:xfrm>
            <a:off x="0" y="0"/>
            <a:ext cx="2236145" cy="3781425"/>
          </a:xfrm>
          <a:solidFill>
            <a:schemeClr val="bg1">
              <a:lumMod val="95000"/>
            </a:schemeClr>
          </a:solidFill>
        </p:spPr>
        <p:txBody>
          <a:bodyPr>
            <a:normAutofit/>
          </a:bodyPr>
          <a:lstStyle>
            <a:lvl1pPr>
              <a:defRPr sz="662"/>
            </a:lvl1pPr>
          </a:lstStyle>
          <a:p>
            <a:endParaRPr lang="en-US"/>
          </a:p>
        </p:txBody>
      </p:sp>
      <p:sp>
        <p:nvSpPr>
          <p:cNvPr id="15" name="Picture Placeholder 2"/>
          <p:cNvSpPr>
            <a:spLocks noGrp="1"/>
          </p:cNvSpPr>
          <p:nvPr>
            <p:ph type="pic" sz="quarter" idx="11"/>
          </p:nvPr>
        </p:nvSpPr>
        <p:spPr>
          <a:xfrm>
            <a:off x="2236146" y="0"/>
            <a:ext cx="2239603" cy="3781425"/>
          </a:xfrm>
          <a:solidFill>
            <a:schemeClr val="bg1">
              <a:lumMod val="95000"/>
            </a:schemeClr>
          </a:solidFill>
        </p:spPr>
        <p:txBody>
          <a:bodyPr>
            <a:normAutofit/>
          </a:bodyPr>
          <a:lstStyle>
            <a:lvl1pPr>
              <a:defRPr sz="662"/>
            </a:lvl1pPr>
          </a:lstStyle>
          <a:p>
            <a:endParaRPr lang="en-US"/>
          </a:p>
        </p:txBody>
      </p:sp>
      <p:sp>
        <p:nvSpPr>
          <p:cNvPr id="16" name="Picture Placeholder 2"/>
          <p:cNvSpPr>
            <a:spLocks noGrp="1"/>
          </p:cNvSpPr>
          <p:nvPr>
            <p:ph type="pic" sz="quarter" idx="12"/>
          </p:nvPr>
        </p:nvSpPr>
        <p:spPr>
          <a:xfrm>
            <a:off x="4468752" y="0"/>
            <a:ext cx="2270989" cy="3781425"/>
          </a:xfrm>
          <a:solidFill>
            <a:schemeClr val="bg1">
              <a:lumMod val="95000"/>
            </a:schemeClr>
          </a:solidFill>
        </p:spPr>
        <p:txBody>
          <a:bodyPr>
            <a:normAutofit/>
          </a:bodyPr>
          <a:lstStyle>
            <a:lvl1pPr>
              <a:defRPr sz="662"/>
            </a:lvl1pPr>
          </a:lstStyle>
          <a:p>
            <a:endParaRPr lang="en-US"/>
          </a:p>
        </p:txBody>
      </p:sp>
      <p:sp>
        <p:nvSpPr>
          <p:cNvPr id="19" name="Picture Placeholder 2"/>
          <p:cNvSpPr>
            <a:spLocks noGrp="1"/>
          </p:cNvSpPr>
          <p:nvPr>
            <p:ph type="pic" sz="quarter" idx="15"/>
          </p:nvPr>
        </p:nvSpPr>
        <p:spPr>
          <a:xfrm>
            <a:off x="11211998" y="0"/>
            <a:ext cx="2236145" cy="3781425"/>
          </a:xfrm>
          <a:solidFill>
            <a:schemeClr val="bg1">
              <a:lumMod val="95000"/>
            </a:schemeClr>
          </a:solidFill>
        </p:spPr>
        <p:txBody>
          <a:bodyPr>
            <a:normAutofit/>
          </a:bodyPr>
          <a:lstStyle>
            <a:lvl1pPr>
              <a:defRPr sz="662"/>
            </a:lvl1pPr>
          </a:lstStyle>
          <a:p>
            <a:endParaRPr lang="en-US"/>
          </a:p>
        </p:txBody>
      </p:sp>
      <p:sp>
        <p:nvSpPr>
          <p:cNvPr id="20" name="Picture Placeholder 2"/>
          <p:cNvSpPr>
            <a:spLocks noGrp="1"/>
          </p:cNvSpPr>
          <p:nvPr>
            <p:ph type="pic" sz="quarter" idx="16"/>
          </p:nvPr>
        </p:nvSpPr>
        <p:spPr>
          <a:xfrm>
            <a:off x="0" y="3781425"/>
            <a:ext cx="2236145" cy="3781425"/>
          </a:xfrm>
          <a:solidFill>
            <a:schemeClr val="bg1">
              <a:lumMod val="95000"/>
            </a:schemeClr>
          </a:solidFill>
        </p:spPr>
        <p:txBody>
          <a:bodyPr>
            <a:normAutofit/>
          </a:bodyPr>
          <a:lstStyle>
            <a:lvl1pPr>
              <a:defRPr sz="662"/>
            </a:lvl1pPr>
          </a:lstStyle>
          <a:p>
            <a:endParaRPr lang="en-US"/>
          </a:p>
        </p:txBody>
      </p:sp>
      <p:sp>
        <p:nvSpPr>
          <p:cNvPr id="21" name="Picture Placeholder 2"/>
          <p:cNvSpPr>
            <a:spLocks noGrp="1"/>
          </p:cNvSpPr>
          <p:nvPr>
            <p:ph type="pic" sz="quarter" idx="17"/>
          </p:nvPr>
        </p:nvSpPr>
        <p:spPr>
          <a:xfrm>
            <a:off x="2236146" y="3781425"/>
            <a:ext cx="2239603" cy="3781425"/>
          </a:xfrm>
          <a:solidFill>
            <a:schemeClr val="bg1">
              <a:lumMod val="95000"/>
            </a:schemeClr>
          </a:solidFill>
        </p:spPr>
        <p:txBody>
          <a:bodyPr>
            <a:normAutofit/>
          </a:bodyPr>
          <a:lstStyle>
            <a:lvl1pPr>
              <a:defRPr sz="662"/>
            </a:lvl1pPr>
          </a:lstStyle>
          <a:p>
            <a:endParaRPr lang="en-US"/>
          </a:p>
        </p:txBody>
      </p:sp>
      <p:sp>
        <p:nvSpPr>
          <p:cNvPr id="22" name="Picture Placeholder 2"/>
          <p:cNvSpPr>
            <a:spLocks noGrp="1"/>
          </p:cNvSpPr>
          <p:nvPr>
            <p:ph type="pic" sz="quarter" idx="18"/>
          </p:nvPr>
        </p:nvSpPr>
        <p:spPr>
          <a:xfrm>
            <a:off x="4468752" y="3781425"/>
            <a:ext cx="2270989" cy="3781425"/>
          </a:xfrm>
          <a:solidFill>
            <a:schemeClr val="bg1">
              <a:lumMod val="95000"/>
            </a:schemeClr>
          </a:solidFill>
        </p:spPr>
        <p:txBody>
          <a:bodyPr>
            <a:normAutofit/>
          </a:bodyPr>
          <a:lstStyle>
            <a:lvl1pPr>
              <a:defRPr sz="662"/>
            </a:lvl1pPr>
          </a:lstStyle>
          <a:p>
            <a:endParaRPr lang="en-US"/>
          </a:p>
        </p:txBody>
      </p:sp>
      <p:sp>
        <p:nvSpPr>
          <p:cNvPr id="23" name="Picture Placeholder 2"/>
          <p:cNvSpPr>
            <a:spLocks noGrp="1"/>
          </p:cNvSpPr>
          <p:nvPr>
            <p:ph type="pic" sz="quarter" idx="19"/>
          </p:nvPr>
        </p:nvSpPr>
        <p:spPr>
          <a:xfrm>
            <a:off x="6732743" y="3781425"/>
            <a:ext cx="2236145" cy="3781425"/>
          </a:xfrm>
          <a:solidFill>
            <a:schemeClr val="bg1">
              <a:lumMod val="95000"/>
            </a:schemeClr>
          </a:solidFill>
        </p:spPr>
        <p:txBody>
          <a:bodyPr>
            <a:normAutofit/>
          </a:bodyPr>
          <a:lstStyle>
            <a:lvl1pPr>
              <a:defRPr sz="662"/>
            </a:lvl1pPr>
          </a:lstStyle>
          <a:p>
            <a:endParaRPr lang="en-US"/>
          </a:p>
        </p:txBody>
      </p:sp>
      <p:sp>
        <p:nvSpPr>
          <p:cNvPr id="25" name="Picture Placeholder 2"/>
          <p:cNvSpPr>
            <a:spLocks noGrp="1"/>
          </p:cNvSpPr>
          <p:nvPr>
            <p:ph type="pic" sz="quarter" idx="21"/>
          </p:nvPr>
        </p:nvSpPr>
        <p:spPr>
          <a:xfrm>
            <a:off x="11211998" y="3781425"/>
            <a:ext cx="2236145" cy="3781425"/>
          </a:xfrm>
          <a:solidFill>
            <a:schemeClr val="bg1">
              <a:lumMod val="95000"/>
            </a:schemeClr>
          </a:solidFill>
        </p:spPr>
        <p:txBody>
          <a:bodyPr>
            <a:normAutofit/>
          </a:bodyPr>
          <a:lstStyle>
            <a:lvl1pPr>
              <a:defRPr sz="662"/>
            </a:lvl1pPr>
          </a:lstStyle>
          <a:p>
            <a:endParaRPr lang="en-US"/>
          </a:p>
        </p:txBody>
      </p:sp>
      <p:sp>
        <p:nvSpPr>
          <p:cNvPr id="26" name="Picture Placeholder 2"/>
          <p:cNvSpPr>
            <a:spLocks noGrp="1"/>
          </p:cNvSpPr>
          <p:nvPr>
            <p:ph type="pic" sz="quarter" idx="22"/>
          </p:nvPr>
        </p:nvSpPr>
        <p:spPr>
          <a:xfrm>
            <a:off x="6732743" y="0"/>
            <a:ext cx="2236145" cy="3781425"/>
          </a:xfrm>
          <a:solidFill>
            <a:schemeClr val="bg1">
              <a:lumMod val="95000"/>
            </a:schemeClr>
          </a:solidFill>
        </p:spPr>
        <p:txBody>
          <a:bodyPr>
            <a:normAutofit/>
          </a:bodyPr>
          <a:lstStyle>
            <a:lvl1pPr>
              <a:defRPr sz="662"/>
            </a:lvl1pPr>
          </a:lstStyle>
          <a:p>
            <a:endParaRPr lang="en-US"/>
          </a:p>
        </p:txBody>
      </p:sp>
      <p:sp>
        <p:nvSpPr>
          <p:cNvPr id="18" name="Picture Placeholder 2"/>
          <p:cNvSpPr>
            <a:spLocks noGrp="1"/>
          </p:cNvSpPr>
          <p:nvPr>
            <p:ph type="pic" sz="quarter" idx="14"/>
          </p:nvPr>
        </p:nvSpPr>
        <p:spPr>
          <a:xfrm>
            <a:off x="8961872" y="0"/>
            <a:ext cx="2248912" cy="3781425"/>
          </a:xfrm>
          <a:solidFill>
            <a:schemeClr val="bg1">
              <a:lumMod val="95000"/>
            </a:schemeClr>
          </a:solidFill>
        </p:spPr>
        <p:txBody>
          <a:bodyPr>
            <a:normAutofit/>
          </a:bodyPr>
          <a:lstStyle>
            <a:lvl1pPr>
              <a:defRPr sz="662"/>
            </a:lvl1pPr>
          </a:lstStyle>
          <a:p>
            <a:endParaRPr lang="en-US"/>
          </a:p>
        </p:txBody>
      </p:sp>
      <p:sp>
        <p:nvSpPr>
          <p:cNvPr id="24" name="Picture Placeholder 2"/>
          <p:cNvSpPr>
            <a:spLocks noGrp="1"/>
          </p:cNvSpPr>
          <p:nvPr>
            <p:ph type="pic" sz="quarter" idx="20"/>
          </p:nvPr>
        </p:nvSpPr>
        <p:spPr>
          <a:xfrm>
            <a:off x="8961872" y="3781425"/>
            <a:ext cx="2248912" cy="3781425"/>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145155398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8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497155-4E0F-49DC-8084-C537BDB4D034}"/>
              </a:ext>
            </a:extLst>
          </p:cNvPr>
          <p:cNvGraphicFramePr>
            <a:graphicFrameLocks noChangeAspect="1"/>
          </p:cNvGraphicFramePr>
          <p:nvPr userDrawn="1">
            <p:custDataLst>
              <p:tags r:id="rId1"/>
            </p:custDataLst>
            <p:extLst>
              <p:ext uri="{D42A27DB-BD31-4B8C-83A1-F6EECF244321}">
                <p14:modId xmlns:p14="http://schemas.microsoft.com/office/powerpoint/2010/main" val="2087519484"/>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497155-4E0F-49DC-8084-C537BDB4D034}"/>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0" name="Picture Placeholder 2"/>
          <p:cNvSpPr>
            <a:spLocks noGrp="1"/>
          </p:cNvSpPr>
          <p:nvPr>
            <p:ph type="pic" sz="quarter" idx="10"/>
          </p:nvPr>
        </p:nvSpPr>
        <p:spPr>
          <a:xfrm>
            <a:off x="6722273" y="0"/>
            <a:ext cx="6722265" cy="7562850"/>
          </a:xfrm>
          <a:solidFill>
            <a:schemeClr val="bg1">
              <a:lumMod val="95000"/>
            </a:schemeClr>
          </a:solidFill>
        </p:spPr>
        <p:txBody>
          <a:bodyPr>
            <a:normAutofit/>
          </a:bodyPr>
          <a:lstStyle>
            <a:lvl1pPr>
              <a:defRPr sz="662"/>
            </a:lvl1pPr>
          </a:lstStyle>
          <a:p>
            <a:endParaRPr lang="en-US"/>
          </a:p>
        </p:txBody>
      </p:sp>
      <p:sp>
        <p:nvSpPr>
          <p:cNvPr id="5" name="Picture Placeholder 2"/>
          <p:cNvSpPr>
            <a:spLocks noGrp="1"/>
          </p:cNvSpPr>
          <p:nvPr>
            <p:ph type="pic" sz="quarter" idx="11"/>
          </p:nvPr>
        </p:nvSpPr>
        <p:spPr>
          <a:xfrm>
            <a:off x="2" y="0"/>
            <a:ext cx="6722262" cy="3781425"/>
          </a:xfrm>
          <a:solidFill>
            <a:schemeClr val="bg1">
              <a:lumMod val="95000"/>
            </a:schemeClr>
          </a:solidFill>
        </p:spPr>
        <p:txBody>
          <a:bodyPr>
            <a:normAutofit/>
          </a:bodyPr>
          <a:lstStyle>
            <a:lvl1pPr>
              <a:defRPr sz="662"/>
            </a:lvl1pPr>
          </a:lstStyle>
          <a:p>
            <a:endParaRPr lang="en-US"/>
          </a:p>
        </p:txBody>
      </p:sp>
      <p:sp>
        <p:nvSpPr>
          <p:cNvPr id="6" name="Picture Placeholder 2"/>
          <p:cNvSpPr>
            <a:spLocks noGrp="1"/>
          </p:cNvSpPr>
          <p:nvPr>
            <p:ph type="pic" sz="quarter" idx="12"/>
          </p:nvPr>
        </p:nvSpPr>
        <p:spPr>
          <a:xfrm>
            <a:off x="2" y="3781425"/>
            <a:ext cx="6722262" cy="3781425"/>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16000517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9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1285828" y="2244270"/>
            <a:ext cx="5766250" cy="2644364"/>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780751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sp>
        <p:nvSpPr>
          <p:cNvPr id="12" name="Text Placeholder 16"/>
          <p:cNvSpPr>
            <a:spLocks noGrp="1"/>
          </p:cNvSpPr>
          <p:nvPr>
            <p:ph type="body" sz="quarter" idx="14"/>
          </p:nvPr>
        </p:nvSpPr>
        <p:spPr>
          <a:xfrm>
            <a:off x="726356" y="2954195"/>
            <a:ext cx="12470189" cy="1527342"/>
          </a:xfrm>
          <a:prstGeom prst="rect">
            <a:avLst/>
          </a:prstGeom>
        </p:spPr>
        <p:txBody>
          <a:bodyPr lIns="100831" tIns="50415" rIns="100831" bIns="50415"/>
          <a:lstStyle>
            <a:lvl1pPr marL="0" indent="201312" algn="l">
              <a:buClr>
                <a:schemeClr val="accent2">
                  <a:lumMod val="50000"/>
                </a:schemeClr>
              </a:buClr>
              <a:buFont typeface="Arial" pitchFamily="34" charset="0"/>
              <a:buChar char="•"/>
              <a:tabLst>
                <a:tab pos="201312" algn="l"/>
              </a:tabLst>
              <a:defRPr lang="en-US" sz="2000" kern="1200" baseline="0" dirty="0" smtClean="0">
                <a:solidFill>
                  <a:schemeClr val="tx1">
                    <a:lumMod val="65000"/>
                    <a:lumOff val="35000"/>
                  </a:schemeClr>
                </a:solidFill>
                <a:latin typeface="Trebuchet MS" pitchFamily="34" charset="0"/>
                <a:ea typeface="+mn-ea"/>
                <a:cs typeface="+mn-cs"/>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5"/>
          <p:cNvSpPr>
            <a:spLocks noGrp="1"/>
          </p:cNvSpPr>
          <p:nvPr>
            <p:ph type="body" sz="quarter" idx="17"/>
          </p:nvPr>
        </p:nvSpPr>
        <p:spPr>
          <a:xfrm>
            <a:off x="625132" y="1598643"/>
            <a:ext cx="11618530" cy="746700"/>
          </a:xfrm>
          <a:prstGeom prst="rect">
            <a:avLst/>
          </a:prstGeom>
        </p:spPr>
        <p:txBody>
          <a:bodyPr lIns="100831" tIns="50415" rIns="100831" bIns="50415"/>
          <a:lstStyle>
            <a:lvl1pPr marL="0" indent="0">
              <a:defRPr sz="4900" baseline="0">
                <a:solidFill>
                  <a:schemeClr val="tx2">
                    <a:lumMod val="50000"/>
                  </a:schemeClr>
                </a:solidFill>
                <a:latin typeface="Palatino" pitchFamily="18" charset="0"/>
              </a:defRPr>
            </a:lvl1pPr>
          </a:lstStyle>
          <a:p>
            <a:pPr lvl="0"/>
            <a:r>
              <a:rPr lang="en-US"/>
              <a:t>Click to edit Master text styles</a:t>
            </a:r>
          </a:p>
        </p:txBody>
      </p:sp>
      <p:sp>
        <p:nvSpPr>
          <p:cNvPr id="10" name="Title 9"/>
          <p:cNvSpPr>
            <a:spLocks noGrp="1"/>
          </p:cNvSpPr>
          <p:nvPr>
            <p:ph type="title"/>
          </p:nvPr>
        </p:nvSpPr>
        <p:spPr>
          <a:xfrm>
            <a:off x="672227" y="302870"/>
            <a:ext cx="12100084" cy="509114"/>
          </a:xfrm>
          <a:prstGeom prst="rect">
            <a:avLst/>
          </a:prstGeom>
        </p:spPr>
        <p:txBody>
          <a:bodyPr lIns="100831" tIns="50415" rIns="100831" bIns="50415"/>
          <a:lstStyle/>
          <a:p>
            <a:r>
              <a:rPr lang="en-US"/>
              <a:t>Click to edit Master title style</a:t>
            </a:r>
          </a:p>
        </p:txBody>
      </p:sp>
    </p:spTree>
    <p:extLst>
      <p:ext uri="{BB962C8B-B14F-4D97-AF65-F5344CB8AC3E}">
        <p14:creationId xmlns:p14="http://schemas.microsoft.com/office/powerpoint/2010/main" val="16856589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0_Portfolio Three">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0" y="5809146"/>
            <a:ext cx="13444538" cy="1753704"/>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27499769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1_Portfolio Three">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943815" y="2290776"/>
            <a:ext cx="5820480" cy="5272074"/>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1259574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8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943814" y="399153"/>
            <a:ext cx="8926087" cy="5381028"/>
          </a:xfrm>
          <a:solidFill>
            <a:schemeClr val="bg1">
              <a:lumMod val="95000"/>
            </a:schemeClr>
          </a:solidFill>
        </p:spPr>
        <p:txBody>
          <a:bodyPr/>
          <a:lstStyle/>
          <a:p>
            <a:endParaRPr lang="en-US"/>
          </a:p>
        </p:txBody>
      </p:sp>
    </p:spTree>
    <p:extLst>
      <p:ext uri="{BB962C8B-B14F-4D97-AF65-F5344CB8AC3E}">
        <p14:creationId xmlns:p14="http://schemas.microsoft.com/office/powerpoint/2010/main" val="41760233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9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84555A-5BF0-46E9-920B-A032FF6AC17F}"/>
              </a:ext>
            </a:extLst>
          </p:cNvPr>
          <p:cNvGraphicFramePr>
            <a:graphicFrameLocks noChangeAspect="1"/>
          </p:cNvGraphicFramePr>
          <p:nvPr userDrawn="1">
            <p:custDataLst>
              <p:tags r:id="rId1"/>
            </p:custDataLst>
            <p:extLst>
              <p:ext uri="{D42A27DB-BD31-4B8C-83A1-F6EECF244321}">
                <p14:modId xmlns:p14="http://schemas.microsoft.com/office/powerpoint/2010/main" val="1001280431"/>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F84555A-5BF0-46E9-920B-A032FF6AC17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6" name="Picture Placeholder 3"/>
          <p:cNvSpPr>
            <a:spLocks noGrp="1"/>
          </p:cNvSpPr>
          <p:nvPr>
            <p:ph type="pic" sz="quarter" idx="11"/>
          </p:nvPr>
        </p:nvSpPr>
        <p:spPr>
          <a:xfrm>
            <a:off x="4790864" y="4109148"/>
            <a:ext cx="3648504" cy="3453702"/>
          </a:xfrm>
          <a:solidFill>
            <a:schemeClr val="bg1">
              <a:lumMod val="95000"/>
            </a:schemeClr>
          </a:solidFill>
        </p:spPr>
        <p:txBody>
          <a:bodyPr/>
          <a:lstStyle/>
          <a:p>
            <a:endParaRPr lang="en-US"/>
          </a:p>
        </p:txBody>
      </p:sp>
      <p:sp>
        <p:nvSpPr>
          <p:cNvPr id="4" name="Picture Placeholder 3"/>
          <p:cNvSpPr>
            <a:spLocks noGrp="1"/>
          </p:cNvSpPr>
          <p:nvPr>
            <p:ph type="pic" sz="quarter" idx="10"/>
          </p:nvPr>
        </p:nvSpPr>
        <p:spPr>
          <a:xfrm>
            <a:off x="6615117" y="0"/>
            <a:ext cx="6829422" cy="7121684"/>
          </a:xfrm>
          <a:solidFill>
            <a:schemeClr val="bg1">
              <a:lumMod val="95000"/>
            </a:schemeClr>
          </a:solidFill>
        </p:spPr>
        <p:txBody>
          <a:bodyPr/>
          <a:lstStyle/>
          <a:p>
            <a:endParaRPr lang="en-US"/>
          </a:p>
        </p:txBody>
      </p:sp>
    </p:spTree>
    <p:extLst>
      <p:ext uri="{BB962C8B-B14F-4D97-AF65-F5344CB8AC3E}">
        <p14:creationId xmlns:p14="http://schemas.microsoft.com/office/powerpoint/2010/main" val="10752336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7_Portfolio Thre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DB2999-D757-440C-8E20-2BF957C518A2}"/>
              </a:ext>
            </a:extLst>
          </p:cNvPr>
          <p:cNvGraphicFramePr>
            <a:graphicFrameLocks noChangeAspect="1"/>
          </p:cNvGraphicFramePr>
          <p:nvPr userDrawn="1">
            <p:custDataLst>
              <p:tags r:id="rId1"/>
            </p:custDataLst>
            <p:extLst>
              <p:ext uri="{D42A27DB-BD31-4B8C-83A1-F6EECF244321}">
                <p14:modId xmlns:p14="http://schemas.microsoft.com/office/powerpoint/2010/main" val="3639987748"/>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DDB2999-D757-440C-8E20-2BF957C518A2}"/>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30" name="Picture Placeholder 2"/>
          <p:cNvSpPr>
            <a:spLocks noGrp="1"/>
          </p:cNvSpPr>
          <p:nvPr>
            <p:ph type="pic" sz="quarter" idx="10"/>
          </p:nvPr>
        </p:nvSpPr>
        <p:spPr>
          <a:xfrm>
            <a:off x="0" y="0"/>
            <a:ext cx="6722265" cy="7562850"/>
          </a:xfrm>
          <a:solidFill>
            <a:schemeClr val="bg1">
              <a:lumMod val="95000"/>
            </a:schemeClr>
          </a:solidFill>
        </p:spPr>
        <p:txBody>
          <a:bodyPr>
            <a:normAutofit/>
          </a:bodyPr>
          <a:lstStyle>
            <a:lvl1pPr>
              <a:defRPr sz="662"/>
            </a:lvl1pPr>
          </a:lstStyle>
          <a:p>
            <a:endParaRPr lang="en-US"/>
          </a:p>
        </p:txBody>
      </p:sp>
      <p:sp>
        <p:nvSpPr>
          <p:cNvPr id="31" name="Picture Placeholder 2"/>
          <p:cNvSpPr>
            <a:spLocks noGrp="1"/>
          </p:cNvSpPr>
          <p:nvPr>
            <p:ph type="pic" sz="quarter" idx="11"/>
          </p:nvPr>
        </p:nvSpPr>
        <p:spPr>
          <a:xfrm>
            <a:off x="6722275" y="0"/>
            <a:ext cx="6722262" cy="3781425"/>
          </a:xfrm>
          <a:solidFill>
            <a:schemeClr val="bg1">
              <a:lumMod val="95000"/>
            </a:schemeClr>
          </a:solidFill>
        </p:spPr>
        <p:txBody>
          <a:bodyPr>
            <a:normAutofit/>
          </a:bodyPr>
          <a:lstStyle>
            <a:lvl1pPr>
              <a:defRPr sz="662"/>
            </a:lvl1pPr>
          </a:lstStyle>
          <a:p>
            <a:endParaRPr lang="en-US"/>
          </a:p>
        </p:txBody>
      </p:sp>
      <p:sp>
        <p:nvSpPr>
          <p:cNvPr id="32" name="Picture Placeholder 2"/>
          <p:cNvSpPr>
            <a:spLocks noGrp="1"/>
          </p:cNvSpPr>
          <p:nvPr>
            <p:ph type="pic" sz="quarter" idx="12"/>
          </p:nvPr>
        </p:nvSpPr>
        <p:spPr>
          <a:xfrm>
            <a:off x="6722275" y="3781425"/>
            <a:ext cx="6722262" cy="3781425"/>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2914359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8341" y="1237717"/>
            <a:ext cx="11427857" cy="2632992"/>
          </a:xfrm>
        </p:spPr>
        <p:txBody>
          <a:bodyPr anchor="b"/>
          <a:lstStyle>
            <a:lvl1pPr algn="ctr">
              <a:defRPr sz="6617"/>
            </a:lvl1pPr>
          </a:lstStyle>
          <a:p>
            <a:r>
              <a:rPr lang="en-US"/>
              <a:t>Click to edit Master title style</a:t>
            </a:r>
          </a:p>
        </p:txBody>
      </p:sp>
      <p:sp>
        <p:nvSpPr>
          <p:cNvPr id="3" name="Subtitle 2"/>
          <p:cNvSpPr>
            <a:spLocks noGrp="1"/>
          </p:cNvSpPr>
          <p:nvPr>
            <p:ph type="subTitle" idx="1"/>
          </p:nvPr>
        </p:nvSpPr>
        <p:spPr>
          <a:xfrm>
            <a:off x="1680567" y="3972247"/>
            <a:ext cx="10083404" cy="1825938"/>
          </a:xfrm>
        </p:spPr>
        <p:txBody>
          <a:bodyPr/>
          <a:lstStyle>
            <a:lvl1pPr marL="0" indent="0" algn="ctr">
              <a:buNone/>
              <a:defRPr sz="2647"/>
            </a:lvl1pPr>
            <a:lvl2pPr marL="504200" indent="0" algn="ctr">
              <a:buNone/>
              <a:defRPr sz="2206"/>
            </a:lvl2pPr>
            <a:lvl3pPr marL="1008400" indent="0" algn="ctr">
              <a:buNone/>
              <a:defRPr sz="1985"/>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a:t>Click to edit Master subtitle style</a:t>
            </a:r>
          </a:p>
        </p:txBody>
      </p:sp>
      <p:sp>
        <p:nvSpPr>
          <p:cNvPr id="4" name="Date Placeholder 3"/>
          <p:cNvSpPr>
            <a:spLocks noGrp="1"/>
          </p:cNvSpPr>
          <p:nvPr>
            <p:ph type="dt" sz="half" idx="10"/>
          </p:nvPr>
        </p:nvSpPr>
        <p:spPr/>
        <p:txBody>
          <a:bodyPr/>
          <a:lstStyle/>
          <a:p>
            <a:fld id="{7EFBC55A-A855-764E-83B9-D4AB83697C49}" type="datetimeFigureOut">
              <a:rPr lang="en-US" altLang="en-US" smtClean="0"/>
              <a:pPr/>
              <a:t>8/18/2021</a:t>
            </a:fld>
            <a:endParaRPr lang="en-US" alt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fld id="{3A5617E7-4F97-354C-8C23-8E30A14BE638}" type="slidenum">
              <a:rPr lang="en-US" altLang="en-US" smtClean="0"/>
              <a:pPr/>
              <a:t>‹#›</a:t>
            </a:fld>
            <a:endParaRPr lang="en-US" altLang="en-US"/>
          </a:p>
        </p:txBody>
      </p:sp>
    </p:spTree>
    <p:extLst>
      <p:ext uri="{BB962C8B-B14F-4D97-AF65-F5344CB8AC3E}">
        <p14:creationId xmlns:p14="http://schemas.microsoft.com/office/powerpoint/2010/main" val="18878085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175866-960C-E74A-924A-67BD570C44CE}" type="datetimeFigureOut">
              <a:rPr lang="en-US" altLang="en-US" smtClean="0"/>
              <a:pPr/>
              <a:t>8/18/2021</a:t>
            </a:fld>
            <a:endParaRPr lang="en-US" alt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fld id="{E2C338C3-5782-DC42-8FA4-268C21AA13D0}" type="slidenum">
              <a:rPr lang="en-US" altLang="en-US" smtClean="0"/>
              <a:pPr/>
              <a:t>‹#›</a:t>
            </a:fld>
            <a:endParaRPr lang="en-US" altLang="en-US"/>
          </a:p>
        </p:txBody>
      </p:sp>
    </p:spTree>
    <p:extLst>
      <p:ext uri="{BB962C8B-B14F-4D97-AF65-F5344CB8AC3E}">
        <p14:creationId xmlns:p14="http://schemas.microsoft.com/office/powerpoint/2010/main" val="2180275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7310" y="1885463"/>
            <a:ext cx="11595914" cy="3145935"/>
          </a:xfrm>
        </p:spPr>
        <p:txBody>
          <a:bodyPr anchor="b"/>
          <a:lstStyle>
            <a:lvl1pPr>
              <a:defRPr sz="6617"/>
            </a:lvl1pPr>
          </a:lstStyle>
          <a:p>
            <a:r>
              <a:rPr lang="en-US"/>
              <a:t>Click to edit Master title style</a:t>
            </a:r>
          </a:p>
        </p:txBody>
      </p:sp>
      <p:sp>
        <p:nvSpPr>
          <p:cNvPr id="3" name="Text Placeholder 2"/>
          <p:cNvSpPr>
            <a:spLocks noGrp="1"/>
          </p:cNvSpPr>
          <p:nvPr>
            <p:ph type="body" idx="1"/>
          </p:nvPr>
        </p:nvSpPr>
        <p:spPr>
          <a:xfrm>
            <a:off x="917310" y="5061159"/>
            <a:ext cx="11595914" cy="1654373"/>
          </a:xfrm>
        </p:spPr>
        <p:txBody>
          <a:bodyPr/>
          <a:lstStyle>
            <a:lvl1pPr marL="0" indent="0">
              <a:buNone/>
              <a:defRPr sz="2647">
                <a:solidFill>
                  <a:schemeClr val="tx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a:t>8/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1839244042"/>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24312" y="2013259"/>
            <a:ext cx="5713929" cy="4798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06297" y="2013259"/>
            <a:ext cx="5713929" cy="4798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a:t>8/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1004537301"/>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26063" y="402654"/>
            <a:ext cx="11595914" cy="1461801"/>
          </a:xfrm>
        </p:spPr>
        <p:txBody>
          <a:bodyPr/>
          <a:lstStyle/>
          <a:p>
            <a:r>
              <a:rPr lang="en-US"/>
              <a:t>Click to edit Master title style</a:t>
            </a:r>
          </a:p>
        </p:txBody>
      </p:sp>
      <p:sp>
        <p:nvSpPr>
          <p:cNvPr id="3" name="Text Placeholder 2"/>
          <p:cNvSpPr>
            <a:spLocks noGrp="1"/>
          </p:cNvSpPr>
          <p:nvPr>
            <p:ph type="body" idx="1"/>
          </p:nvPr>
        </p:nvSpPr>
        <p:spPr>
          <a:xfrm>
            <a:off x="926065" y="1853949"/>
            <a:ext cx="5687669" cy="908592"/>
          </a:xfrm>
        </p:spPr>
        <p:txBody>
          <a:bodyPr anchor="b"/>
          <a:lstStyle>
            <a:lvl1pPr marL="0" indent="0">
              <a:buNone/>
              <a:defRPr sz="2647" b="1"/>
            </a:lvl1pPr>
            <a:lvl2pPr marL="504200" indent="0">
              <a:buNone/>
              <a:defRPr sz="2206" b="1"/>
            </a:lvl2pPr>
            <a:lvl3pPr marL="1008400" indent="0">
              <a:buNone/>
              <a:defRPr sz="1985" b="1"/>
            </a:lvl3pPr>
            <a:lvl4pPr marL="1512600" indent="0">
              <a:buNone/>
              <a:defRPr sz="1764" b="1"/>
            </a:lvl4pPr>
            <a:lvl5pPr marL="2016801" indent="0">
              <a:buNone/>
              <a:defRPr sz="1764" b="1"/>
            </a:lvl5pPr>
            <a:lvl6pPr marL="2521001" indent="0">
              <a:buNone/>
              <a:defRPr sz="1764" b="1"/>
            </a:lvl6pPr>
            <a:lvl7pPr marL="3025201" indent="0">
              <a:buNone/>
              <a:defRPr sz="1764" b="1"/>
            </a:lvl7pPr>
            <a:lvl8pPr marL="3529401" indent="0">
              <a:buNone/>
              <a:defRPr sz="1764" b="1"/>
            </a:lvl8pPr>
            <a:lvl9pPr marL="4033601" indent="0">
              <a:buNone/>
              <a:defRPr sz="1764" b="1"/>
            </a:lvl9pPr>
          </a:lstStyle>
          <a:p>
            <a:pPr lvl="0"/>
            <a:r>
              <a:rPr lang="en-US"/>
              <a:t>Click to edit Master text styles</a:t>
            </a:r>
          </a:p>
        </p:txBody>
      </p:sp>
      <p:sp>
        <p:nvSpPr>
          <p:cNvPr id="4" name="Content Placeholder 3"/>
          <p:cNvSpPr>
            <a:spLocks noGrp="1"/>
          </p:cNvSpPr>
          <p:nvPr>
            <p:ph sz="half" idx="2"/>
          </p:nvPr>
        </p:nvSpPr>
        <p:spPr>
          <a:xfrm>
            <a:off x="926065" y="2762541"/>
            <a:ext cx="5687669" cy="40632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06298" y="1853949"/>
            <a:ext cx="5715680" cy="908592"/>
          </a:xfrm>
        </p:spPr>
        <p:txBody>
          <a:bodyPr anchor="b"/>
          <a:lstStyle>
            <a:lvl1pPr marL="0" indent="0">
              <a:buNone/>
              <a:defRPr sz="2647" b="1"/>
            </a:lvl1pPr>
            <a:lvl2pPr marL="504200" indent="0">
              <a:buNone/>
              <a:defRPr sz="2206" b="1"/>
            </a:lvl2pPr>
            <a:lvl3pPr marL="1008400" indent="0">
              <a:buNone/>
              <a:defRPr sz="1985" b="1"/>
            </a:lvl3pPr>
            <a:lvl4pPr marL="1512600" indent="0">
              <a:buNone/>
              <a:defRPr sz="1764" b="1"/>
            </a:lvl4pPr>
            <a:lvl5pPr marL="2016801" indent="0">
              <a:buNone/>
              <a:defRPr sz="1764" b="1"/>
            </a:lvl5pPr>
            <a:lvl6pPr marL="2521001" indent="0">
              <a:buNone/>
              <a:defRPr sz="1764" b="1"/>
            </a:lvl6pPr>
            <a:lvl7pPr marL="3025201" indent="0">
              <a:buNone/>
              <a:defRPr sz="1764" b="1"/>
            </a:lvl7pPr>
            <a:lvl8pPr marL="3529401" indent="0">
              <a:buNone/>
              <a:defRPr sz="1764" b="1"/>
            </a:lvl8pPr>
            <a:lvl9pPr marL="4033601" indent="0">
              <a:buNone/>
              <a:defRPr sz="1764" b="1"/>
            </a:lvl9pPr>
          </a:lstStyle>
          <a:p>
            <a:pPr lvl="0"/>
            <a:r>
              <a:rPr lang="en-US"/>
              <a:t>Click to edit Master text styles</a:t>
            </a:r>
          </a:p>
        </p:txBody>
      </p:sp>
      <p:sp>
        <p:nvSpPr>
          <p:cNvPr id="6" name="Content Placeholder 5"/>
          <p:cNvSpPr>
            <a:spLocks noGrp="1"/>
          </p:cNvSpPr>
          <p:nvPr>
            <p:ph sz="quarter" idx="4"/>
          </p:nvPr>
        </p:nvSpPr>
        <p:spPr>
          <a:xfrm>
            <a:off x="6806298" y="2762541"/>
            <a:ext cx="5715680" cy="40632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a:t>8/1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5311769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a:t>8/1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203932512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line + image">
    <p:bg>
      <p:bgPr>
        <a:solidFill>
          <a:schemeClr val="bg1"/>
        </a:solidFill>
        <a:effectLst/>
      </p:bgPr>
    </p:bg>
    <p:spTree>
      <p:nvGrpSpPr>
        <p:cNvPr id="1" name=""/>
        <p:cNvGrpSpPr/>
        <p:nvPr/>
      </p:nvGrpSpPr>
      <p:grpSpPr>
        <a:xfrm>
          <a:off x="0" y="0"/>
          <a:ext cx="0" cy="0"/>
          <a:chOff x="0" y="0"/>
          <a:chExt cx="0" cy="0"/>
        </a:xfrm>
      </p:grpSpPr>
      <p:sp>
        <p:nvSpPr>
          <p:cNvPr id="15" name="Text Placeholder 9">
            <a:extLst>
              <a:ext uri="{FF2B5EF4-FFF2-40B4-BE49-F238E27FC236}">
                <a16:creationId xmlns:a16="http://schemas.microsoft.com/office/drawing/2014/main" id="{8F476040-597A-AC4F-9489-BC03B665C8BC}"/>
              </a:ext>
            </a:extLst>
          </p:cNvPr>
          <p:cNvSpPr>
            <a:spLocks noGrp="1"/>
          </p:cNvSpPr>
          <p:nvPr>
            <p:ph type="body" sz="quarter" idx="15" hasCustomPrompt="1"/>
          </p:nvPr>
        </p:nvSpPr>
        <p:spPr>
          <a:xfrm>
            <a:off x="785670" y="1938909"/>
            <a:ext cx="8069340"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8" name="Picture Placeholder 2">
            <a:extLst>
              <a:ext uri="{FF2B5EF4-FFF2-40B4-BE49-F238E27FC236}">
                <a16:creationId xmlns:a16="http://schemas.microsoft.com/office/drawing/2014/main" id="{CF2003F7-CA18-7D49-B884-523E76F2D70D}"/>
              </a:ext>
            </a:extLst>
          </p:cNvPr>
          <p:cNvSpPr>
            <a:spLocks noGrp="1"/>
          </p:cNvSpPr>
          <p:nvPr>
            <p:ph type="pic" sz="quarter" idx="19" hasCustomPrompt="1"/>
          </p:nvPr>
        </p:nvSpPr>
        <p:spPr>
          <a:xfrm>
            <a:off x="9798677" y="-27879"/>
            <a:ext cx="3673742" cy="7601563"/>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14990 w 6185877"/>
              <a:gd name="connsiteY0" fmla="*/ 961093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2497135 w 6185877"/>
              <a:gd name="connsiteY1" fmla="*/ 950227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449170 h 8020411"/>
              <a:gd name="connsiteX1" fmla="*/ 2497135 w 6185877"/>
              <a:gd name="connsiteY1" fmla="*/ 4383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8132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71277 w 6185877"/>
              <a:gd name="connsiteY3" fmla="*/ 9165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690327"/>
              <a:gd name="connsiteY0" fmla="*/ 0 h 7572509"/>
              <a:gd name="connsiteX1" fmla="*/ 2509835 w 3690327"/>
              <a:gd name="connsiteY1" fmla="*/ 1834 h 7572509"/>
              <a:gd name="connsiteX2" fmla="*/ 3681326 w 3690327"/>
              <a:gd name="connsiteY2" fmla="*/ 8171 h 7572509"/>
              <a:gd name="connsiteX3" fmla="*/ 3690327 w 3690327"/>
              <a:gd name="connsiteY3" fmla="*/ 941986 h 7572509"/>
              <a:gd name="connsiteX4" fmla="*/ 3664927 w 3690327"/>
              <a:gd name="connsiteY4" fmla="*/ 7020712 h 7572509"/>
              <a:gd name="connsiteX5" fmla="*/ 3666848 w 3690327"/>
              <a:gd name="connsiteY5" fmla="*/ 7571241 h 7572509"/>
              <a:gd name="connsiteX6" fmla="*/ 601329 w 3690327"/>
              <a:gd name="connsiteY6" fmla="*/ 7571241 h 7572509"/>
              <a:gd name="connsiteX7" fmla="*/ 0 w 3690327"/>
              <a:gd name="connsiteY7" fmla="*/ 6969912 h 7572509"/>
              <a:gd name="connsiteX8" fmla="*/ 14990 w 3690327"/>
              <a:gd name="connsiteY8" fmla="*/ 0 h 7572509"/>
              <a:gd name="connsiteX0" fmla="*/ 14990 w 3682756"/>
              <a:gd name="connsiteY0" fmla="*/ 0 h 7572509"/>
              <a:gd name="connsiteX1" fmla="*/ 2509835 w 3682756"/>
              <a:gd name="connsiteY1" fmla="*/ 1834 h 7572509"/>
              <a:gd name="connsiteX2" fmla="*/ 3681326 w 3682756"/>
              <a:gd name="connsiteY2" fmla="*/ 817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682756"/>
              <a:gd name="connsiteY0" fmla="*/ 0 h 7572509"/>
              <a:gd name="connsiteX1" fmla="*/ 2509835 w 3682756"/>
              <a:gd name="connsiteY1" fmla="*/ 1834 h 7572509"/>
              <a:gd name="connsiteX2" fmla="*/ 3681326 w 3682756"/>
              <a:gd name="connsiteY2" fmla="*/ 182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895405"/>
              <a:gd name="connsiteY0" fmla="*/ 0 h 7611785"/>
              <a:gd name="connsiteX1" fmla="*/ 2509835 w 3895405"/>
              <a:gd name="connsiteY1" fmla="*/ 1834 h 7611785"/>
              <a:gd name="connsiteX2" fmla="*/ 3681326 w 3895405"/>
              <a:gd name="connsiteY2" fmla="*/ 1821 h 7611785"/>
              <a:gd name="connsiteX3" fmla="*/ 3677627 w 3895405"/>
              <a:gd name="connsiteY3" fmla="*/ 957861 h 7611785"/>
              <a:gd name="connsiteX4" fmla="*/ 3671277 w 3895405"/>
              <a:gd name="connsiteY4" fmla="*/ 7023887 h 7611785"/>
              <a:gd name="connsiteX5" fmla="*/ 3666848 w 3895405"/>
              <a:gd name="connsiteY5" fmla="*/ 7571241 h 7611785"/>
              <a:gd name="connsiteX6" fmla="*/ 601329 w 3895405"/>
              <a:gd name="connsiteY6" fmla="*/ 7571241 h 7611785"/>
              <a:gd name="connsiteX7" fmla="*/ 0 w 3895405"/>
              <a:gd name="connsiteY7" fmla="*/ 6969912 h 7611785"/>
              <a:gd name="connsiteX8" fmla="*/ 14990 w 3895405"/>
              <a:gd name="connsiteY8" fmla="*/ 0 h 7611785"/>
              <a:gd name="connsiteX0" fmla="*/ 14990 w 3682756"/>
              <a:gd name="connsiteY0" fmla="*/ 0 h 7573685"/>
              <a:gd name="connsiteX1" fmla="*/ 2509835 w 3682756"/>
              <a:gd name="connsiteY1" fmla="*/ 1834 h 7573685"/>
              <a:gd name="connsiteX2" fmla="*/ 3681326 w 3682756"/>
              <a:gd name="connsiteY2" fmla="*/ 1821 h 7573685"/>
              <a:gd name="connsiteX3" fmla="*/ 3677627 w 3682756"/>
              <a:gd name="connsiteY3" fmla="*/ 957861 h 7573685"/>
              <a:gd name="connsiteX4" fmla="*/ 3671277 w 3682756"/>
              <a:gd name="connsiteY4" fmla="*/ 7023887 h 7573685"/>
              <a:gd name="connsiteX5" fmla="*/ 3666848 w 3682756"/>
              <a:gd name="connsiteY5" fmla="*/ 7571241 h 7573685"/>
              <a:gd name="connsiteX6" fmla="*/ 601329 w 3682756"/>
              <a:gd name="connsiteY6" fmla="*/ 7571241 h 7573685"/>
              <a:gd name="connsiteX7" fmla="*/ 0 w 3682756"/>
              <a:gd name="connsiteY7" fmla="*/ 6969912 h 7573685"/>
              <a:gd name="connsiteX8" fmla="*/ 14990 w 3682756"/>
              <a:gd name="connsiteY8" fmla="*/ 0 h 7573685"/>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0 w 3684492"/>
              <a:gd name="connsiteY0" fmla="*/ 9317 h 7583002"/>
              <a:gd name="connsiteX1" fmla="*/ 250599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0 w 3684492"/>
              <a:gd name="connsiteY0" fmla="*/ 9317 h 7583002"/>
              <a:gd name="connsiteX1" fmla="*/ 177001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3839 w 3682756"/>
              <a:gd name="connsiteY0" fmla="*/ 0 h 7590412"/>
              <a:gd name="connsiteX1" fmla="*/ 1768280 w 3682756"/>
              <a:gd name="connsiteY1" fmla="*/ 7410 h 7590412"/>
              <a:gd name="connsiteX2" fmla="*/ 3681326 w 3682756"/>
              <a:gd name="connsiteY2" fmla="*/ 18548 h 7590412"/>
              <a:gd name="connsiteX3" fmla="*/ 3677627 w 3682756"/>
              <a:gd name="connsiteY3" fmla="*/ 974588 h 7590412"/>
              <a:gd name="connsiteX4" fmla="*/ 3671277 w 3682756"/>
              <a:gd name="connsiteY4" fmla="*/ 7040614 h 7590412"/>
              <a:gd name="connsiteX5" fmla="*/ 3666848 w 3682756"/>
              <a:gd name="connsiteY5" fmla="*/ 7587968 h 7590412"/>
              <a:gd name="connsiteX6" fmla="*/ 601329 w 3682756"/>
              <a:gd name="connsiteY6" fmla="*/ 7587968 h 7590412"/>
              <a:gd name="connsiteX7" fmla="*/ 0 w 3682756"/>
              <a:gd name="connsiteY7" fmla="*/ 6986639 h 7590412"/>
              <a:gd name="connsiteX8" fmla="*/ 3839 w 3682756"/>
              <a:gd name="connsiteY8" fmla="*/ 0 h 7590412"/>
              <a:gd name="connsiteX0" fmla="*/ 3839 w 3682756"/>
              <a:gd name="connsiteY0" fmla="*/ 3741 h 7594153"/>
              <a:gd name="connsiteX1" fmla="*/ 1779431 w 3682756"/>
              <a:gd name="connsiteY1" fmla="*/ 0 h 7594153"/>
              <a:gd name="connsiteX2" fmla="*/ 3681326 w 3682756"/>
              <a:gd name="connsiteY2" fmla="*/ 22289 h 7594153"/>
              <a:gd name="connsiteX3" fmla="*/ 3677627 w 3682756"/>
              <a:gd name="connsiteY3" fmla="*/ 978329 h 7594153"/>
              <a:gd name="connsiteX4" fmla="*/ 3671277 w 3682756"/>
              <a:gd name="connsiteY4" fmla="*/ 7044355 h 7594153"/>
              <a:gd name="connsiteX5" fmla="*/ 3666848 w 3682756"/>
              <a:gd name="connsiteY5" fmla="*/ 7591709 h 7594153"/>
              <a:gd name="connsiteX6" fmla="*/ 601329 w 3682756"/>
              <a:gd name="connsiteY6" fmla="*/ 7591709 h 7594153"/>
              <a:gd name="connsiteX7" fmla="*/ 0 w 3682756"/>
              <a:gd name="connsiteY7" fmla="*/ 6990380 h 7594153"/>
              <a:gd name="connsiteX8" fmla="*/ 3839 w 3682756"/>
              <a:gd name="connsiteY8" fmla="*/ 3741 h 7594153"/>
              <a:gd name="connsiteX0" fmla="*/ 3839 w 3682756"/>
              <a:gd name="connsiteY0" fmla="*/ 548819 h 8139231"/>
              <a:gd name="connsiteX1" fmla="*/ 3681326 w 3682756"/>
              <a:gd name="connsiteY1" fmla="*/ 567367 h 8139231"/>
              <a:gd name="connsiteX2" fmla="*/ 3677627 w 3682756"/>
              <a:gd name="connsiteY2" fmla="*/ 1523407 h 8139231"/>
              <a:gd name="connsiteX3" fmla="*/ 3671277 w 3682756"/>
              <a:gd name="connsiteY3" fmla="*/ 7589433 h 8139231"/>
              <a:gd name="connsiteX4" fmla="*/ 3666848 w 3682756"/>
              <a:gd name="connsiteY4" fmla="*/ 8136787 h 8139231"/>
              <a:gd name="connsiteX5" fmla="*/ 601329 w 3682756"/>
              <a:gd name="connsiteY5" fmla="*/ 8136787 h 8139231"/>
              <a:gd name="connsiteX6" fmla="*/ 0 w 3682756"/>
              <a:gd name="connsiteY6" fmla="*/ 7535458 h 8139231"/>
              <a:gd name="connsiteX7" fmla="*/ 3839 w 3682756"/>
              <a:gd name="connsiteY7" fmla="*/ 548819 h 8139231"/>
              <a:gd name="connsiteX0" fmla="*/ 3839 w 3950935"/>
              <a:gd name="connsiteY0" fmla="*/ 548819 h 8336254"/>
              <a:gd name="connsiteX1" fmla="*/ 3681326 w 3950935"/>
              <a:gd name="connsiteY1" fmla="*/ 567367 h 8336254"/>
              <a:gd name="connsiteX2" fmla="*/ 3671277 w 3950935"/>
              <a:gd name="connsiteY2" fmla="*/ 7589433 h 8336254"/>
              <a:gd name="connsiteX3" fmla="*/ 3666848 w 3950935"/>
              <a:gd name="connsiteY3" fmla="*/ 8136787 h 8336254"/>
              <a:gd name="connsiteX4" fmla="*/ 601329 w 3950935"/>
              <a:gd name="connsiteY4" fmla="*/ 8136787 h 8336254"/>
              <a:gd name="connsiteX5" fmla="*/ 0 w 3950935"/>
              <a:gd name="connsiteY5" fmla="*/ 7535458 h 8336254"/>
              <a:gd name="connsiteX6" fmla="*/ 3839 w 3950935"/>
              <a:gd name="connsiteY6" fmla="*/ 548819 h 8336254"/>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681326"/>
              <a:gd name="connsiteY0" fmla="*/ 548819 h 8139231"/>
              <a:gd name="connsiteX1" fmla="*/ 3681326 w 3681326"/>
              <a:gd name="connsiteY1" fmla="*/ 567367 h 8139231"/>
              <a:gd name="connsiteX2" fmla="*/ 3666848 w 3681326"/>
              <a:gd name="connsiteY2" fmla="*/ 8136787 h 8139231"/>
              <a:gd name="connsiteX3" fmla="*/ 601329 w 3681326"/>
              <a:gd name="connsiteY3" fmla="*/ 8136787 h 8139231"/>
              <a:gd name="connsiteX4" fmla="*/ 0 w 3681326"/>
              <a:gd name="connsiteY4" fmla="*/ 7535458 h 8139231"/>
              <a:gd name="connsiteX5" fmla="*/ 3839 w 3681326"/>
              <a:gd name="connsiteY5" fmla="*/ 548819 h 8139231"/>
              <a:gd name="connsiteX0" fmla="*/ 3839 w 3681336"/>
              <a:gd name="connsiteY0" fmla="*/ 509120 h 8099532"/>
              <a:gd name="connsiteX1" fmla="*/ 3681326 w 3681336"/>
              <a:gd name="connsiteY1" fmla="*/ 527668 h 8099532"/>
              <a:gd name="connsiteX2" fmla="*/ 3666848 w 3681336"/>
              <a:gd name="connsiteY2" fmla="*/ 8097088 h 8099532"/>
              <a:gd name="connsiteX3" fmla="*/ 601329 w 3681336"/>
              <a:gd name="connsiteY3" fmla="*/ 8097088 h 8099532"/>
              <a:gd name="connsiteX4" fmla="*/ 0 w 3681336"/>
              <a:gd name="connsiteY4" fmla="*/ 7495759 h 8099532"/>
              <a:gd name="connsiteX5" fmla="*/ 3839 w 3681336"/>
              <a:gd name="connsiteY5" fmla="*/ 509120 h 8099532"/>
              <a:gd name="connsiteX0" fmla="*/ 3839 w 3681334"/>
              <a:gd name="connsiteY0" fmla="*/ 0 h 7590412"/>
              <a:gd name="connsiteX1" fmla="*/ 3681326 w 3681334"/>
              <a:gd name="connsiteY1" fmla="*/ 18548 h 7590412"/>
              <a:gd name="connsiteX2" fmla="*/ 3666848 w 3681334"/>
              <a:gd name="connsiteY2" fmla="*/ 7587968 h 7590412"/>
              <a:gd name="connsiteX3" fmla="*/ 601329 w 3681334"/>
              <a:gd name="connsiteY3" fmla="*/ 7587968 h 7590412"/>
              <a:gd name="connsiteX4" fmla="*/ 0 w 3681334"/>
              <a:gd name="connsiteY4" fmla="*/ 6986639 h 7590412"/>
              <a:gd name="connsiteX5" fmla="*/ 3839 w 3681334"/>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0 w 3677501"/>
              <a:gd name="connsiteY0" fmla="*/ 0 h 7618352"/>
              <a:gd name="connsiteX1" fmla="*/ 3677493 w 3677501"/>
              <a:gd name="connsiteY1" fmla="*/ 29762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3677501"/>
              <a:gd name="connsiteY0" fmla="*/ 0 h 7618352"/>
              <a:gd name="connsiteX1" fmla="*/ 3677493 w 3677501"/>
              <a:gd name="connsiteY1" fmla="*/ 7409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7501" h="7618352">
                <a:moveTo>
                  <a:pt x="0" y="0"/>
                </a:moveTo>
                <a:cubicBezTo>
                  <a:pt x="5813" y="3954"/>
                  <a:pt x="3684087" y="17822"/>
                  <a:pt x="3677493" y="7409"/>
                </a:cubicBezTo>
                <a:cubicBezTo>
                  <a:pt x="3674677" y="11982"/>
                  <a:pt x="3657816" y="7620002"/>
                  <a:pt x="3668590" y="7615908"/>
                </a:cubicBezTo>
                <a:cubicBezTo>
                  <a:pt x="3658582" y="7621409"/>
                  <a:pt x="1624911" y="7615908"/>
                  <a:pt x="603071" y="7615908"/>
                </a:cubicBezTo>
                <a:cubicBezTo>
                  <a:pt x="270966" y="7615908"/>
                  <a:pt x="1742" y="7346684"/>
                  <a:pt x="1742" y="7014579"/>
                </a:cubicBezTo>
                <a:cubicBezTo>
                  <a:pt x="1742" y="4571354"/>
                  <a:pt x="5576" y="1108"/>
                  <a:pt x="0" y="0"/>
                </a:cubicBezTo>
                <a:close/>
              </a:path>
            </a:pathLst>
          </a:custGeom>
        </p:spPr>
        <p:txBody>
          <a:bodyPr/>
          <a:lstStyle/>
          <a:p>
            <a:r>
              <a:rPr lang="en-US"/>
              <a:t> </a:t>
            </a:r>
          </a:p>
        </p:txBody>
      </p:sp>
      <p:sp>
        <p:nvSpPr>
          <p:cNvPr id="12" name="Text Placeholder 2">
            <a:extLst>
              <a:ext uri="{FF2B5EF4-FFF2-40B4-BE49-F238E27FC236}">
                <a16:creationId xmlns:a16="http://schemas.microsoft.com/office/drawing/2014/main" id="{ADC6E11B-8420-4C47-8D95-6B62E41E9C3B}"/>
              </a:ext>
            </a:extLst>
          </p:cNvPr>
          <p:cNvSpPr>
            <a:spLocks noGrp="1"/>
          </p:cNvSpPr>
          <p:nvPr>
            <p:ph type="body" sz="quarter" idx="14" hasCustomPrompt="1"/>
          </p:nvPr>
        </p:nvSpPr>
        <p:spPr>
          <a:xfrm>
            <a:off x="785670" y="776579"/>
            <a:ext cx="8069340"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Tree>
    <p:extLst>
      <p:ext uri="{BB962C8B-B14F-4D97-AF65-F5344CB8AC3E}">
        <p14:creationId xmlns:p14="http://schemas.microsoft.com/office/powerpoint/2010/main" val="246546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654630-537B-422D-9323-2B461455107B}"/>
              </a:ext>
            </a:extLst>
          </p:cNvPr>
          <p:cNvGraphicFramePr>
            <a:graphicFrameLocks noChangeAspect="1"/>
          </p:cNvGraphicFramePr>
          <p:nvPr userDrawn="1">
            <p:custDataLst>
              <p:tags r:id="rId1"/>
            </p:custDataLst>
            <p:extLst>
              <p:ext uri="{D42A27DB-BD31-4B8C-83A1-F6EECF244321}">
                <p14:modId xmlns:p14="http://schemas.microsoft.com/office/powerpoint/2010/main" val="1408476028"/>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90654630-537B-422D-9323-2B461455107B}"/>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C764DE79-268F-4C1A-8933-263129D2AF90}" type="datetimeFigureOut">
              <a:rPr lang="en-US"/>
              <a:t>8/1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682821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6063" y="504190"/>
            <a:ext cx="4336213" cy="1764665"/>
          </a:xfrm>
        </p:spPr>
        <p:txBody>
          <a:bodyPr anchor="b"/>
          <a:lstStyle>
            <a:lvl1pPr>
              <a:defRPr sz="3529"/>
            </a:lvl1pPr>
          </a:lstStyle>
          <a:p>
            <a:r>
              <a:rPr lang="en-US"/>
              <a:t>Click to edit Master title style</a:t>
            </a:r>
          </a:p>
        </p:txBody>
      </p:sp>
      <p:sp>
        <p:nvSpPr>
          <p:cNvPr id="3" name="Content Placeholder 2"/>
          <p:cNvSpPr>
            <a:spLocks noGrp="1"/>
          </p:cNvSpPr>
          <p:nvPr>
            <p:ph idx="1"/>
          </p:nvPr>
        </p:nvSpPr>
        <p:spPr>
          <a:xfrm>
            <a:off x="5715680" y="1088912"/>
            <a:ext cx="6806297" cy="5374525"/>
          </a:xfrm>
        </p:spPr>
        <p:txBody>
          <a:bodyPr/>
          <a:lstStyle>
            <a:lvl1pPr>
              <a:defRPr sz="3529"/>
            </a:lvl1pPr>
            <a:lvl2pPr>
              <a:defRPr sz="3088"/>
            </a:lvl2pPr>
            <a:lvl3pPr>
              <a:defRPr sz="2647"/>
            </a:lvl3pPr>
            <a:lvl4pPr>
              <a:defRPr sz="2206"/>
            </a:lvl4pPr>
            <a:lvl5pPr>
              <a:defRPr sz="2206"/>
            </a:lvl5pPr>
            <a:lvl6pPr>
              <a:defRPr sz="2206"/>
            </a:lvl6pPr>
            <a:lvl7pPr>
              <a:defRPr sz="2206"/>
            </a:lvl7pPr>
            <a:lvl8pPr>
              <a:defRPr sz="2206"/>
            </a:lvl8pPr>
            <a:lvl9pPr>
              <a:defRPr sz="22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26063" y="2268855"/>
            <a:ext cx="4336213" cy="4203335"/>
          </a:xfrm>
        </p:spPr>
        <p:txBody>
          <a:bodyPr/>
          <a:lstStyle>
            <a:lvl1pPr marL="0" indent="0">
              <a:buNone/>
              <a:defRPr sz="1764"/>
            </a:lvl1pPr>
            <a:lvl2pPr marL="504200" indent="0">
              <a:buNone/>
              <a:defRPr sz="1544"/>
            </a:lvl2pPr>
            <a:lvl3pPr marL="1008400" indent="0">
              <a:buNone/>
              <a:defRPr sz="1323"/>
            </a:lvl3pPr>
            <a:lvl4pPr marL="1512600" indent="0">
              <a:buNone/>
              <a:defRPr sz="1103"/>
            </a:lvl4pPr>
            <a:lvl5pPr marL="2016801" indent="0">
              <a:buNone/>
              <a:defRPr sz="1103"/>
            </a:lvl5pPr>
            <a:lvl6pPr marL="2521001" indent="0">
              <a:buNone/>
              <a:defRPr sz="1103"/>
            </a:lvl6pPr>
            <a:lvl7pPr marL="3025201" indent="0">
              <a:buNone/>
              <a:defRPr sz="1103"/>
            </a:lvl7pPr>
            <a:lvl8pPr marL="3529401" indent="0">
              <a:buNone/>
              <a:defRPr sz="1103"/>
            </a:lvl8pPr>
            <a:lvl9pPr marL="4033601" indent="0">
              <a:buNone/>
              <a:defRPr sz="1103"/>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a:t>8/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90520037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6063" y="504190"/>
            <a:ext cx="4336213" cy="1764665"/>
          </a:xfrm>
        </p:spPr>
        <p:txBody>
          <a:bodyPr anchor="b"/>
          <a:lstStyle>
            <a:lvl1pPr>
              <a:defRPr sz="3529"/>
            </a:lvl1pPr>
          </a:lstStyle>
          <a:p>
            <a:r>
              <a:rPr lang="en-US"/>
              <a:t>Click to edit Master title style</a:t>
            </a:r>
          </a:p>
        </p:txBody>
      </p:sp>
      <p:sp>
        <p:nvSpPr>
          <p:cNvPr id="3" name="Picture Placeholder 2"/>
          <p:cNvSpPr>
            <a:spLocks noGrp="1" noChangeAspect="1"/>
          </p:cNvSpPr>
          <p:nvPr>
            <p:ph type="pic" idx="1"/>
          </p:nvPr>
        </p:nvSpPr>
        <p:spPr>
          <a:xfrm>
            <a:off x="5715680" y="1088912"/>
            <a:ext cx="6806297" cy="5374525"/>
          </a:xfrm>
        </p:spPr>
        <p:txBody>
          <a:bodyPr anchor="t"/>
          <a:lstStyle>
            <a:lvl1pPr marL="0" indent="0">
              <a:buNone/>
              <a:defRPr sz="3529"/>
            </a:lvl1pPr>
            <a:lvl2pPr marL="504200" indent="0">
              <a:buNone/>
              <a:defRPr sz="3088"/>
            </a:lvl2pPr>
            <a:lvl3pPr marL="1008400" indent="0">
              <a:buNone/>
              <a:defRPr sz="2647"/>
            </a:lvl3pPr>
            <a:lvl4pPr marL="1512600" indent="0">
              <a:buNone/>
              <a:defRPr sz="2206"/>
            </a:lvl4pPr>
            <a:lvl5pPr marL="2016801" indent="0">
              <a:buNone/>
              <a:defRPr sz="2206"/>
            </a:lvl5pPr>
            <a:lvl6pPr marL="2521001" indent="0">
              <a:buNone/>
              <a:defRPr sz="2206"/>
            </a:lvl6pPr>
            <a:lvl7pPr marL="3025201" indent="0">
              <a:buNone/>
              <a:defRPr sz="2206"/>
            </a:lvl7pPr>
            <a:lvl8pPr marL="3529401" indent="0">
              <a:buNone/>
              <a:defRPr sz="2206"/>
            </a:lvl8pPr>
            <a:lvl9pPr marL="4033601" indent="0">
              <a:buNone/>
              <a:defRPr sz="2206"/>
            </a:lvl9pPr>
          </a:lstStyle>
          <a:p>
            <a:r>
              <a:rPr lang="en-US"/>
              <a:t>Drag picture to placeholder or click icon to add</a:t>
            </a:r>
          </a:p>
        </p:txBody>
      </p:sp>
      <p:sp>
        <p:nvSpPr>
          <p:cNvPr id="4" name="Text Placeholder 3"/>
          <p:cNvSpPr>
            <a:spLocks noGrp="1"/>
          </p:cNvSpPr>
          <p:nvPr>
            <p:ph type="body" sz="half" idx="2"/>
          </p:nvPr>
        </p:nvSpPr>
        <p:spPr>
          <a:xfrm>
            <a:off x="926063" y="2268855"/>
            <a:ext cx="4336213" cy="4203335"/>
          </a:xfrm>
        </p:spPr>
        <p:txBody>
          <a:bodyPr/>
          <a:lstStyle>
            <a:lvl1pPr marL="0" indent="0">
              <a:buNone/>
              <a:defRPr sz="1764"/>
            </a:lvl1pPr>
            <a:lvl2pPr marL="504200" indent="0">
              <a:buNone/>
              <a:defRPr sz="1544"/>
            </a:lvl2pPr>
            <a:lvl3pPr marL="1008400" indent="0">
              <a:buNone/>
              <a:defRPr sz="1323"/>
            </a:lvl3pPr>
            <a:lvl4pPr marL="1512600" indent="0">
              <a:buNone/>
              <a:defRPr sz="1103"/>
            </a:lvl4pPr>
            <a:lvl5pPr marL="2016801" indent="0">
              <a:buNone/>
              <a:defRPr sz="1103"/>
            </a:lvl5pPr>
            <a:lvl6pPr marL="2521001" indent="0">
              <a:buNone/>
              <a:defRPr sz="1103"/>
            </a:lvl6pPr>
            <a:lvl7pPr marL="3025201" indent="0">
              <a:buNone/>
              <a:defRPr sz="1103"/>
            </a:lvl7pPr>
            <a:lvl8pPr marL="3529401" indent="0">
              <a:buNone/>
              <a:defRPr sz="1103"/>
            </a:lvl8pPr>
            <a:lvl9pPr marL="4033601" indent="0">
              <a:buNone/>
              <a:defRPr sz="1103"/>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a:t>8/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252466139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a:t>8/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350555978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21248" y="402652"/>
            <a:ext cx="2898979" cy="640916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24313" y="402652"/>
            <a:ext cx="8528879" cy="64091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a:t>8/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a:t>‹#›</a:t>
            </a:fld>
            <a:endParaRPr lang="en-US"/>
          </a:p>
        </p:txBody>
      </p:sp>
    </p:spTree>
    <p:extLst>
      <p:ext uri="{BB962C8B-B14F-4D97-AF65-F5344CB8AC3E}">
        <p14:creationId xmlns:p14="http://schemas.microsoft.com/office/powerpoint/2010/main" val="186379937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1"/>
            </p:custDataLst>
            <p:extLst>
              <p:ext uri="{D42A27DB-BD31-4B8C-83A1-F6EECF244321}">
                <p14:modId xmlns:p14="http://schemas.microsoft.com/office/powerpoint/2010/main" val="3130715568"/>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97D5CF0-9205-4514-835C-6971DD4223F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7" name="Picture Placeholder 5"/>
          <p:cNvSpPr>
            <a:spLocks noGrp="1"/>
          </p:cNvSpPr>
          <p:nvPr>
            <p:ph type="pic" sz="quarter" idx="10"/>
          </p:nvPr>
        </p:nvSpPr>
        <p:spPr>
          <a:xfrm>
            <a:off x="0" y="0"/>
            <a:ext cx="13444538" cy="7562850"/>
          </a:xfrm>
        </p:spPr>
        <p:txBody>
          <a:bodyPr/>
          <a:lstStyle/>
          <a:p>
            <a:endParaRPr lang="en-US"/>
          </a:p>
        </p:txBody>
      </p:sp>
    </p:spTree>
    <p:extLst>
      <p:ext uri="{BB962C8B-B14F-4D97-AF65-F5344CB8AC3E}">
        <p14:creationId xmlns:p14="http://schemas.microsoft.com/office/powerpoint/2010/main" val="15783537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ablet-mockup">
    <p:spTree>
      <p:nvGrpSpPr>
        <p:cNvPr id="1" name=""/>
        <p:cNvGrpSpPr/>
        <p:nvPr/>
      </p:nvGrpSpPr>
      <p:grpSpPr>
        <a:xfrm>
          <a:off x="0" y="0"/>
          <a:ext cx="0" cy="0"/>
          <a:chOff x="0" y="0"/>
          <a:chExt cx="0" cy="0"/>
        </a:xfrm>
      </p:grpSpPr>
      <p:sp>
        <p:nvSpPr>
          <p:cNvPr id="22" name="Picture Placeholder 9"/>
          <p:cNvSpPr>
            <a:spLocks noGrp="1" noChangeAspect="1"/>
          </p:cNvSpPr>
          <p:nvPr>
            <p:ph type="pic" sz="quarter" idx="12"/>
          </p:nvPr>
        </p:nvSpPr>
        <p:spPr>
          <a:xfrm>
            <a:off x="6795889" y="2412530"/>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a:p>
        </p:txBody>
      </p:sp>
      <p:sp>
        <p:nvSpPr>
          <p:cNvPr id="23" name="Picture Placeholder 9"/>
          <p:cNvSpPr>
            <a:spLocks noGrp="1" noChangeAspect="1"/>
          </p:cNvSpPr>
          <p:nvPr>
            <p:ph type="pic" sz="quarter" idx="15"/>
          </p:nvPr>
        </p:nvSpPr>
        <p:spPr>
          <a:xfrm>
            <a:off x="4475090" y="2412530"/>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a:p>
        </p:txBody>
      </p:sp>
      <p:sp>
        <p:nvSpPr>
          <p:cNvPr id="24" name="Picture Placeholder 9"/>
          <p:cNvSpPr>
            <a:spLocks noGrp="1" noChangeAspect="1"/>
          </p:cNvSpPr>
          <p:nvPr>
            <p:ph type="pic" sz="quarter" idx="16"/>
          </p:nvPr>
        </p:nvSpPr>
        <p:spPr>
          <a:xfrm>
            <a:off x="6795889" y="4158024"/>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a:p>
        </p:txBody>
      </p:sp>
      <p:sp>
        <p:nvSpPr>
          <p:cNvPr id="25" name="Picture Placeholder 9"/>
          <p:cNvSpPr>
            <a:spLocks noGrp="1" noChangeAspect="1"/>
          </p:cNvSpPr>
          <p:nvPr>
            <p:ph type="pic" sz="quarter" idx="17"/>
          </p:nvPr>
        </p:nvSpPr>
        <p:spPr>
          <a:xfrm>
            <a:off x="4475090" y="4158024"/>
            <a:ext cx="2162637" cy="1623492"/>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a:p>
        </p:txBody>
      </p:sp>
    </p:spTree>
    <p:extLst>
      <p:ext uri="{BB962C8B-B14F-4D97-AF65-F5344CB8AC3E}">
        <p14:creationId xmlns:p14="http://schemas.microsoft.com/office/powerpoint/2010/main" val="10562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1174741" y="2781914"/>
            <a:ext cx="5143875" cy="2168804"/>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17853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7096185" y="2794745"/>
            <a:ext cx="5143875" cy="2155974"/>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1613282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Mockup">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1631097" y="3175680"/>
            <a:ext cx="4921532" cy="233828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079462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320966D-FC42-8C4E-B321-6C51B7519B97}"/>
              </a:ext>
            </a:extLst>
          </p:cNvPr>
          <p:cNvSpPr>
            <a:spLocks noGrp="1"/>
          </p:cNvSpPr>
          <p:nvPr>
            <p:ph type="body" sz="quarter" idx="14" hasCustomPrompt="1"/>
          </p:nvPr>
        </p:nvSpPr>
        <p:spPr>
          <a:xfrm>
            <a:off x="4528614" y="776579"/>
            <a:ext cx="8069340"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0" name="Text Placeholder 9">
            <a:extLst>
              <a:ext uri="{FF2B5EF4-FFF2-40B4-BE49-F238E27FC236}">
                <a16:creationId xmlns:a16="http://schemas.microsoft.com/office/drawing/2014/main" id="{F206CF67-64C5-F844-BC9C-CDD4FD02B0B2}"/>
              </a:ext>
            </a:extLst>
          </p:cNvPr>
          <p:cNvSpPr>
            <a:spLocks noGrp="1"/>
          </p:cNvSpPr>
          <p:nvPr>
            <p:ph type="body" sz="quarter" idx="16" hasCustomPrompt="1"/>
          </p:nvPr>
        </p:nvSpPr>
        <p:spPr>
          <a:xfrm>
            <a:off x="4528614" y="1948661"/>
            <a:ext cx="8069340"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9" name="Picture Placeholder 2">
            <a:extLst>
              <a:ext uri="{FF2B5EF4-FFF2-40B4-BE49-F238E27FC236}">
                <a16:creationId xmlns:a16="http://schemas.microsoft.com/office/drawing/2014/main" id="{71687EF5-3057-A24E-99D1-E0749A2F79A4}"/>
              </a:ext>
            </a:extLst>
          </p:cNvPr>
          <p:cNvSpPr>
            <a:spLocks noGrp="1"/>
          </p:cNvSpPr>
          <p:nvPr>
            <p:ph type="pic" sz="quarter" idx="19" hasCustomPrompt="1"/>
          </p:nvPr>
        </p:nvSpPr>
        <p:spPr>
          <a:xfrm>
            <a:off x="-15384" y="-13743"/>
            <a:ext cx="3696950" cy="7595569"/>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6950" h="7595569">
                <a:moveTo>
                  <a:pt x="0" y="7595565"/>
                </a:moveTo>
                <a:cubicBezTo>
                  <a:pt x="14131" y="7602373"/>
                  <a:pt x="-312" y="375263"/>
                  <a:pt x="2710" y="0"/>
                </a:cubicBezTo>
                <a:lnTo>
                  <a:pt x="3696950" y="4929"/>
                </a:lnTo>
                <a:cubicBezTo>
                  <a:pt x="3691025" y="5011"/>
                  <a:pt x="3693775" y="4660408"/>
                  <a:pt x="3693775" y="6987886"/>
                </a:cubicBezTo>
                <a:cubicBezTo>
                  <a:pt x="3693775" y="7319991"/>
                  <a:pt x="3424551" y="7589215"/>
                  <a:pt x="3092446" y="7589215"/>
                </a:cubicBezTo>
                <a:lnTo>
                  <a:pt x="0" y="7595565"/>
                </a:lnTo>
                <a:close/>
              </a:path>
            </a:pathLst>
          </a:custGeom>
        </p:spPr>
        <p:txBody>
          <a:bodyPr/>
          <a:lstStyle/>
          <a:p>
            <a:r>
              <a:rPr lang="en-US"/>
              <a:t>    </a:t>
            </a:r>
          </a:p>
        </p:txBody>
      </p:sp>
    </p:spTree>
    <p:extLst>
      <p:ext uri="{BB962C8B-B14F-4D97-AF65-F5344CB8AC3E}">
        <p14:creationId xmlns:p14="http://schemas.microsoft.com/office/powerpoint/2010/main" val="8895837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Mockup">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7160301" y="3175681"/>
            <a:ext cx="4921532" cy="233828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550765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Mockup">
    <p:spTree>
      <p:nvGrpSpPr>
        <p:cNvPr id="1" name=""/>
        <p:cNvGrpSpPr/>
        <p:nvPr/>
      </p:nvGrpSpPr>
      <p:grpSpPr>
        <a:xfrm>
          <a:off x="0" y="0"/>
          <a:ext cx="0" cy="0"/>
          <a:chOff x="0" y="0"/>
          <a:chExt cx="0" cy="0"/>
        </a:xfrm>
      </p:grpSpPr>
      <p:sp>
        <p:nvSpPr>
          <p:cNvPr id="7" name="Picture Placeholder 2"/>
          <p:cNvSpPr>
            <a:spLocks noGrp="1"/>
          </p:cNvSpPr>
          <p:nvPr>
            <p:ph type="pic" sz="quarter" idx="10"/>
          </p:nvPr>
        </p:nvSpPr>
        <p:spPr>
          <a:xfrm>
            <a:off x="706754" y="2234343"/>
            <a:ext cx="2455011" cy="3218582"/>
          </a:xfrm>
          <a:solidFill>
            <a:schemeClr val="bg1">
              <a:lumMod val="95000"/>
            </a:schemeClr>
          </a:solidFill>
        </p:spPr>
        <p:txBody>
          <a:bodyPr>
            <a:normAutofit/>
          </a:bodyPr>
          <a:lstStyle>
            <a:lvl1pPr>
              <a:defRPr sz="1158"/>
            </a:lvl1pPr>
          </a:lstStyle>
          <a:p>
            <a:endParaRPr lang="en-US"/>
          </a:p>
        </p:txBody>
      </p:sp>
      <p:sp>
        <p:nvSpPr>
          <p:cNvPr id="9" name="Picture Placeholder 2"/>
          <p:cNvSpPr>
            <a:spLocks noGrp="1"/>
          </p:cNvSpPr>
          <p:nvPr>
            <p:ph type="pic" sz="quarter" idx="11"/>
          </p:nvPr>
        </p:nvSpPr>
        <p:spPr>
          <a:xfrm>
            <a:off x="3703333" y="2234343"/>
            <a:ext cx="2455012" cy="3218582"/>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8184975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Mockup">
    <p:spTree>
      <p:nvGrpSpPr>
        <p:cNvPr id="1" name=""/>
        <p:cNvGrpSpPr/>
        <p:nvPr/>
      </p:nvGrpSpPr>
      <p:grpSpPr>
        <a:xfrm>
          <a:off x="0" y="0"/>
          <a:ext cx="0" cy="0"/>
          <a:chOff x="0" y="0"/>
          <a:chExt cx="0" cy="0"/>
        </a:xfrm>
      </p:grpSpPr>
      <p:sp>
        <p:nvSpPr>
          <p:cNvPr id="8" name="Picture Placeholder 2"/>
          <p:cNvSpPr>
            <a:spLocks noGrp="1"/>
          </p:cNvSpPr>
          <p:nvPr>
            <p:ph type="pic" sz="quarter" idx="11"/>
          </p:nvPr>
        </p:nvSpPr>
        <p:spPr>
          <a:xfrm>
            <a:off x="9890467" y="2234343"/>
            <a:ext cx="2461067" cy="3233321"/>
          </a:xfrm>
          <a:solidFill>
            <a:schemeClr val="bg1">
              <a:lumMod val="95000"/>
            </a:schemeClr>
          </a:solidFill>
        </p:spPr>
        <p:txBody>
          <a:bodyPr>
            <a:normAutofit/>
          </a:bodyPr>
          <a:lstStyle>
            <a:lvl1pPr>
              <a:defRPr sz="1158"/>
            </a:lvl1pPr>
          </a:lstStyle>
          <a:p>
            <a:endParaRPr lang="en-US"/>
          </a:p>
        </p:txBody>
      </p:sp>
      <p:sp>
        <p:nvSpPr>
          <p:cNvPr id="7" name="Picture Placeholder 2"/>
          <p:cNvSpPr>
            <a:spLocks noGrp="1"/>
          </p:cNvSpPr>
          <p:nvPr>
            <p:ph type="pic" sz="quarter" idx="10"/>
          </p:nvPr>
        </p:nvSpPr>
        <p:spPr>
          <a:xfrm>
            <a:off x="6881883" y="2234343"/>
            <a:ext cx="2455011" cy="3233321"/>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6180851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_Mockup">
    <p:spTree>
      <p:nvGrpSpPr>
        <p:cNvPr id="1" name=""/>
        <p:cNvGrpSpPr/>
        <p:nvPr/>
      </p:nvGrpSpPr>
      <p:grpSpPr>
        <a:xfrm>
          <a:off x="0" y="0"/>
          <a:ext cx="0" cy="0"/>
          <a:chOff x="0" y="0"/>
          <a:chExt cx="0" cy="0"/>
        </a:xfrm>
      </p:grpSpPr>
      <p:sp>
        <p:nvSpPr>
          <p:cNvPr id="4" name="Picture Placeholder 2"/>
          <p:cNvSpPr>
            <a:spLocks noGrp="1"/>
          </p:cNvSpPr>
          <p:nvPr>
            <p:ph type="pic" sz="quarter" idx="11"/>
          </p:nvPr>
        </p:nvSpPr>
        <p:spPr>
          <a:xfrm>
            <a:off x="2050696" y="2114288"/>
            <a:ext cx="3429250" cy="3215048"/>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5476551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Mockup">
    <p:spTree>
      <p:nvGrpSpPr>
        <p:cNvPr id="1" name=""/>
        <p:cNvGrpSpPr/>
        <p:nvPr/>
      </p:nvGrpSpPr>
      <p:grpSpPr>
        <a:xfrm>
          <a:off x="0" y="0"/>
          <a:ext cx="0" cy="0"/>
          <a:chOff x="0" y="0"/>
          <a:chExt cx="0" cy="0"/>
        </a:xfrm>
      </p:grpSpPr>
      <p:sp>
        <p:nvSpPr>
          <p:cNvPr id="9" name="Picture Placeholder 2"/>
          <p:cNvSpPr>
            <a:spLocks noGrp="1"/>
          </p:cNvSpPr>
          <p:nvPr>
            <p:ph type="pic" sz="quarter" idx="11"/>
          </p:nvPr>
        </p:nvSpPr>
        <p:spPr>
          <a:xfrm>
            <a:off x="8481530" y="2114288"/>
            <a:ext cx="3373604" cy="3215048"/>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40348788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1729618" y="3323040"/>
            <a:ext cx="1829201" cy="1729428"/>
          </a:xfrm>
          <a:solidFill>
            <a:schemeClr val="bg1">
              <a:lumMod val="95000"/>
            </a:schemeClr>
          </a:solidFill>
        </p:spPr>
        <p:txBody>
          <a:bodyPr>
            <a:normAutofit/>
          </a:bodyPr>
          <a:lstStyle>
            <a:lvl1pPr>
              <a:defRPr sz="1323"/>
            </a:lvl1pPr>
          </a:lstStyle>
          <a:p>
            <a:endParaRPr lang="en-US"/>
          </a:p>
        </p:txBody>
      </p:sp>
      <p:sp>
        <p:nvSpPr>
          <p:cNvPr id="11" name="Picture Placeholder 2"/>
          <p:cNvSpPr>
            <a:spLocks noGrp="1"/>
          </p:cNvSpPr>
          <p:nvPr>
            <p:ph type="pic" sz="quarter" idx="16"/>
          </p:nvPr>
        </p:nvSpPr>
        <p:spPr>
          <a:xfrm>
            <a:off x="5758509" y="3278563"/>
            <a:ext cx="1829201" cy="1729428"/>
          </a:xfrm>
          <a:solidFill>
            <a:schemeClr val="bg1">
              <a:lumMod val="95000"/>
            </a:schemeClr>
          </a:solidFill>
        </p:spPr>
        <p:txBody>
          <a:bodyPr>
            <a:normAutofit/>
          </a:bodyPr>
          <a:lstStyle>
            <a:lvl1pPr>
              <a:defRPr sz="1323"/>
            </a:lvl1pPr>
          </a:lstStyle>
          <a:p>
            <a:endParaRPr lang="en-US"/>
          </a:p>
        </p:txBody>
      </p:sp>
      <p:sp>
        <p:nvSpPr>
          <p:cNvPr id="12" name="Picture Placeholder 2"/>
          <p:cNvSpPr>
            <a:spLocks noGrp="1"/>
          </p:cNvSpPr>
          <p:nvPr>
            <p:ph type="pic" sz="quarter" idx="17"/>
          </p:nvPr>
        </p:nvSpPr>
        <p:spPr>
          <a:xfrm>
            <a:off x="9766872" y="3323040"/>
            <a:ext cx="1829201" cy="1729428"/>
          </a:xfrm>
          <a:solidFill>
            <a:schemeClr val="bg1">
              <a:lumMod val="95000"/>
            </a:schemeClr>
          </a:solidFill>
        </p:spPr>
        <p:txBody>
          <a:bodyPr>
            <a:normAutofit/>
          </a:bodyPr>
          <a:lstStyle>
            <a:lvl1pPr>
              <a:defRPr sz="1323"/>
            </a:lvl1pPr>
          </a:lstStyle>
          <a:p>
            <a:endParaRPr lang="en-US"/>
          </a:p>
        </p:txBody>
      </p:sp>
    </p:spTree>
    <p:extLst>
      <p:ext uri="{BB962C8B-B14F-4D97-AF65-F5344CB8AC3E}">
        <p14:creationId xmlns:p14="http://schemas.microsoft.com/office/powerpoint/2010/main" val="16834393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hree Laptops">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5601162" y="3461386"/>
            <a:ext cx="2213334" cy="215283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929792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975334" y="1885235"/>
            <a:ext cx="3651260" cy="5677618"/>
          </a:xfrm>
          <a:solidFill>
            <a:schemeClr val="bg1">
              <a:lumMod val="95000"/>
            </a:schemeClr>
          </a:solidFill>
        </p:spPr>
        <p:txBody>
          <a:bodyPr>
            <a:normAutofit/>
          </a:bodyPr>
          <a:lstStyle>
            <a:lvl1pPr>
              <a:defRPr sz="1158"/>
            </a:lvl1pPr>
          </a:lstStyle>
          <a:p>
            <a:endParaRPr lang="en-US"/>
          </a:p>
        </p:txBody>
      </p:sp>
      <p:sp>
        <p:nvSpPr>
          <p:cNvPr id="14" name="Picture Placeholder 2"/>
          <p:cNvSpPr>
            <a:spLocks noGrp="1"/>
          </p:cNvSpPr>
          <p:nvPr>
            <p:ph type="pic" sz="quarter" idx="15"/>
          </p:nvPr>
        </p:nvSpPr>
        <p:spPr>
          <a:xfrm>
            <a:off x="4938665" y="1885233"/>
            <a:ext cx="3651260" cy="2400383"/>
          </a:xfrm>
          <a:solidFill>
            <a:schemeClr val="bg1">
              <a:lumMod val="95000"/>
            </a:schemeClr>
          </a:solidFill>
        </p:spPr>
        <p:txBody>
          <a:bodyPr>
            <a:normAutofit/>
          </a:bodyPr>
          <a:lstStyle>
            <a:lvl1pPr>
              <a:defRPr sz="1158"/>
            </a:lvl1pPr>
          </a:lstStyle>
          <a:p>
            <a:endParaRPr lang="en-US"/>
          </a:p>
        </p:txBody>
      </p:sp>
      <p:sp>
        <p:nvSpPr>
          <p:cNvPr id="15" name="Picture Placeholder 2"/>
          <p:cNvSpPr>
            <a:spLocks noGrp="1"/>
          </p:cNvSpPr>
          <p:nvPr>
            <p:ph type="pic" sz="quarter" idx="16"/>
          </p:nvPr>
        </p:nvSpPr>
        <p:spPr>
          <a:xfrm>
            <a:off x="4985218" y="4610519"/>
            <a:ext cx="3604706" cy="295233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821619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Placeholder">
    <p:spTree>
      <p:nvGrpSpPr>
        <p:cNvPr id="1" name=""/>
        <p:cNvGrpSpPr/>
        <p:nvPr/>
      </p:nvGrpSpPr>
      <p:grpSpPr>
        <a:xfrm>
          <a:off x="0" y="0"/>
          <a:ext cx="0" cy="0"/>
          <a:chOff x="0" y="0"/>
          <a:chExt cx="0" cy="0"/>
        </a:xfrm>
      </p:grpSpPr>
      <p:sp>
        <p:nvSpPr>
          <p:cNvPr id="13" name="Picture Placeholder 2"/>
          <p:cNvSpPr>
            <a:spLocks noGrp="1"/>
          </p:cNvSpPr>
          <p:nvPr>
            <p:ph type="pic" sz="quarter" idx="14"/>
          </p:nvPr>
        </p:nvSpPr>
        <p:spPr>
          <a:xfrm>
            <a:off x="8891489" y="1885235"/>
            <a:ext cx="3651260" cy="5677618"/>
          </a:xfrm>
          <a:solidFill>
            <a:schemeClr val="bg1">
              <a:lumMod val="95000"/>
            </a:schemeClr>
          </a:solidFill>
        </p:spPr>
        <p:txBody>
          <a:bodyPr>
            <a:normAutofit/>
          </a:bodyPr>
          <a:lstStyle>
            <a:lvl1pPr>
              <a:defRPr sz="1158"/>
            </a:lvl1pPr>
          </a:lstStyle>
          <a:p>
            <a:endParaRPr lang="en-US"/>
          </a:p>
        </p:txBody>
      </p:sp>
      <p:sp>
        <p:nvSpPr>
          <p:cNvPr id="8" name="Picture Placeholder 2"/>
          <p:cNvSpPr>
            <a:spLocks noGrp="1"/>
          </p:cNvSpPr>
          <p:nvPr>
            <p:ph type="pic" sz="quarter" idx="15"/>
          </p:nvPr>
        </p:nvSpPr>
        <p:spPr>
          <a:xfrm>
            <a:off x="4928158" y="1885232"/>
            <a:ext cx="3651260" cy="2400383"/>
          </a:xfrm>
          <a:solidFill>
            <a:schemeClr val="bg1">
              <a:lumMod val="95000"/>
            </a:schemeClr>
          </a:solidFill>
        </p:spPr>
        <p:txBody>
          <a:bodyPr>
            <a:normAutofit/>
          </a:bodyPr>
          <a:lstStyle>
            <a:lvl1pPr>
              <a:defRPr sz="1158"/>
            </a:lvl1pPr>
          </a:lstStyle>
          <a:p>
            <a:endParaRPr lang="en-US"/>
          </a:p>
        </p:txBody>
      </p:sp>
      <p:sp>
        <p:nvSpPr>
          <p:cNvPr id="9" name="Picture Placeholder 2"/>
          <p:cNvSpPr>
            <a:spLocks noGrp="1"/>
          </p:cNvSpPr>
          <p:nvPr>
            <p:ph type="pic" sz="quarter" idx="16"/>
          </p:nvPr>
        </p:nvSpPr>
        <p:spPr>
          <a:xfrm>
            <a:off x="4928159" y="4610519"/>
            <a:ext cx="3604706" cy="295233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7777525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0" y="0"/>
            <a:ext cx="4265641" cy="756285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671163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092C2CD-8D6B-0D4E-AF4C-BB4EE22872D1}"/>
              </a:ext>
            </a:extLst>
          </p:cNvPr>
          <p:cNvSpPr>
            <a:spLocks noGrp="1"/>
          </p:cNvSpPr>
          <p:nvPr>
            <p:ph type="body" sz="quarter" idx="14" hasCustomPrompt="1"/>
          </p:nvPr>
        </p:nvSpPr>
        <p:spPr>
          <a:xfrm>
            <a:off x="785670" y="776579"/>
            <a:ext cx="6069736"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1" name="Text Placeholder 9">
            <a:extLst>
              <a:ext uri="{FF2B5EF4-FFF2-40B4-BE49-F238E27FC236}">
                <a16:creationId xmlns:a16="http://schemas.microsoft.com/office/drawing/2014/main" id="{246D57C6-A437-1741-8E39-E45C3EEBB058}"/>
              </a:ext>
            </a:extLst>
          </p:cNvPr>
          <p:cNvSpPr>
            <a:spLocks noGrp="1"/>
          </p:cNvSpPr>
          <p:nvPr>
            <p:ph type="body" sz="quarter" idx="16" hasCustomPrompt="1"/>
          </p:nvPr>
        </p:nvSpPr>
        <p:spPr>
          <a:xfrm>
            <a:off x="785670" y="1926717"/>
            <a:ext cx="6069663"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12" name="Picture Placeholder 2">
            <a:extLst>
              <a:ext uri="{FF2B5EF4-FFF2-40B4-BE49-F238E27FC236}">
                <a16:creationId xmlns:a16="http://schemas.microsoft.com/office/drawing/2014/main" id="{A52D6E63-593B-204A-BC72-3351C6ED13B5}"/>
              </a:ext>
            </a:extLst>
          </p:cNvPr>
          <p:cNvSpPr>
            <a:spLocks noGrp="1"/>
          </p:cNvSpPr>
          <p:nvPr>
            <p:ph type="pic" sz="quarter" idx="19" hasCustomPrompt="1"/>
          </p:nvPr>
        </p:nvSpPr>
        <p:spPr>
          <a:xfrm>
            <a:off x="8212950" y="-28722"/>
            <a:ext cx="5279456" cy="7602408"/>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14990 w 6185877"/>
              <a:gd name="connsiteY0" fmla="*/ 961093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421447 w 6185877"/>
              <a:gd name="connsiteY1" fmla="*/ 959371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961093 h 8532334"/>
              <a:gd name="connsiteX1" fmla="*/ 2497135 w 6185877"/>
              <a:gd name="connsiteY1" fmla="*/ 950227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14990 w 6185877"/>
              <a:gd name="connsiteY8" fmla="*/ 961093 h 8532334"/>
              <a:gd name="connsiteX0" fmla="*/ 14990 w 6185877"/>
              <a:gd name="connsiteY0" fmla="*/ 449170 h 8020411"/>
              <a:gd name="connsiteX1" fmla="*/ 2497135 w 6185877"/>
              <a:gd name="connsiteY1" fmla="*/ 4383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3687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449170 h 8020411"/>
              <a:gd name="connsiteX1" fmla="*/ 2509835 w 6185877"/>
              <a:gd name="connsiteY1" fmla="*/ 451004 h 8020411"/>
              <a:gd name="connsiteX2" fmla="*/ 3681326 w 6185877"/>
              <a:gd name="connsiteY2" fmla="*/ 457341 h 8020411"/>
              <a:gd name="connsiteX3" fmla="*/ 6185877 w 6185877"/>
              <a:gd name="connsiteY3" fmla="*/ 89406 h 8020411"/>
              <a:gd name="connsiteX4" fmla="*/ 6185877 w 6185877"/>
              <a:gd name="connsiteY4" fmla="*/ 7419082 h 8020411"/>
              <a:gd name="connsiteX5" fmla="*/ 5584548 w 6185877"/>
              <a:gd name="connsiteY5" fmla="*/ 8020411 h 8020411"/>
              <a:gd name="connsiteX6" fmla="*/ 601329 w 6185877"/>
              <a:gd name="connsiteY6" fmla="*/ 8020411 h 8020411"/>
              <a:gd name="connsiteX7" fmla="*/ 0 w 6185877"/>
              <a:gd name="connsiteY7" fmla="*/ 7419082 h 8020411"/>
              <a:gd name="connsiteX8" fmla="*/ 14990 w 6185877"/>
              <a:gd name="connsiteY8" fmla="*/ 449170 h 802041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64927 w 6185877"/>
              <a:gd name="connsiteY3" fmla="*/ 87213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71277 w 6185877"/>
              <a:gd name="connsiteY3" fmla="*/ 9165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55845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6185877"/>
              <a:gd name="connsiteY0" fmla="*/ 0 h 7571241"/>
              <a:gd name="connsiteX1" fmla="*/ 2509835 w 6185877"/>
              <a:gd name="connsiteY1" fmla="*/ 1834 h 7571241"/>
              <a:gd name="connsiteX2" fmla="*/ 3681326 w 6185877"/>
              <a:gd name="connsiteY2" fmla="*/ 8171 h 7571241"/>
              <a:gd name="connsiteX3" fmla="*/ 3690327 w 6185877"/>
              <a:gd name="connsiteY3" fmla="*/ 941986 h 7571241"/>
              <a:gd name="connsiteX4" fmla="*/ 6185877 w 6185877"/>
              <a:gd name="connsiteY4" fmla="*/ 6969912 h 7571241"/>
              <a:gd name="connsiteX5" fmla="*/ 3666848 w 6185877"/>
              <a:gd name="connsiteY5" fmla="*/ 7571241 h 7571241"/>
              <a:gd name="connsiteX6" fmla="*/ 601329 w 6185877"/>
              <a:gd name="connsiteY6" fmla="*/ 7571241 h 7571241"/>
              <a:gd name="connsiteX7" fmla="*/ 0 w 6185877"/>
              <a:gd name="connsiteY7" fmla="*/ 6969912 h 7571241"/>
              <a:gd name="connsiteX8" fmla="*/ 14990 w 6185877"/>
              <a:gd name="connsiteY8" fmla="*/ 0 h 757124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893284"/>
              <a:gd name="connsiteY0" fmla="*/ 0 h 7612021"/>
              <a:gd name="connsiteX1" fmla="*/ 2509835 w 3893284"/>
              <a:gd name="connsiteY1" fmla="*/ 1834 h 7612021"/>
              <a:gd name="connsiteX2" fmla="*/ 3681326 w 3893284"/>
              <a:gd name="connsiteY2" fmla="*/ 8171 h 7612021"/>
              <a:gd name="connsiteX3" fmla="*/ 3690327 w 3893284"/>
              <a:gd name="connsiteY3" fmla="*/ 941986 h 7612021"/>
              <a:gd name="connsiteX4" fmla="*/ 3664927 w 3893284"/>
              <a:gd name="connsiteY4" fmla="*/ 7020712 h 7612021"/>
              <a:gd name="connsiteX5" fmla="*/ 3666848 w 3893284"/>
              <a:gd name="connsiteY5" fmla="*/ 7571241 h 7612021"/>
              <a:gd name="connsiteX6" fmla="*/ 601329 w 3893284"/>
              <a:gd name="connsiteY6" fmla="*/ 7571241 h 7612021"/>
              <a:gd name="connsiteX7" fmla="*/ 0 w 3893284"/>
              <a:gd name="connsiteY7" fmla="*/ 6969912 h 7612021"/>
              <a:gd name="connsiteX8" fmla="*/ 14990 w 3893284"/>
              <a:gd name="connsiteY8" fmla="*/ 0 h 7612021"/>
              <a:gd name="connsiteX0" fmla="*/ 14990 w 3690327"/>
              <a:gd name="connsiteY0" fmla="*/ 0 h 7572509"/>
              <a:gd name="connsiteX1" fmla="*/ 2509835 w 3690327"/>
              <a:gd name="connsiteY1" fmla="*/ 1834 h 7572509"/>
              <a:gd name="connsiteX2" fmla="*/ 3681326 w 3690327"/>
              <a:gd name="connsiteY2" fmla="*/ 8171 h 7572509"/>
              <a:gd name="connsiteX3" fmla="*/ 3690327 w 3690327"/>
              <a:gd name="connsiteY3" fmla="*/ 941986 h 7572509"/>
              <a:gd name="connsiteX4" fmla="*/ 3664927 w 3690327"/>
              <a:gd name="connsiteY4" fmla="*/ 7020712 h 7572509"/>
              <a:gd name="connsiteX5" fmla="*/ 3666848 w 3690327"/>
              <a:gd name="connsiteY5" fmla="*/ 7571241 h 7572509"/>
              <a:gd name="connsiteX6" fmla="*/ 601329 w 3690327"/>
              <a:gd name="connsiteY6" fmla="*/ 7571241 h 7572509"/>
              <a:gd name="connsiteX7" fmla="*/ 0 w 3690327"/>
              <a:gd name="connsiteY7" fmla="*/ 6969912 h 7572509"/>
              <a:gd name="connsiteX8" fmla="*/ 14990 w 3690327"/>
              <a:gd name="connsiteY8" fmla="*/ 0 h 7572509"/>
              <a:gd name="connsiteX0" fmla="*/ 14990 w 3682756"/>
              <a:gd name="connsiteY0" fmla="*/ 0 h 7572509"/>
              <a:gd name="connsiteX1" fmla="*/ 2509835 w 3682756"/>
              <a:gd name="connsiteY1" fmla="*/ 1834 h 7572509"/>
              <a:gd name="connsiteX2" fmla="*/ 3681326 w 3682756"/>
              <a:gd name="connsiteY2" fmla="*/ 817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682756"/>
              <a:gd name="connsiteY0" fmla="*/ 0 h 7572509"/>
              <a:gd name="connsiteX1" fmla="*/ 2509835 w 3682756"/>
              <a:gd name="connsiteY1" fmla="*/ 1834 h 7572509"/>
              <a:gd name="connsiteX2" fmla="*/ 3681326 w 3682756"/>
              <a:gd name="connsiteY2" fmla="*/ 1821 h 7572509"/>
              <a:gd name="connsiteX3" fmla="*/ 3677627 w 3682756"/>
              <a:gd name="connsiteY3" fmla="*/ 957861 h 7572509"/>
              <a:gd name="connsiteX4" fmla="*/ 3664927 w 3682756"/>
              <a:gd name="connsiteY4" fmla="*/ 7020712 h 7572509"/>
              <a:gd name="connsiteX5" fmla="*/ 3666848 w 3682756"/>
              <a:gd name="connsiteY5" fmla="*/ 7571241 h 7572509"/>
              <a:gd name="connsiteX6" fmla="*/ 601329 w 3682756"/>
              <a:gd name="connsiteY6" fmla="*/ 7571241 h 7572509"/>
              <a:gd name="connsiteX7" fmla="*/ 0 w 3682756"/>
              <a:gd name="connsiteY7" fmla="*/ 6969912 h 7572509"/>
              <a:gd name="connsiteX8" fmla="*/ 14990 w 3682756"/>
              <a:gd name="connsiteY8" fmla="*/ 0 h 7572509"/>
              <a:gd name="connsiteX0" fmla="*/ 14990 w 3895405"/>
              <a:gd name="connsiteY0" fmla="*/ 0 h 7611785"/>
              <a:gd name="connsiteX1" fmla="*/ 2509835 w 3895405"/>
              <a:gd name="connsiteY1" fmla="*/ 1834 h 7611785"/>
              <a:gd name="connsiteX2" fmla="*/ 3681326 w 3895405"/>
              <a:gd name="connsiteY2" fmla="*/ 1821 h 7611785"/>
              <a:gd name="connsiteX3" fmla="*/ 3677627 w 3895405"/>
              <a:gd name="connsiteY3" fmla="*/ 957861 h 7611785"/>
              <a:gd name="connsiteX4" fmla="*/ 3671277 w 3895405"/>
              <a:gd name="connsiteY4" fmla="*/ 7023887 h 7611785"/>
              <a:gd name="connsiteX5" fmla="*/ 3666848 w 3895405"/>
              <a:gd name="connsiteY5" fmla="*/ 7571241 h 7611785"/>
              <a:gd name="connsiteX6" fmla="*/ 601329 w 3895405"/>
              <a:gd name="connsiteY6" fmla="*/ 7571241 h 7611785"/>
              <a:gd name="connsiteX7" fmla="*/ 0 w 3895405"/>
              <a:gd name="connsiteY7" fmla="*/ 6969912 h 7611785"/>
              <a:gd name="connsiteX8" fmla="*/ 14990 w 3895405"/>
              <a:gd name="connsiteY8" fmla="*/ 0 h 7611785"/>
              <a:gd name="connsiteX0" fmla="*/ 14990 w 3682756"/>
              <a:gd name="connsiteY0" fmla="*/ 0 h 7573685"/>
              <a:gd name="connsiteX1" fmla="*/ 2509835 w 3682756"/>
              <a:gd name="connsiteY1" fmla="*/ 1834 h 7573685"/>
              <a:gd name="connsiteX2" fmla="*/ 3681326 w 3682756"/>
              <a:gd name="connsiteY2" fmla="*/ 1821 h 7573685"/>
              <a:gd name="connsiteX3" fmla="*/ 3677627 w 3682756"/>
              <a:gd name="connsiteY3" fmla="*/ 957861 h 7573685"/>
              <a:gd name="connsiteX4" fmla="*/ 3671277 w 3682756"/>
              <a:gd name="connsiteY4" fmla="*/ 7023887 h 7573685"/>
              <a:gd name="connsiteX5" fmla="*/ 3666848 w 3682756"/>
              <a:gd name="connsiteY5" fmla="*/ 7571241 h 7573685"/>
              <a:gd name="connsiteX6" fmla="*/ 601329 w 3682756"/>
              <a:gd name="connsiteY6" fmla="*/ 7571241 h 7573685"/>
              <a:gd name="connsiteX7" fmla="*/ 0 w 3682756"/>
              <a:gd name="connsiteY7" fmla="*/ 6969912 h 7573685"/>
              <a:gd name="connsiteX8" fmla="*/ 14990 w 3682756"/>
              <a:gd name="connsiteY8" fmla="*/ 0 h 7573685"/>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14990 w 3682756"/>
              <a:gd name="connsiteY0" fmla="*/ 9317 h 7583002"/>
              <a:gd name="connsiteX1" fmla="*/ 2504260 w 3682756"/>
              <a:gd name="connsiteY1" fmla="*/ 0 h 7583002"/>
              <a:gd name="connsiteX2" fmla="*/ 3681326 w 3682756"/>
              <a:gd name="connsiteY2" fmla="*/ 11138 h 7583002"/>
              <a:gd name="connsiteX3" fmla="*/ 3677627 w 3682756"/>
              <a:gd name="connsiteY3" fmla="*/ 967178 h 7583002"/>
              <a:gd name="connsiteX4" fmla="*/ 3671277 w 3682756"/>
              <a:gd name="connsiteY4" fmla="*/ 7033204 h 7583002"/>
              <a:gd name="connsiteX5" fmla="*/ 3666848 w 3682756"/>
              <a:gd name="connsiteY5" fmla="*/ 7580558 h 7583002"/>
              <a:gd name="connsiteX6" fmla="*/ 601329 w 3682756"/>
              <a:gd name="connsiteY6" fmla="*/ 7580558 h 7583002"/>
              <a:gd name="connsiteX7" fmla="*/ 0 w 3682756"/>
              <a:gd name="connsiteY7" fmla="*/ 6979229 h 7583002"/>
              <a:gd name="connsiteX8" fmla="*/ 14990 w 3682756"/>
              <a:gd name="connsiteY8" fmla="*/ 9317 h 7583002"/>
              <a:gd name="connsiteX0" fmla="*/ 0 w 3684492"/>
              <a:gd name="connsiteY0" fmla="*/ 9317 h 7583002"/>
              <a:gd name="connsiteX1" fmla="*/ 250599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0 w 3684492"/>
              <a:gd name="connsiteY0" fmla="*/ 9317 h 7583002"/>
              <a:gd name="connsiteX1" fmla="*/ 1770016 w 3684492"/>
              <a:gd name="connsiteY1" fmla="*/ 0 h 7583002"/>
              <a:gd name="connsiteX2" fmla="*/ 3683062 w 3684492"/>
              <a:gd name="connsiteY2" fmla="*/ 11138 h 7583002"/>
              <a:gd name="connsiteX3" fmla="*/ 3679363 w 3684492"/>
              <a:gd name="connsiteY3" fmla="*/ 967178 h 7583002"/>
              <a:gd name="connsiteX4" fmla="*/ 3673013 w 3684492"/>
              <a:gd name="connsiteY4" fmla="*/ 7033204 h 7583002"/>
              <a:gd name="connsiteX5" fmla="*/ 3668584 w 3684492"/>
              <a:gd name="connsiteY5" fmla="*/ 7580558 h 7583002"/>
              <a:gd name="connsiteX6" fmla="*/ 603065 w 3684492"/>
              <a:gd name="connsiteY6" fmla="*/ 7580558 h 7583002"/>
              <a:gd name="connsiteX7" fmla="*/ 1736 w 3684492"/>
              <a:gd name="connsiteY7" fmla="*/ 6979229 h 7583002"/>
              <a:gd name="connsiteX8" fmla="*/ 0 w 3684492"/>
              <a:gd name="connsiteY8" fmla="*/ 9317 h 7583002"/>
              <a:gd name="connsiteX0" fmla="*/ 3839 w 3682756"/>
              <a:gd name="connsiteY0" fmla="*/ 0 h 7590412"/>
              <a:gd name="connsiteX1" fmla="*/ 1768280 w 3682756"/>
              <a:gd name="connsiteY1" fmla="*/ 7410 h 7590412"/>
              <a:gd name="connsiteX2" fmla="*/ 3681326 w 3682756"/>
              <a:gd name="connsiteY2" fmla="*/ 18548 h 7590412"/>
              <a:gd name="connsiteX3" fmla="*/ 3677627 w 3682756"/>
              <a:gd name="connsiteY3" fmla="*/ 974588 h 7590412"/>
              <a:gd name="connsiteX4" fmla="*/ 3671277 w 3682756"/>
              <a:gd name="connsiteY4" fmla="*/ 7040614 h 7590412"/>
              <a:gd name="connsiteX5" fmla="*/ 3666848 w 3682756"/>
              <a:gd name="connsiteY5" fmla="*/ 7587968 h 7590412"/>
              <a:gd name="connsiteX6" fmla="*/ 601329 w 3682756"/>
              <a:gd name="connsiteY6" fmla="*/ 7587968 h 7590412"/>
              <a:gd name="connsiteX7" fmla="*/ 0 w 3682756"/>
              <a:gd name="connsiteY7" fmla="*/ 6986639 h 7590412"/>
              <a:gd name="connsiteX8" fmla="*/ 3839 w 3682756"/>
              <a:gd name="connsiteY8" fmla="*/ 0 h 7590412"/>
              <a:gd name="connsiteX0" fmla="*/ 3839 w 3682756"/>
              <a:gd name="connsiteY0" fmla="*/ 3741 h 7594153"/>
              <a:gd name="connsiteX1" fmla="*/ 1779431 w 3682756"/>
              <a:gd name="connsiteY1" fmla="*/ 0 h 7594153"/>
              <a:gd name="connsiteX2" fmla="*/ 3681326 w 3682756"/>
              <a:gd name="connsiteY2" fmla="*/ 22289 h 7594153"/>
              <a:gd name="connsiteX3" fmla="*/ 3677627 w 3682756"/>
              <a:gd name="connsiteY3" fmla="*/ 978329 h 7594153"/>
              <a:gd name="connsiteX4" fmla="*/ 3671277 w 3682756"/>
              <a:gd name="connsiteY4" fmla="*/ 7044355 h 7594153"/>
              <a:gd name="connsiteX5" fmla="*/ 3666848 w 3682756"/>
              <a:gd name="connsiteY5" fmla="*/ 7591709 h 7594153"/>
              <a:gd name="connsiteX6" fmla="*/ 601329 w 3682756"/>
              <a:gd name="connsiteY6" fmla="*/ 7591709 h 7594153"/>
              <a:gd name="connsiteX7" fmla="*/ 0 w 3682756"/>
              <a:gd name="connsiteY7" fmla="*/ 6990380 h 7594153"/>
              <a:gd name="connsiteX8" fmla="*/ 3839 w 3682756"/>
              <a:gd name="connsiteY8" fmla="*/ 3741 h 7594153"/>
              <a:gd name="connsiteX0" fmla="*/ 3839 w 3682756"/>
              <a:gd name="connsiteY0" fmla="*/ 548819 h 8139231"/>
              <a:gd name="connsiteX1" fmla="*/ 3681326 w 3682756"/>
              <a:gd name="connsiteY1" fmla="*/ 567367 h 8139231"/>
              <a:gd name="connsiteX2" fmla="*/ 3677627 w 3682756"/>
              <a:gd name="connsiteY2" fmla="*/ 1523407 h 8139231"/>
              <a:gd name="connsiteX3" fmla="*/ 3671277 w 3682756"/>
              <a:gd name="connsiteY3" fmla="*/ 7589433 h 8139231"/>
              <a:gd name="connsiteX4" fmla="*/ 3666848 w 3682756"/>
              <a:gd name="connsiteY4" fmla="*/ 8136787 h 8139231"/>
              <a:gd name="connsiteX5" fmla="*/ 601329 w 3682756"/>
              <a:gd name="connsiteY5" fmla="*/ 8136787 h 8139231"/>
              <a:gd name="connsiteX6" fmla="*/ 0 w 3682756"/>
              <a:gd name="connsiteY6" fmla="*/ 7535458 h 8139231"/>
              <a:gd name="connsiteX7" fmla="*/ 3839 w 3682756"/>
              <a:gd name="connsiteY7" fmla="*/ 548819 h 8139231"/>
              <a:gd name="connsiteX0" fmla="*/ 3839 w 3950935"/>
              <a:gd name="connsiteY0" fmla="*/ 548819 h 8336254"/>
              <a:gd name="connsiteX1" fmla="*/ 3681326 w 3950935"/>
              <a:gd name="connsiteY1" fmla="*/ 567367 h 8336254"/>
              <a:gd name="connsiteX2" fmla="*/ 3671277 w 3950935"/>
              <a:gd name="connsiteY2" fmla="*/ 7589433 h 8336254"/>
              <a:gd name="connsiteX3" fmla="*/ 3666848 w 3950935"/>
              <a:gd name="connsiteY3" fmla="*/ 8136787 h 8336254"/>
              <a:gd name="connsiteX4" fmla="*/ 601329 w 3950935"/>
              <a:gd name="connsiteY4" fmla="*/ 8136787 h 8336254"/>
              <a:gd name="connsiteX5" fmla="*/ 0 w 3950935"/>
              <a:gd name="connsiteY5" fmla="*/ 7535458 h 8336254"/>
              <a:gd name="connsiteX6" fmla="*/ 3839 w 3950935"/>
              <a:gd name="connsiteY6" fmla="*/ 548819 h 8336254"/>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4096844"/>
              <a:gd name="connsiteY0" fmla="*/ 548819 h 8139231"/>
              <a:gd name="connsiteX1" fmla="*/ 3681326 w 4096844"/>
              <a:gd name="connsiteY1" fmla="*/ 567367 h 8139231"/>
              <a:gd name="connsiteX2" fmla="*/ 3666848 w 4096844"/>
              <a:gd name="connsiteY2" fmla="*/ 8136787 h 8139231"/>
              <a:gd name="connsiteX3" fmla="*/ 601329 w 4096844"/>
              <a:gd name="connsiteY3" fmla="*/ 8136787 h 8139231"/>
              <a:gd name="connsiteX4" fmla="*/ 0 w 4096844"/>
              <a:gd name="connsiteY4" fmla="*/ 7535458 h 8139231"/>
              <a:gd name="connsiteX5" fmla="*/ 3839 w 4096844"/>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946633"/>
              <a:gd name="connsiteY0" fmla="*/ 548819 h 8139231"/>
              <a:gd name="connsiteX1" fmla="*/ 3681326 w 3946633"/>
              <a:gd name="connsiteY1" fmla="*/ 567367 h 8139231"/>
              <a:gd name="connsiteX2" fmla="*/ 3666848 w 3946633"/>
              <a:gd name="connsiteY2" fmla="*/ 8136787 h 8139231"/>
              <a:gd name="connsiteX3" fmla="*/ 601329 w 3946633"/>
              <a:gd name="connsiteY3" fmla="*/ 8136787 h 8139231"/>
              <a:gd name="connsiteX4" fmla="*/ 0 w 3946633"/>
              <a:gd name="connsiteY4" fmla="*/ 7535458 h 8139231"/>
              <a:gd name="connsiteX5" fmla="*/ 3839 w 3946633"/>
              <a:gd name="connsiteY5" fmla="*/ 548819 h 8139231"/>
              <a:gd name="connsiteX0" fmla="*/ 3839 w 3681326"/>
              <a:gd name="connsiteY0" fmla="*/ 548819 h 8139231"/>
              <a:gd name="connsiteX1" fmla="*/ 3681326 w 3681326"/>
              <a:gd name="connsiteY1" fmla="*/ 567367 h 8139231"/>
              <a:gd name="connsiteX2" fmla="*/ 3666848 w 3681326"/>
              <a:gd name="connsiteY2" fmla="*/ 8136787 h 8139231"/>
              <a:gd name="connsiteX3" fmla="*/ 601329 w 3681326"/>
              <a:gd name="connsiteY3" fmla="*/ 8136787 h 8139231"/>
              <a:gd name="connsiteX4" fmla="*/ 0 w 3681326"/>
              <a:gd name="connsiteY4" fmla="*/ 7535458 h 8139231"/>
              <a:gd name="connsiteX5" fmla="*/ 3839 w 3681326"/>
              <a:gd name="connsiteY5" fmla="*/ 548819 h 8139231"/>
              <a:gd name="connsiteX0" fmla="*/ 3839 w 3681336"/>
              <a:gd name="connsiteY0" fmla="*/ 509120 h 8099532"/>
              <a:gd name="connsiteX1" fmla="*/ 3681326 w 3681336"/>
              <a:gd name="connsiteY1" fmla="*/ 527668 h 8099532"/>
              <a:gd name="connsiteX2" fmla="*/ 3666848 w 3681336"/>
              <a:gd name="connsiteY2" fmla="*/ 8097088 h 8099532"/>
              <a:gd name="connsiteX3" fmla="*/ 601329 w 3681336"/>
              <a:gd name="connsiteY3" fmla="*/ 8097088 h 8099532"/>
              <a:gd name="connsiteX4" fmla="*/ 0 w 3681336"/>
              <a:gd name="connsiteY4" fmla="*/ 7495759 h 8099532"/>
              <a:gd name="connsiteX5" fmla="*/ 3839 w 3681336"/>
              <a:gd name="connsiteY5" fmla="*/ 509120 h 8099532"/>
              <a:gd name="connsiteX0" fmla="*/ 3839 w 3681334"/>
              <a:gd name="connsiteY0" fmla="*/ 0 h 7590412"/>
              <a:gd name="connsiteX1" fmla="*/ 3681326 w 3681334"/>
              <a:gd name="connsiteY1" fmla="*/ 18548 h 7590412"/>
              <a:gd name="connsiteX2" fmla="*/ 3666848 w 3681334"/>
              <a:gd name="connsiteY2" fmla="*/ 7587968 h 7590412"/>
              <a:gd name="connsiteX3" fmla="*/ 601329 w 3681334"/>
              <a:gd name="connsiteY3" fmla="*/ 7587968 h 7590412"/>
              <a:gd name="connsiteX4" fmla="*/ 0 w 3681334"/>
              <a:gd name="connsiteY4" fmla="*/ 6986639 h 7590412"/>
              <a:gd name="connsiteX5" fmla="*/ 3839 w 3681334"/>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3839 w 3675759"/>
              <a:gd name="connsiteY0" fmla="*/ 0 h 7590412"/>
              <a:gd name="connsiteX1" fmla="*/ 3675751 w 3675759"/>
              <a:gd name="connsiteY1" fmla="*/ 1822 h 7590412"/>
              <a:gd name="connsiteX2" fmla="*/ 3666848 w 3675759"/>
              <a:gd name="connsiteY2" fmla="*/ 7587968 h 7590412"/>
              <a:gd name="connsiteX3" fmla="*/ 601329 w 3675759"/>
              <a:gd name="connsiteY3" fmla="*/ 7587968 h 7590412"/>
              <a:gd name="connsiteX4" fmla="*/ 0 w 3675759"/>
              <a:gd name="connsiteY4" fmla="*/ 6986639 h 7590412"/>
              <a:gd name="connsiteX5" fmla="*/ 3839 w 3675759"/>
              <a:gd name="connsiteY5" fmla="*/ 0 h 7590412"/>
              <a:gd name="connsiteX0" fmla="*/ 0 w 3677501"/>
              <a:gd name="connsiteY0" fmla="*/ 0 h 7618352"/>
              <a:gd name="connsiteX1" fmla="*/ 3677493 w 3677501"/>
              <a:gd name="connsiteY1" fmla="*/ 29762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3677501"/>
              <a:gd name="connsiteY0" fmla="*/ 0 h 7618352"/>
              <a:gd name="connsiteX1" fmla="*/ 3677493 w 3677501"/>
              <a:gd name="connsiteY1" fmla="*/ 7409 h 7618352"/>
              <a:gd name="connsiteX2" fmla="*/ 3668590 w 3677501"/>
              <a:gd name="connsiteY2" fmla="*/ 7615908 h 7618352"/>
              <a:gd name="connsiteX3" fmla="*/ 603071 w 3677501"/>
              <a:gd name="connsiteY3" fmla="*/ 7615908 h 7618352"/>
              <a:gd name="connsiteX4" fmla="*/ 1742 w 3677501"/>
              <a:gd name="connsiteY4" fmla="*/ 7014579 h 7618352"/>
              <a:gd name="connsiteX5" fmla="*/ 0 w 3677501"/>
              <a:gd name="connsiteY5" fmla="*/ 0 h 7618352"/>
              <a:gd name="connsiteX0" fmla="*/ 0 w 5284858"/>
              <a:gd name="connsiteY0" fmla="*/ 0 h 7618353"/>
              <a:gd name="connsiteX1" fmla="*/ 3677493 w 5284858"/>
              <a:gd name="connsiteY1" fmla="*/ 7409 h 7618353"/>
              <a:gd name="connsiteX2" fmla="*/ 5284858 w 5284858"/>
              <a:gd name="connsiteY2" fmla="*/ 7615909 h 7618353"/>
              <a:gd name="connsiteX3" fmla="*/ 603071 w 5284858"/>
              <a:gd name="connsiteY3" fmla="*/ 7615908 h 7618353"/>
              <a:gd name="connsiteX4" fmla="*/ 1742 w 5284858"/>
              <a:gd name="connsiteY4" fmla="*/ 7014579 h 7618353"/>
              <a:gd name="connsiteX5" fmla="*/ 0 w 5284858"/>
              <a:gd name="connsiteY5" fmla="*/ 0 h 7618353"/>
              <a:gd name="connsiteX0" fmla="*/ 0 w 5284858"/>
              <a:gd name="connsiteY0" fmla="*/ 846 h 7619199"/>
              <a:gd name="connsiteX1" fmla="*/ 5260775 w 5284858"/>
              <a:gd name="connsiteY1" fmla="*/ 0 h 7619199"/>
              <a:gd name="connsiteX2" fmla="*/ 5284858 w 5284858"/>
              <a:gd name="connsiteY2" fmla="*/ 7616755 h 7619199"/>
              <a:gd name="connsiteX3" fmla="*/ 603071 w 5284858"/>
              <a:gd name="connsiteY3" fmla="*/ 7616754 h 7619199"/>
              <a:gd name="connsiteX4" fmla="*/ 1742 w 5284858"/>
              <a:gd name="connsiteY4" fmla="*/ 7015425 h 7619199"/>
              <a:gd name="connsiteX5" fmla="*/ 0 w 5284858"/>
              <a:gd name="connsiteY5" fmla="*/ 846 h 761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84858" h="7619199">
                <a:moveTo>
                  <a:pt x="0" y="846"/>
                </a:moveTo>
                <a:cubicBezTo>
                  <a:pt x="5813" y="4800"/>
                  <a:pt x="5267369" y="10413"/>
                  <a:pt x="5260775" y="0"/>
                </a:cubicBezTo>
                <a:cubicBezTo>
                  <a:pt x="5257959" y="4573"/>
                  <a:pt x="5274084" y="7620849"/>
                  <a:pt x="5284858" y="7616755"/>
                </a:cubicBezTo>
                <a:cubicBezTo>
                  <a:pt x="5274850" y="7622256"/>
                  <a:pt x="1624911" y="7616754"/>
                  <a:pt x="603071" y="7616754"/>
                </a:cubicBezTo>
                <a:cubicBezTo>
                  <a:pt x="270966" y="7616754"/>
                  <a:pt x="1742" y="7347530"/>
                  <a:pt x="1742" y="7015425"/>
                </a:cubicBezTo>
                <a:cubicBezTo>
                  <a:pt x="1742" y="4572200"/>
                  <a:pt x="5576" y="1954"/>
                  <a:pt x="0" y="846"/>
                </a:cubicBezTo>
                <a:close/>
              </a:path>
            </a:pathLst>
          </a:custGeom>
        </p:spPr>
        <p:txBody>
          <a:bodyPr/>
          <a:lstStyle/>
          <a:p>
            <a:r>
              <a:rPr lang="en-US"/>
              <a:t> </a:t>
            </a:r>
          </a:p>
        </p:txBody>
      </p:sp>
    </p:spTree>
    <p:extLst>
      <p:ext uri="{BB962C8B-B14F-4D97-AF65-F5344CB8AC3E}">
        <p14:creationId xmlns:p14="http://schemas.microsoft.com/office/powerpoint/2010/main" val="30519272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Slide with Placeholder">
    <p:spTree>
      <p:nvGrpSpPr>
        <p:cNvPr id="1" name=""/>
        <p:cNvGrpSpPr/>
        <p:nvPr/>
      </p:nvGrpSpPr>
      <p:grpSpPr>
        <a:xfrm>
          <a:off x="0" y="0"/>
          <a:ext cx="0" cy="0"/>
          <a:chOff x="0" y="0"/>
          <a:chExt cx="0" cy="0"/>
        </a:xfrm>
      </p:grpSpPr>
      <p:sp>
        <p:nvSpPr>
          <p:cNvPr id="7" name="Picture Placeholder 5"/>
          <p:cNvSpPr>
            <a:spLocks noGrp="1"/>
          </p:cNvSpPr>
          <p:nvPr>
            <p:ph type="pic" sz="quarter" idx="10"/>
          </p:nvPr>
        </p:nvSpPr>
        <p:spPr>
          <a:xfrm>
            <a:off x="9178897" y="0"/>
            <a:ext cx="4265641" cy="756285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0152020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2_Portfolio Thre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796727" y="2183909"/>
            <a:ext cx="2910240" cy="2308543"/>
          </a:xfrm>
          <a:solidFill>
            <a:schemeClr val="bg1">
              <a:lumMod val="95000"/>
            </a:schemeClr>
          </a:solidFill>
        </p:spPr>
        <p:txBody>
          <a:bodyPr>
            <a:normAutofit/>
          </a:bodyPr>
          <a:lstStyle>
            <a:lvl1pPr>
              <a:defRPr sz="662"/>
            </a:lvl1pPr>
          </a:lstStyle>
          <a:p>
            <a:endParaRPr lang="en-US"/>
          </a:p>
        </p:txBody>
      </p:sp>
      <p:sp>
        <p:nvSpPr>
          <p:cNvPr id="15" name="Picture Placeholder 2"/>
          <p:cNvSpPr>
            <a:spLocks noGrp="1"/>
          </p:cNvSpPr>
          <p:nvPr>
            <p:ph type="pic" sz="quarter" idx="12"/>
          </p:nvPr>
        </p:nvSpPr>
        <p:spPr>
          <a:xfrm>
            <a:off x="3854055" y="2183909"/>
            <a:ext cx="2910240" cy="2308543"/>
          </a:xfrm>
          <a:solidFill>
            <a:schemeClr val="bg1">
              <a:lumMod val="95000"/>
            </a:schemeClr>
          </a:solidFill>
        </p:spPr>
        <p:txBody>
          <a:bodyPr>
            <a:normAutofit/>
          </a:bodyPr>
          <a:lstStyle>
            <a:lvl1pPr>
              <a:defRPr sz="662"/>
            </a:lvl1pPr>
          </a:lstStyle>
          <a:p>
            <a:endParaRPr lang="en-US"/>
          </a:p>
        </p:txBody>
      </p:sp>
      <p:sp>
        <p:nvSpPr>
          <p:cNvPr id="16" name="Picture Placeholder 2"/>
          <p:cNvSpPr>
            <a:spLocks noGrp="1"/>
          </p:cNvSpPr>
          <p:nvPr>
            <p:ph type="pic" sz="quarter" idx="13"/>
          </p:nvPr>
        </p:nvSpPr>
        <p:spPr>
          <a:xfrm>
            <a:off x="796727" y="4638220"/>
            <a:ext cx="2910240" cy="2308543"/>
          </a:xfrm>
          <a:solidFill>
            <a:schemeClr val="bg1">
              <a:lumMod val="95000"/>
            </a:schemeClr>
          </a:solidFill>
        </p:spPr>
        <p:txBody>
          <a:bodyPr>
            <a:normAutofit/>
          </a:bodyPr>
          <a:lstStyle>
            <a:lvl1pPr>
              <a:defRPr sz="662"/>
            </a:lvl1pPr>
          </a:lstStyle>
          <a:p>
            <a:endParaRPr lang="en-US"/>
          </a:p>
        </p:txBody>
      </p:sp>
      <p:sp>
        <p:nvSpPr>
          <p:cNvPr id="17" name="Picture Placeholder 2"/>
          <p:cNvSpPr>
            <a:spLocks noGrp="1"/>
          </p:cNvSpPr>
          <p:nvPr>
            <p:ph type="pic" sz="quarter" idx="14"/>
          </p:nvPr>
        </p:nvSpPr>
        <p:spPr>
          <a:xfrm>
            <a:off x="3854055" y="4638219"/>
            <a:ext cx="2910240" cy="2308543"/>
          </a:xfrm>
          <a:solidFill>
            <a:schemeClr val="bg1">
              <a:lumMod val="95000"/>
            </a:schemeClr>
          </a:solidFill>
        </p:spPr>
        <p:txBody>
          <a:bodyPr>
            <a:normAutofit/>
          </a:bodyPr>
          <a:lstStyle>
            <a:lvl1pPr>
              <a:defRPr sz="662"/>
            </a:lvl1pPr>
          </a:lstStyle>
          <a:p>
            <a:endParaRPr lang="en-US"/>
          </a:p>
        </p:txBody>
      </p:sp>
    </p:spTree>
    <p:extLst>
      <p:ext uri="{BB962C8B-B14F-4D97-AF65-F5344CB8AC3E}">
        <p14:creationId xmlns:p14="http://schemas.microsoft.com/office/powerpoint/2010/main" val="12359442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 Images">
    <p:spTree>
      <p:nvGrpSpPr>
        <p:cNvPr id="1" name=""/>
        <p:cNvGrpSpPr/>
        <p:nvPr/>
      </p:nvGrpSpPr>
      <p:grpSpPr>
        <a:xfrm>
          <a:off x="0" y="0"/>
          <a:ext cx="0" cy="0"/>
          <a:chOff x="0" y="0"/>
          <a:chExt cx="0" cy="0"/>
        </a:xfrm>
      </p:grpSpPr>
      <p:sp>
        <p:nvSpPr>
          <p:cNvPr id="46" name="Picture Placeholder 13"/>
          <p:cNvSpPr>
            <a:spLocks noGrp="1"/>
          </p:cNvSpPr>
          <p:nvPr>
            <p:ph type="pic" sz="quarter" idx="13"/>
          </p:nvPr>
        </p:nvSpPr>
        <p:spPr>
          <a:xfrm>
            <a:off x="0"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47" name="Picture Placeholder 13"/>
          <p:cNvSpPr>
            <a:spLocks noGrp="1"/>
          </p:cNvSpPr>
          <p:nvPr>
            <p:ph type="pic" sz="quarter" idx="14"/>
          </p:nvPr>
        </p:nvSpPr>
        <p:spPr>
          <a:xfrm>
            <a:off x="1920312"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49" name="Picture Placeholder 13"/>
          <p:cNvSpPr>
            <a:spLocks noGrp="1"/>
          </p:cNvSpPr>
          <p:nvPr>
            <p:ph type="pic" sz="quarter" idx="16"/>
          </p:nvPr>
        </p:nvSpPr>
        <p:spPr>
          <a:xfrm>
            <a:off x="5769540"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0" name="Picture Placeholder 13"/>
          <p:cNvSpPr>
            <a:spLocks noGrp="1"/>
          </p:cNvSpPr>
          <p:nvPr>
            <p:ph type="pic" sz="quarter" idx="17"/>
          </p:nvPr>
        </p:nvSpPr>
        <p:spPr>
          <a:xfrm>
            <a:off x="7712615"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1" name="Picture Placeholder 13"/>
          <p:cNvSpPr>
            <a:spLocks noGrp="1"/>
          </p:cNvSpPr>
          <p:nvPr>
            <p:ph type="pic" sz="quarter" idx="18"/>
          </p:nvPr>
        </p:nvSpPr>
        <p:spPr>
          <a:xfrm>
            <a:off x="9641531" y="3731145"/>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3" name="Picture Placeholder 13"/>
          <p:cNvSpPr>
            <a:spLocks noGrp="1"/>
          </p:cNvSpPr>
          <p:nvPr>
            <p:ph type="pic" sz="quarter" idx="20"/>
          </p:nvPr>
        </p:nvSpPr>
        <p:spPr>
          <a:xfrm>
            <a:off x="0"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5" name="Picture Placeholder 13"/>
          <p:cNvSpPr>
            <a:spLocks noGrp="1"/>
          </p:cNvSpPr>
          <p:nvPr>
            <p:ph type="pic" sz="quarter" idx="22"/>
          </p:nvPr>
        </p:nvSpPr>
        <p:spPr>
          <a:xfrm>
            <a:off x="3849228"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6" name="Picture Placeholder 13"/>
          <p:cNvSpPr>
            <a:spLocks noGrp="1"/>
          </p:cNvSpPr>
          <p:nvPr>
            <p:ph type="pic" sz="quarter" idx="23"/>
          </p:nvPr>
        </p:nvSpPr>
        <p:spPr>
          <a:xfrm>
            <a:off x="5769540"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8" name="Picture Placeholder 13"/>
          <p:cNvSpPr>
            <a:spLocks noGrp="1"/>
          </p:cNvSpPr>
          <p:nvPr>
            <p:ph type="pic" sz="quarter" idx="25"/>
          </p:nvPr>
        </p:nvSpPr>
        <p:spPr>
          <a:xfrm>
            <a:off x="9641531"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
        <p:nvSpPr>
          <p:cNvPr id="59" name="Picture Placeholder 13"/>
          <p:cNvSpPr>
            <a:spLocks noGrp="1"/>
          </p:cNvSpPr>
          <p:nvPr>
            <p:ph type="pic" sz="quarter" idx="26"/>
          </p:nvPr>
        </p:nvSpPr>
        <p:spPr>
          <a:xfrm>
            <a:off x="11561843" y="5679986"/>
            <a:ext cx="1881044" cy="1890713"/>
          </a:xfrm>
          <a:solidFill>
            <a:schemeClr val="bg1">
              <a:lumMod val="95000"/>
            </a:schemeClr>
          </a:solidFill>
          <a:effectLst/>
        </p:spPr>
        <p:txBody>
          <a:bodyPr>
            <a:normAutofit/>
          </a:bodyPr>
          <a:lstStyle>
            <a:lvl1pPr marL="0" indent="0">
              <a:buNone/>
              <a:defRPr sz="1489">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36134007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Placeholder">
    <p:spTree>
      <p:nvGrpSpPr>
        <p:cNvPr id="1" name=""/>
        <p:cNvGrpSpPr/>
        <p:nvPr/>
      </p:nvGrpSpPr>
      <p:grpSpPr>
        <a:xfrm>
          <a:off x="0" y="0"/>
          <a:ext cx="0" cy="0"/>
          <a:chOff x="0" y="0"/>
          <a:chExt cx="0" cy="0"/>
        </a:xfrm>
      </p:grpSpPr>
      <p:sp>
        <p:nvSpPr>
          <p:cNvPr id="12" name="Picture Placeholder 2"/>
          <p:cNvSpPr>
            <a:spLocks noGrp="1"/>
          </p:cNvSpPr>
          <p:nvPr>
            <p:ph type="pic" sz="quarter" idx="14"/>
          </p:nvPr>
        </p:nvSpPr>
        <p:spPr>
          <a:xfrm>
            <a:off x="-1" y="1644646"/>
            <a:ext cx="10376973" cy="3645681"/>
          </a:xfrm>
          <a:solidFill>
            <a:schemeClr val="bg1">
              <a:lumMod val="95000"/>
            </a:schemeClr>
          </a:solidFill>
        </p:spPr>
        <p:txBody>
          <a:bodyPr>
            <a:normAutofit/>
          </a:bodyPr>
          <a:lstStyle>
            <a:lvl1pPr>
              <a:defRPr sz="1158"/>
            </a:lvl1pPr>
          </a:lstStyle>
          <a:p>
            <a:endParaRPr lang="en-US"/>
          </a:p>
        </p:txBody>
      </p:sp>
      <p:sp>
        <p:nvSpPr>
          <p:cNvPr id="17" name="Picture Placeholder 2"/>
          <p:cNvSpPr>
            <a:spLocks noGrp="1"/>
          </p:cNvSpPr>
          <p:nvPr>
            <p:ph type="pic" sz="quarter" idx="16"/>
          </p:nvPr>
        </p:nvSpPr>
        <p:spPr>
          <a:xfrm>
            <a:off x="10376975" y="0"/>
            <a:ext cx="3067565" cy="3645681"/>
          </a:xfrm>
          <a:solidFill>
            <a:schemeClr val="bg1">
              <a:lumMod val="95000"/>
            </a:schemeClr>
          </a:solidFill>
        </p:spPr>
        <p:txBody>
          <a:bodyPr>
            <a:normAutofit/>
          </a:bodyPr>
          <a:lstStyle>
            <a:lvl1pPr>
              <a:defRPr sz="1158"/>
            </a:lvl1pPr>
          </a:lstStyle>
          <a:p>
            <a:endParaRPr lang="en-US"/>
          </a:p>
        </p:txBody>
      </p:sp>
      <p:sp>
        <p:nvSpPr>
          <p:cNvPr id="18" name="Picture Placeholder 2"/>
          <p:cNvSpPr>
            <a:spLocks noGrp="1"/>
          </p:cNvSpPr>
          <p:nvPr>
            <p:ph type="pic" sz="quarter" idx="17"/>
          </p:nvPr>
        </p:nvSpPr>
        <p:spPr>
          <a:xfrm>
            <a:off x="10376973" y="3645684"/>
            <a:ext cx="3067565" cy="391716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8539958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0"/>
            <a:ext cx="3359392" cy="3193203"/>
          </a:xfrm>
          <a:solidFill>
            <a:schemeClr val="bg1">
              <a:lumMod val="95000"/>
            </a:schemeClr>
          </a:solidFill>
        </p:spPr>
        <p:txBody>
          <a:bodyPr>
            <a:normAutofit/>
          </a:bodyPr>
          <a:lstStyle>
            <a:lvl1pPr>
              <a:defRPr sz="1158"/>
            </a:lvl1pPr>
          </a:lstStyle>
          <a:p>
            <a:endParaRPr lang="en-US"/>
          </a:p>
        </p:txBody>
      </p:sp>
      <p:sp>
        <p:nvSpPr>
          <p:cNvPr id="15" name="Picture Placeholder 2"/>
          <p:cNvSpPr>
            <a:spLocks noGrp="1"/>
          </p:cNvSpPr>
          <p:nvPr>
            <p:ph type="pic" sz="quarter" idx="17"/>
          </p:nvPr>
        </p:nvSpPr>
        <p:spPr>
          <a:xfrm>
            <a:off x="3359392" y="0"/>
            <a:ext cx="3359392" cy="3193203"/>
          </a:xfr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18"/>
          </p:nvPr>
        </p:nvSpPr>
        <p:spPr>
          <a:xfrm>
            <a:off x="6722269" y="0"/>
            <a:ext cx="3359392" cy="3193203"/>
          </a:xfrm>
          <a:solidFill>
            <a:schemeClr val="bg1">
              <a:lumMod val="95000"/>
            </a:schemeClr>
          </a:solidFill>
        </p:spPr>
        <p:txBody>
          <a:bodyPr>
            <a:normAutofit/>
          </a:bodyPr>
          <a:lstStyle>
            <a:lvl1pPr>
              <a:defRPr sz="1158"/>
            </a:lvl1pPr>
          </a:lstStyle>
          <a:p>
            <a:endParaRPr lang="en-US"/>
          </a:p>
        </p:txBody>
      </p:sp>
      <p:sp>
        <p:nvSpPr>
          <p:cNvPr id="20" name="Picture Placeholder 2"/>
          <p:cNvSpPr>
            <a:spLocks noGrp="1"/>
          </p:cNvSpPr>
          <p:nvPr>
            <p:ph type="pic" sz="quarter" idx="19"/>
          </p:nvPr>
        </p:nvSpPr>
        <p:spPr>
          <a:xfrm>
            <a:off x="10081661" y="0"/>
            <a:ext cx="3359392" cy="3193203"/>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5550409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0_Placeholder">
    <p:spTree>
      <p:nvGrpSpPr>
        <p:cNvPr id="1" name=""/>
        <p:cNvGrpSpPr/>
        <p:nvPr/>
      </p:nvGrpSpPr>
      <p:grpSpPr>
        <a:xfrm>
          <a:off x="0" y="0"/>
          <a:ext cx="0" cy="0"/>
          <a:chOff x="0" y="0"/>
          <a:chExt cx="0" cy="0"/>
        </a:xfrm>
      </p:grpSpPr>
      <p:sp>
        <p:nvSpPr>
          <p:cNvPr id="14" name="Picture Placeholder 2"/>
          <p:cNvSpPr>
            <a:spLocks noGrp="1"/>
          </p:cNvSpPr>
          <p:nvPr>
            <p:ph type="pic" sz="quarter" idx="16"/>
          </p:nvPr>
        </p:nvSpPr>
        <p:spPr>
          <a:xfrm>
            <a:off x="0" y="4369647"/>
            <a:ext cx="3359392" cy="3193203"/>
          </a:xfrm>
          <a:solidFill>
            <a:schemeClr val="bg1">
              <a:lumMod val="95000"/>
            </a:schemeClr>
          </a:solidFill>
        </p:spPr>
        <p:txBody>
          <a:bodyPr>
            <a:normAutofit/>
          </a:bodyPr>
          <a:lstStyle>
            <a:lvl1pPr>
              <a:defRPr sz="1158"/>
            </a:lvl1pPr>
          </a:lstStyle>
          <a:p>
            <a:endParaRPr lang="en-US"/>
          </a:p>
        </p:txBody>
      </p:sp>
      <p:sp>
        <p:nvSpPr>
          <p:cNvPr id="15" name="Picture Placeholder 2"/>
          <p:cNvSpPr>
            <a:spLocks noGrp="1"/>
          </p:cNvSpPr>
          <p:nvPr>
            <p:ph type="pic" sz="quarter" idx="17"/>
          </p:nvPr>
        </p:nvSpPr>
        <p:spPr>
          <a:xfrm>
            <a:off x="3359392" y="4369647"/>
            <a:ext cx="3359392" cy="3193203"/>
          </a:xfr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18"/>
          </p:nvPr>
        </p:nvSpPr>
        <p:spPr>
          <a:xfrm>
            <a:off x="6722269" y="4369647"/>
            <a:ext cx="3359392" cy="3193203"/>
          </a:xfrm>
          <a:solidFill>
            <a:schemeClr val="bg1">
              <a:lumMod val="95000"/>
            </a:schemeClr>
          </a:solidFill>
        </p:spPr>
        <p:txBody>
          <a:bodyPr>
            <a:normAutofit/>
          </a:bodyPr>
          <a:lstStyle>
            <a:lvl1pPr>
              <a:defRPr sz="1158"/>
            </a:lvl1pPr>
          </a:lstStyle>
          <a:p>
            <a:endParaRPr lang="en-US"/>
          </a:p>
        </p:txBody>
      </p:sp>
      <p:sp>
        <p:nvSpPr>
          <p:cNvPr id="20" name="Picture Placeholder 2"/>
          <p:cNvSpPr>
            <a:spLocks noGrp="1"/>
          </p:cNvSpPr>
          <p:nvPr>
            <p:ph type="pic" sz="quarter" idx="19"/>
          </p:nvPr>
        </p:nvSpPr>
        <p:spPr>
          <a:xfrm>
            <a:off x="10081661" y="4369647"/>
            <a:ext cx="3359392" cy="3193203"/>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697683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0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2" y="0"/>
            <a:ext cx="3359393" cy="3706225"/>
          </a:xfrm>
          <a:solidFill>
            <a:schemeClr val="bg1">
              <a:lumMod val="95000"/>
            </a:schemeClr>
          </a:solidFill>
        </p:spPr>
        <p:txBody>
          <a:bodyPr>
            <a:normAutofit/>
          </a:bodyPr>
          <a:lstStyle>
            <a:lvl1pPr>
              <a:defRPr sz="1158"/>
            </a:lvl1pPr>
          </a:lstStyle>
          <a:p>
            <a:endParaRPr lang="en-US"/>
          </a:p>
        </p:txBody>
      </p:sp>
      <p:sp>
        <p:nvSpPr>
          <p:cNvPr id="22" name="Picture Placeholder 2"/>
          <p:cNvSpPr>
            <a:spLocks noGrp="1"/>
          </p:cNvSpPr>
          <p:nvPr>
            <p:ph type="pic" sz="quarter" idx="19"/>
          </p:nvPr>
        </p:nvSpPr>
        <p:spPr>
          <a:xfrm>
            <a:off x="3512879" y="0"/>
            <a:ext cx="3359393" cy="3706225"/>
          </a:xfrm>
          <a:solidFill>
            <a:schemeClr val="bg1">
              <a:lumMod val="95000"/>
            </a:schemeClr>
          </a:solidFill>
        </p:spPr>
        <p:txBody>
          <a:bodyPr>
            <a:normAutofit/>
          </a:bodyPr>
          <a:lstStyle>
            <a:lvl1pPr>
              <a:defRPr sz="1158"/>
            </a:lvl1pPr>
          </a:lstStyle>
          <a:p>
            <a:endParaRPr lang="en-US"/>
          </a:p>
        </p:txBody>
      </p:sp>
      <p:sp>
        <p:nvSpPr>
          <p:cNvPr id="23" name="Picture Placeholder 2"/>
          <p:cNvSpPr>
            <a:spLocks noGrp="1"/>
          </p:cNvSpPr>
          <p:nvPr>
            <p:ph type="pic" sz="quarter" idx="20"/>
          </p:nvPr>
        </p:nvSpPr>
        <p:spPr>
          <a:xfrm>
            <a:off x="2" y="3856625"/>
            <a:ext cx="3359393" cy="3706225"/>
          </a:xfrm>
          <a:solidFill>
            <a:schemeClr val="bg1">
              <a:lumMod val="95000"/>
            </a:schemeClr>
          </a:solidFill>
        </p:spPr>
        <p:txBody>
          <a:bodyPr>
            <a:normAutofit/>
          </a:bodyPr>
          <a:lstStyle>
            <a:lvl1pPr>
              <a:defRPr sz="1158"/>
            </a:lvl1pPr>
          </a:lstStyle>
          <a:p>
            <a:endParaRPr lang="en-US"/>
          </a:p>
        </p:txBody>
      </p:sp>
      <p:sp>
        <p:nvSpPr>
          <p:cNvPr id="24" name="Picture Placeholder 2"/>
          <p:cNvSpPr>
            <a:spLocks noGrp="1"/>
          </p:cNvSpPr>
          <p:nvPr>
            <p:ph type="pic" sz="quarter" idx="21"/>
          </p:nvPr>
        </p:nvSpPr>
        <p:spPr>
          <a:xfrm>
            <a:off x="3512880" y="3856625"/>
            <a:ext cx="3341864" cy="370622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8976647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1_Placeholder">
    <p:spTree>
      <p:nvGrpSpPr>
        <p:cNvPr id="1" name=""/>
        <p:cNvGrpSpPr/>
        <p:nvPr/>
      </p:nvGrpSpPr>
      <p:grpSpPr>
        <a:xfrm>
          <a:off x="0" y="0"/>
          <a:ext cx="0" cy="0"/>
          <a:chOff x="0" y="0"/>
          <a:chExt cx="0" cy="0"/>
        </a:xfrm>
      </p:grpSpPr>
      <p:sp>
        <p:nvSpPr>
          <p:cNvPr id="21" name="Picture Placeholder 2"/>
          <p:cNvSpPr>
            <a:spLocks noGrp="1"/>
          </p:cNvSpPr>
          <p:nvPr>
            <p:ph type="pic" sz="quarter" idx="18"/>
          </p:nvPr>
        </p:nvSpPr>
        <p:spPr>
          <a:xfrm>
            <a:off x="6572270" y="0"/>
            <a:ext cx="3359393" cy="3706225"/>
          </a:xfrm>
          <a:solidFill>
            <a:schemeClr val="bg1">
              <a:lumMod val="95000"/>
            </a:schemeClr>
          </a:solidFill>
        </p:spPr>
        <p:txBody>
          <a:bodyPr>
            <a:normAutofit/>
          </a:bodyPr>
          <a:lstStyle>
            <a:lvl1pPr>
              <a:defRPr sz="1158"/>
            </a:lvl1pPr>
          </a:lstStyle>
          <a:p>
            <a:endParaRPr lang="en-US"/>
          </a:p>
        </p:txBody>
      </p:sp>
      <p:sp>
        <p:nvSpPr>
          <p:cNvPr id="22" name="Picture Placeholder 2"/>
          <p:cNvSpPr>
            <a:spLocks noGrp="1"/>
          </p:cNvSpPr>
          <p:nvPr>
            <p:ph type="pic" sz="quarter" idx="19"/>
          </p:nvPr>
        </p:nvSpPr>
        <p:spPr>
          <a:xfrm>
            <a:off x="10085147" y="0"/>
            <a:ext cx="3359393" cy="3706225"/>
          </a:xfrm>
          <a:solidFill>
            <a:schemeClr val="bg1">
              <a:lumMod val="95000"/>
            </a:schemeClr>
          </a:solidFill>
        </p:spPr>
        <p:txBody>
          <a:bodyPr>
            <a:normAutofit/>
          </a:bodyPr>
          <a:lstStyle>
            <a:lvl1pPr>
              <a:defRPr sz="1158"/>
            </a:lvl1pPr>
          </a:lstStyle>
          <a:p>
            <a:endParaRPr lang="en-US"/>
          </a:p>
        </p:txBody>
      </p:sp>
      <p:sp>
        <p:nvSpPr>
          <p:cNvPr id="23" name="Picture Placeholder 2"/>
          <p:cNvSpPr>
            <a:spLocks noGrp="1"/>
          </p:cNvSpPr>
          <p:nvPr>
            <p:ph type="pic" sz="quarter" idx="20"/>
          </p:nvPr>
        </p:nvSpPr>
        <p:spPr>
          <a:xfrm>
            <a:off x="6572270" y="3856625"/>
            <a:ext cx="3359393" cy="3706225"/>
          </a:xfrm>
          <a:solidFill>
            <a:schemeClr val="bg1">
              <a:lumMod val="95000"/>
            </a:schemeClr>
          </a:solidFill>
        </p:spPr>
        <p:txBody>
          <a:bodyPr>
            <a:normAutofit/>
          </a:bodyPr>
          <a:lstStyle>
            <a:lvl1pPr>
              <a:defRPr sz="1158"/>
            </a:lvl1pPr>
          </a:lstStyle>
          <a:p>
            <a:endParaRPr lang="en-US"/>
          </a:p>
        </p:txBody>
      </p:sp>
      <p:sp>
        <p:nvSpPr>
          <p:cNvPr id="24" name="Picture Placeholder 2"/>
          <p:cNvSpPr>
            <a:spLocks noGrp="1"/>
          </p:cNvSpPr>
          <p:nvPr>
            <p:ph type="pic" sz="quarter" idx="21"/>
          </p:nvPr>
        </p:nvSpPr>
        <p:spPr>
          <a:xfrm>
            <a:off x="10085148" y="3856625"/>
            <a:ext cx="3341864" cy="370622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8603136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9_Placeholder">
    <p:spTree>
      <p:nvGrpSpPr>
        <p:cNvPr id="1" name=""/>
        <p:cNvGrpSpPr/>
        <p:nvPr/>
      </p:nvGrpSpPr>
      <p:grpSpPr>
        <a:xfrm>
          <a:off x="0" y="0"/>
          <a:ext cx="0" cy="0"/>
          <a:chOff x="0" y="0"/>
          <a:chExt cx="0" cy="0"/>
        </a:xfrm>
      </p:grpSpPr>
      <p:sp>
        <p:nvSpPr>
          <p:cNvPr id="12" name="Picture Placeholder 2"/>
          <p:cNvSpPr>
            <a:spLocks noGrp="1"/>
          </p:cNvSpPr>
          <p:nvPr>
            <p:ph type="pic" sz="quarter" idx="18"/>
          </p:nvPr>
        </p:nvSpPr>
        <p:spPr>
          <a:xfrm>
            <a:off x="1" y="0"/>
            <a:ext cx="3948610" cy="3706225"/>
          </a:xfrm>
          <a:solidFill>
            <a:schemeClr val="bg1">
              <a:lumMod val="95000"/>
            </a:schemeClr>
          </a:solidFill>
        </p:spPr>
        <p:txBody>
          <a:bodyPr>
            <a:normAutofit/>
          </a:bodyPr>
          <a:lstStyle>
            <a:lvl1pPr>
              <a:defRPr sz="1158"/>
            </a:lvl1pPr>
          </a:lstStyle>
          <a:p>
            <a:endParaRPr lang="en-US"/>
          </a:p>
        </p:txBody>
      </p:sp>
      <p:sp>
        <p:nvSpPr>
          <p:cNvPr id="13" name="Picture Placeholder 2"/>
          <p:cNvSpPr>
            <a:spLocks noGrp="1"/>
          </p:cNvSpPr>
          <p:nvPr>
            <p:ph type="pic" sz="quarter" idx="20"/>
          </p:nvPr>
        </p:nvSpPr>
        <p:spPr>
          <a:xfrm>
            <a:off x="1" y="3856625"/>
            <a:ext cx="3948610" cy="3706225"/>
          </a:xfrm>
          <a:solidFill>
            <a:schemeClr val="bg1">
              <a:lumMod val="95000"/>
            </a:schemeClr>
          </a:solidFill>
        </p:spPr>
        <p:txBody>
          <a:bodyPr>
            <a:normAutofit/>
          </a:bodyPr>
          <a:lstStyle>
            <a:lvl1pPr>
              <a:defRPr sz="1158"/>
            </a:lvl1pPr>
          </a:lstStyle>
          <a:p>
            <a:endParaRPr lang="en-US"/>
          </a:p>
        </p:txBody>
      </p:sp>
      <p:sp>
        <p:nvSpPr>
          <p:cNvPr id="14" name="Picture Placeholder 2"/>
          <p:cNvSpPr>
            <a:spLocks noGrp="1"/>
          </p:cNvSpPr>
          <p:nvPr>
            <p:ph type="pic" sz="quarter" idx="24"/>
          </p:nvPr>
        </p:nvSpPr>
        <p:spPr>
          <a:xfrm>
            <a:off x="4103087" y="0"/>
            <a:ext cx="4939561" cy="756285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4127209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9_Placeholder">
    <p:spTree>
      <p:nvGrpSpPr>
        <p:cNvPr id="1" name=""/>
        <p:cNvGrpSpPr/>
        <p:nvPr/>
      </p:nvGrpSpPr>
      <p:grpSpPr>
        <a:xfrm>
          <a:off x="0" y="0"/>
          <a:ext cx="0" cy="0"/>
          <a:chOff x="0" y="0"/>
          <a:chExt cx="0" cy="0"/>
        </a:xfrm>
      </p:grpSpPr>
      <p:sp>
        <p:nvSpPr>
          <p:cNvPr id="5" name="Picture Placeholder 2"/>
          <p:cNvSpPr>
            <a:spLocks noGrp="1"/>
          </p:cNvSpPr>
          <p:nvPr>
            <p:ph type="pic" sz="quarter" idx="24"/>
          </p:nvPr>
        </p:nvSpPr>
        <p:spPr>
          <a:xfrm>
            <a:off x="4405669" y="0"/>
            <a:ext cx="4939561" cy="7562850"/>
          </a:xfrm>
          <a:solidFill>
            <a:schemeClr val="bg1">
              <a:lumMod val="95000"/>
            </a:schemeClr>
          </a:solidFill>
        </p:spPr>
        <p:txBody>
          <a:bodyPr>
            <a:normAutofit/>
          </a:bodyPr>
          <a:lstStyle>
            <a:lvl1pPr>
              <a:defRPr sz="1158"/>
            </a:lvl1pPr>
          </a:lstStyle>
          <a:p>
            <a:endParaRPr lang="en-US"/>
          </a:p>
        </p:txBody>
      </p:sp>
      <p:sp>
        <p:nvSpPr>
          <p:cNvPr id="6" name="Picture Placeholder 2"/>
          <p:cNvSpPr>
            <a:spLocks noGrp="1"/>
          </p:cNvSpPr>
          <p:nvPr>
            <p:ph type="pic" sz="quarter" idx="18"/>
          </p:nvPr>
        </p:nvSpPr>
        <p:spPr>
          <a:xfrm>
            <a:off x="9495928" y="0"/>
            <a:ext cx="3948610" cy="3706225"/>
          </a:xfrm>
          <a:solidFill>
            <a:schemeClr val="bg1">
              <a:lumMod val="95000"/>
            </a:schemeClr>
          </a:solidFill>
        </p:spPr>
        <p:txBody>
          <a:bodyPr>
            <a:normAutofit/>
          </a:bodyPr>
          <a:lstStyle>
            <a:lvl1pPr>
              <a:defRPr sz="1158"/>
            </a:lvl1pPr>
          </a:lstStyle>
          <a:p>
            <a:endParaRPr lang="en-US"/>
          </a:p>
        </p:txBody>
      </p:sp>
      <p:sp>
        <p:nvSpPr>
          <p:cNvPr id="7" name="Picture Placeholder 2"/>
          <p:cNvSpPr>
            <a:spLocks noGrp="1"/>
          </p:cNvSpPr>
          <p:nvPr>
            <p:ph type="pic" sz="quarter" idx="20"/>
          </p:nvPr>
        </p:nvSpPr>
        <p:spPr>
          <a:xfrm>
            <a:off x="9495928" y="3856625"/>
            <a:ext cx="3948610" cy="370622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640090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2 lines + text">
    <p:bg>
      <p:bgPr>
        <a:solidFill>
          <a:schemeClr val="bg1"/>
        </a:solidFill>
        <a:effectLst/>
      </p:bgPr>
    </p:bg>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3DB74B5-1A8E-8D47-ADCE-A51C4AE212BC}"/>
              </a:ext>
            </a:extLst>
          </p:cNvPr>
          <p:cNvSpPr>
            <a:spLocks noGrp="1"/>
          </p:cNvSpPr>
          <p:nvPr>
            <p:ph type="body" sz="quarter" idx="14" hasCustomPrompt="1"/>
          </p:nvPr>
        </p:nvSpPr>
        <p:spPr>
          <a:xfrm>
            <a:off x="6284262" y="776579"/>
            <a:ext cx="6069736"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4" name="Text Placeholder 9">
            <a:extLst>
              <a:ext uri="{FF2B5EF4-FFF2-40B4-BE49-F238E27FC236}">
                <a16:creationId xmlns:a16="http://schemas.microsoft.com/office/drawing/2014/main" id="{75392025-149B-024E-B967-86B4833C8512}"/>
              </a:ext>
            </a:extLst>
          </p:cNvPr>
          <p:cNvSpPr>
            <a:spLocks noGrp="1"/>
          </p:cNvSpPr>
          <p:nvPr>
            <p:ph type="body" sz="quarter" idx="16" hasCustomPrompt="1"/>
          </p:nvPr>
        </p:nvSpPr>
        <p:spPr>
          <a:xfrm>
            <a:off x="6284262" y="1914525"/>
            <a:ext cx="6069663" cy="4546600"/>
          </a:xfrm>
          <a:prstGeom prst="rect">
            <a:avLst/>
          </a:prstGeo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
        <p:nvSpPr>
          <p:cNvPr id="12" name="Picture Placeholder 2">
            <a:extLst>
              <a:ext uri="{FF2B5EF4-FFF2-40B4-BE49-F238E27FC236}">
                <a16:creationId xmlns:a16="http://schemas.microsoft.com/office/drawing/2014/main" id="{B51436A8-D0B2-4440-B204-66C6EE338A36}"/>
              </a:ext>
            </a:extLst>
          </p:cNvPr>
          <p:cNvSpPr>
            <a:spLocks noGrp="1"/>
          </p:cNvSpPr>
          <p:nvPr>
            <p:ph type="pic" sz="quarter" idx="19" hasCustomPrompt="1"/>
          </p:nvPr>
        </p:nvSpPr>
        <p:spPr>
          <a:xfrm>
            <a:off x="-22528" y="-17629"/>
            <a:ext cx="5253841" cy="7596428"/>
          </a:xfrm>
          <a:custGeom>
            <a:avLst/>
            <a:gdLst>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601329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185877"/>
              <a:gd name="connsiteY0" fmla="*/ 601329 h 8532334"/>
              <a:gd name="connsiteX1" fmla="*/ 601329 w 6185877"/>
              <a:gd name="connsiteY1" fmla="*/ 0 h 8532334"/>
              <a:gd name="connsiteX2" fmla="*/ 5584548 w 6185877"/>
              <a:gd name="connsiteY2" fmla="*/ 0 h 8532334"/>
              <a:gd name="connsiteX3" fmla="*/ 6185877 w 6185877"/>
              <a:gd name="connsiteY3" fmla="*/ 948570 h 8532334"/>
              <a:gd name="connsiteX4" fmla="*/ 6185877 w 6185877"/>
              <a:gd name="connsiteY4" fmla="*/ 7931005 h 8532334"/>
              <a:gd name="connsiteX5" fmla="*/ 5584548 w 6185877"/>
              <a:gd name="connsiteY5" fmla="*/ 8532334 h 8532334"/>
              <a:gd name="connsiteX6" fmla="*/ 601329 w 6185877"/>
              <a:gd name="connsiteY6" fmla="*/ 8532334 h 8532334"/>
              <a:gd name="connsiteX7" fmla="*/ 0 w 6185877"/>
              <a:gd name="connsiteY7" fmla="*/ 7931005 h 8532334"/>
              <a:gd name="connsiteX8" fmla="*/ 0 w 6185877"/>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601329 h 8532334"/>
              <a:gd name="connsiteX1" fmla="*/ 601329 w 6336735"/>
              <a:gd name="connsiteY1" fmla="*/ 0 h 8532334"/>
              <a:gd name="connsiteX2" fmla="*/ 4149287 w 6336735"/>
              <a:gd name="connsiteY2" fmla="*/ 983848 h 8532334"/>
              <a:gd name="connsiteX3" fmla="*/ 6185877 w 6336735"/>
              <a:gd name="connsiteY3" fmla="*/ 948570 h 8532334"/>
              <a:gd name="connsiteX4" fmla="*/ 6185877 w 6336735"/>
              <a:gd name="connsiteY4" fmla="*/ 7931005 h 8532334"/>
              <a:gd name="connsiteX5" fmla="*/ 5584548 w 6336735"/>
              <a:gd name="connsiteY5" fmla="*/ 8532334 h 8532334"/>
              <a:gd name="connsiteX6" fmla="*/ 601329 w 6336735"/>
              <a:gd name="connsiteY6" fmla="*/ 8532334 h 8532334"/>
              <a:gd name="connsiteX7" fmla="*/ 0 w 6336735"/>
              <a:gd name="connsiteY7" fmla="*/ 7931005 h 8532334"/>
              <a:gd name="connsiteX8" fmla="*/ 0 w 6336735"/>
              <a:gd name="connsiteY8" fmla="*/ 601329 h 8532334"/>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0 w 6336735"/>
              <a:gd name="connsiteY0" fmla="*/ 159227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0 w 6336735"/>
              <a:gd name="connsiteY8" fmla="*/ 159227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2511706 w 6336735"/>
              <a:gd name="connsiteY0" fmla="*/ 2369992 h 8090232"/>
              <a:gd name="connsiteX1" fmla="*/ 2545876 w 6336735"/>
              <a:gd name="connsiteY1" fmla="*/ 530171 h 8090232"/>
              <a:gd name="connsiteX2" fmla="*/ 4149287 w 6336735"/>
              <a:gd name="connsiteY2" fmla="*/ 541746 h 8090232"/>
              <a:gd name="connsiteX3" fmla="*/ 6185877 w 6336735"/>
              <a:gd name="connsiteY3" fmla="*/ 506468 h 8090232"/>
              <a:gd name="connsiteX4" fmla="*/ 6185877 w 6336735"/>
              <a:gd name="connsiteY4" fmla="*/ 7488903 h 8090232"/>
              <a:gd name="connsiteX5" fmla="*/ 5584548 w 6336735"/>
              <a:gd name="connsiteY5" fmla="*/ 8090232 h 8090232"/>
              <a:gd name="connsiteX6" fmla="*/ 601329 w 6336735"/>
              <a:gd name="connsiteY6" fmla="*/ 8090232 h 8090232"/>
              <a:gd name="connsiteX7" fmla="*/ 0 w 6336735"/>
              <a:gd name="connsiteY7" fmla="*/ 7488903 h 8090232"/>
              <a:gd name="connsiteX8" fmla="*/ 2511706 w 6336735"/>
              <a:gd name="connsiteY8" fmla="*/ 2369992 h 8090232"/>
              <a:gd name="connsiteX0" fmla="*/ 1944251 w 5769280"/>
              <a:gd name="connsiteY0" fmla="*/ 2369992 h 8090232"/>
              <a:gd name="connsiteX1" fmla="*/ 1978421 w 5769280"/>
              <a:gd name="connsiteY1" fmla="*/ 530171 h 8090232"/>
              <a:gd name="connsiteX2" fmla="*/ 3581832 w 5769280"/>
              <a:gd name="connsiteY2" fmla="*/ 541746 h 8090232"/>
              <a:gd name="connsiteX3" fmla="*/ 5618422 w 5769280"/>
              <a:gd name="connsiteY3" fmla="*/ 506468 h 8090232"/>
              <a:gd name="connsiteX4" fmla="*/ 5618422 w 5769280"/>
              <a:gd name="connsiteY4" fmla="*/ 7488903 h 8090232"/>
              <a:gd name="connsiteX5" fmla="*/ 5017093 w 5769280"/>
              <a:gd name="connsiteY5" fmla="*/ 8090232 h 8090232"/>
              <a:gd name="connsiteX6" fmla="*/ 33874 w 5769280"/>
              <a:gd name="connsiteY6" fmla="*/ 8090232 h 8090232"/>
              <a:gd name="connsiteX7" fmla="*/ 1921102 w 5769280"/>
              <a:gd name="connsiteY7" fmla="*/ 6435607 h 8090232"/>
              <a:gd name="connsiteX8" fmla="*/ 1944251 w 5769280"/>
              <a:gd name="connsiteY8" fmla="*/ 2369992 h 8090232"/>
              <a:gd name="connsiteX0" fmla="*/ 1944147 w 5769176"/>
              <a:gd name="connsiteY0" fmla="*/ 2369992 h 8090232"/>
              <a:gd name="connsiteX1" fmla="*/ 1978317 w 5769176"/>
              <a:gd name="connsiteY1" fmla="*/ 530171 h 8090232"/>
              <a:gd name="connsiteX2" fmla="*/ 3581728 w 5769176"/>
              <a:gd name="connsiteY2" fmla="*/ 541746 h 8090232"/>
              <a:gd name="connsiteX3" fmla="*/ 5618318 w 5769176"/>
              <a:gd name="connsiteY3" fmla="*/ 506468 h 8090232"/>
              <a:gd name="connsiteX4" fmla="*/ 5618318 w 5769176"/>
              <a:gd name="connsiteY4" fmla="*/ 7488903 h 8090232"/>
              <a:gd name="connsiteX5" fmla="*/ 5016989 w 5769176"/>
              <a:gd name="connsiteY5" fmla="*/ 8090232 h 8090232"/>
              <a:gd name="connsiteX6" fmla="*/ 33770 w 5769176"/>
              <a:gd name="connsiteY6" fmla="*/ 8090232 h 8090232"/>
              <a:gd name="connsiteX7" fmla="*/ 1920998 w 5769176"/>
              <a:gd name="connsiteY7" fmla="*/ 6435607 h 8090232"/>
              <a:gd name="connsiteX8" fmla="*/ 1944147 w 5769176"/>
              <a:gd name="connsiteY8" fmla="*/ 2369992 h 8090232"/>
              <a:gd name="connsiteX0" fmla="*/ 154273 w 3979302"/>
              <a:gd name="connsiteY0" fmla="*/ 2369992 h 8090232"/>
              <a:gd name="connsiteX1" fmla="*/ 188443 w 3979302"/>
              <a:gd name="connsiteY1" fmla="*/ 530171 h 8090232"/>
              <a:gd name="connsiteX2" fmla="*/ 1791854 w 3979302"/>
              <a:gd name="connsiteY2" fmla="*/ 541746 h 8090232"/>
              <a:gd name="connsiteX3" fmla="*/ 3828444 w 3979302"/>
              <a:gd name="connsiteY3" fmla="*/ 506468 h 8090232"/>
              <a:gd name="connsiteX4" fmla="*/ 3828444 w 3979302"/>
              <a:gd name="connsiteY4" fmla="*/ 7488903 h 8090232"/>
              <a:gd name="connsiteX5" fmla="*/ 3227115 w 3979302"/>
              <a:gd name="connsiteY5" fmla="*/ 8090232 h 8090232"/>
              <a:gd name="connsiteX6" fmla="*/ 153719 w 3979302"/>
              <a:gd name="connsiteY6" fmla="*/ 8090232 h 8090232"/>
              <a:gd name="connsiteX7" fmla="*/ 131124 w 3979302"/>
              <a:gd name="connsiteY7" fmla="*/ 6435607 h 8090232"/>
              <a:gd name="connsiteX8" fmla="*/ 154273 w 3979302"/>
              <a:gd name="connsiteY8" fmla="*/ 2369992 h 8090232"/>
              <a:gd name="connsiteX0" fmla="*/ 94292 w 3919321"/>
              <a:gd name="connsiteY0" fmla="*/ 2369992 h 8090370"/>
              <a:gd name="connsiteX1" fmla="*/ 128462 w 3919321"/>
              <a:gd name="connsiteY1" fmla="*/ 530171 h 8090370"/>
              <a:gd name="connsiteX2" fmla="*/ 1731873 w 3919321"/>
              <a:gd name="connsiteY2" fmla="*/ 541746 h 8090370"/>
              <a:gd name="connsiteX3" fmla="*/ 3768463 w 3919321"/>
              <a:gd name="connsiteY3" fmla="*/ 506468 h 8090370"/>
              <a:gd name="connsiteX4" fmla="*/ 3768463 w 3919321"/>
              <a:gd name="connsiteY4" fmla="*/ 7488903 h 8090370"/>
              <a:gd name="connsiteX5" fmla="*/ 3167134 w 3919321"/>
              <a:gd name="connsiteY5" fmla="*/ 8090232 h 8090370"/>
              <a:gd name="connsiteX6" fmla="*/ 93738 w 3919321"/>
              <a:gd name="connsiteY6" fmla="*/ 8090232 h 8090370"/>
              <a:gd name="connsiteX7" fmla="*/ 71143 w 3919321"/>
              <a:gd name="connsiteY7" fmla="*/ 6435607 h 8090370"/>
              <a:gd name="connsiteX8" fmla="*/ 94292 w 3919321"/>
              <a:gd name="connsiteY8" fmla="*/ 2369992 h 8090370"/>
              <a:gd name="connsiteX0" fmla="*/ 94292 w 3919321"/>
              <a:gd name="connsiteY0" fmla="*/ 2376231 h 8096609"/>
              <a:gd name="connsiteX1" fmla="*/ 128462 w 3919321"/>
              <a:gd name="connsiteY1" fmla="*/ 536410 h 8096609"/>
              <a:gd name="connsiteX2" fmla="*/ 1731873 w 3919321"/>
              <a:gd name="connsiteY2" fmla="*/ 528935 h 8096609"/>
              <a:gd name="connsiteX3" fmla="*/ 3768463 w 3919321"/>
              <a:gd name="connsiteY3" fmla="*/ 512707 h 8096609"/>
              <a:gd name="connsiteX4" fmla="*/ 3768463 w 3919321"/>
              <a:gd name="connsiteY4" fmla="*/ 7495142 h 8096609"/>
              <a:gd name="connsiteX5" fmla="*/ 3167134 w 3919321"/>
              <a:gd name="connsiteY5" fmla="*/ 8096471 h 8096609"/>
              <a:gd name="connsiteX6" fmla="*/ 93738 w 3919321"/>
              <a:gd name="connsiteY6" fmla="*/ 8096471 h 8096609"/>
              <a:gd name="connsiteX7" fmla="*/ 71143 w 3919321"/>
              <a:gd name="connsiteY7" fmla="*/ 6441846 h 8096609"/>
              <a:gd name="connsiteX8" fmla="*/ 94292 w 3919321"/>
              <a:gd name="connsiteY8" fmla="*/ 2376231 h 8096609"/>
              <a:gd name="connsiteX0" fmla="*/ 94292 w 3919321"/>
              <a:gd name="connsiteY0" fmla="*/ 2375536 h 8095914"/>
              <a:gd name="connsiteX1" fmla="*/ 128462 w 3919321"/>
              <a:gd name="connsiteY1" fmla="*/ 535715 h 8095914"/>
              <a:gd name="connsiteX2" fmla="*/ 1731873 w 3919321"/>
              <a:gd name="connsiteY2" fmla="*/ 528240 h 8095914"/>
              <a:gd name="connsiteX3" fmla="*/ 3768463 w 3919321"/>
              <a:gd name="connsiteY3" fmla="*/ 512012 h 8095914"/>
              <a:gd name="connsiteX4" fmla="*/ 3768463 w 3919321"/>
              <a:gd name="connsiteY4" fmla="*/ 7494447 h 8095914"/>
              <a:gd name="connsiteX5" fmla="*/ 3167134 w 3919321"/>
              <a:gd name="connsiteY5" fmla="*/ 8095776 h 8095914"/>
              <a:gd name="connsiteX6" fmla="*/ 93738 w 3919321"/>
              <a:gd name="connsiteY6" fmla="*/ 8095776 h 8095914"/>
              <a:gd name="connsiteX7" fmla="*/ 71143 w 3919321"/>
              <a:gd name="connsiteY7" fmla="*/ 6441151 h 8095914"/>
              <a:gd name="connsiteX8" fmla="*/ 94292 w 3919321"/>
              <a:gd name="connsiteY8" fmla="*/ 2375536 h 8095914"/>
              <a:gd name="connsiteX0" fmla="*/ 94292 w 3921677"/>
              <a:gd name="connsiteY0" fmla="*/ 2358929 h 8079307"/>
              <a:gd name="connsiteX1" fmla="*/ 128462 w 3921677"/>
              <a:gd name="connsiteY1" fmla="*/ 519108 h 8079307"/>
              <a:gd name="connsiteX2" fmla="*/ 1731873 w 3921677"/>
              <a:gd name="connsiteY2" fmla="*/ 511633 h 8079307"/>
              <a:gd name="connsiteX3" fmla="*/ 3771638 w 3921677"/>
              <a:gd name="connsiteY3" fmla="*/ 517630 h 8079307"/>
              <a:gd name="connsiteX4" fmla="*/ 3768463 w 3921677"/>
              <a:gd name="connsiteY4" fmla="*/ 7477840 h 8079307"/>
              <a:gd name="connsiteX5" fmla="*/ 3167134 w 3921677"/>
              <a:gd name="connsiteY5" fmla="*/ 8079169 h 8079307"/>
              <a:gd name="connsiteX6" fmla="*/ 93738 w 3921677"/>
              <a:gd name="connsiteY6" fmla="*/ 8079169 h 8079307"/>
              <a:gd name="connsiteX7" fmla="*/ 71143 w 3921677"/>
              <a:gd name="connsiteY7" fmla="*/ 6424544 h 8079307"/>
              <a:gd name="connsiteX8" fmla="*/ 94292 w 3921677"/>
              <a:gd name="connsiteY8" fmla="*/ 2358929 h 8079307"/>
              <a:gd name="connsiteX0" fmla="*/ 94292 w 3772415"/>
              <a:gd name="connsiteY0" fmla="*/ 1978567 h 7698945"/>
              <a:gd name="connsiteX1" fmla="*/ 128462 w 3772415"/>
              <a:gd name="connsiteY1" fmla="*/ 138746 h 7698945"/>
              <a:gd name="connsiteX2" fmla="*/ 1731873 w 3772415"/>
              <a:gd name="connsiteY2" fmla="*/ 131271 h 7698945"/>
              <a:gd name="connsiteX3" fmla="*/ 3771638 w 3772415"/>
              <a:gd name="connsiteY3" fmla="*/ 137268 h 7698945"/>
              <a:gd name="connsiteX4" fmla="*/ 3768463 w 3772415"/>
              <a:gd name="connsiteY4" fmla="*/ 7097478 h 7698945"/>
              <a:gd name="connsiteX5" fmla="*/ 3167134 w 3772415"/>
              <a:gd name="connsiteY5" fmla="*/ 7698807 h 7698945"/>
              <a:gd name="connsiteX6" fmla="*/ 93738 w 3772415"/>
              <a:gd name="connsiteY6" fmla="*/ 7698807 h 7698945"/>
              <a:gd name="connsiteX7" fmla="*/ 71143 w 3772415"/>
              <a:gd name="connsiteY7" fmla="*/ 6044182 h 7698945"/>
              <a:gd name="connsiteX8" fmla="*/ 94292 w 3772415"/>
              <a:gd name="connsiteY8" fmla="*/ 1978567 h 7698945"/>
              <a:gd name="connsiteX0" fmla="*/ 128515 w 3806638"/>
              <a:gd name="connsiteY0" fmla="*/ 1983481 h 7703859"/>
              <a:gd name="connsiteX1" fmla="*/ 118235 w 3806638"/>
              <a:gd name="connsiteY1" fmla="*/ 137310 h 7703859"/>
              <a:gd name="connsiteX2" fmla="*/ 1766096 w 3806638"/>
              <a:gd name="connsiteY2" fmla="*/ 136185 h 7703859"/>
              <a:gd name="connsiteX3" fmla="*/ 3805861 w 3806638"/>
              <a:gd name="connsiteY3" fmla="*/ 142182 h 7703859"/>
              <a:gd name="connsiteX4" fmla="*/ 3802686 w 3806638"/>
              <a:gd name="connsiteY4" fmla="*/ 7102392 h 7703859"/>
              <a:gd name="connsiteX5" fmla="*/ 3201357 w 3806638"/>
              <a:gd name="connsiteY5" fmla="*/ 7703721 h 7703859"/>
              <a:gd name="connsiteX6" fmla="*/ 127961 w 3806638"/>
              <a:gd name="connsiteY6" fmla="*/ 7703721 h 7703859"/>
              <a:gd name="connsiteX7" fmla="*/ 105366 w 3806638"/>
              <a:gd name="connsiteY7" fmla="*/ 6049096 h 7703859"/>
              <a:gd name="connsiteX8" fmla="*/ 128515 w 3806638"/>
              <a:gd name="connsiteY8" fmla="*/ 1983481 h 7703859"/>
              <a:gd name="connsiteX0" fmla="*/ 23150 w 3701273"/>
              <a:gd name="connsiteY0" fmla="*/ 1847338 h 7567716"/>
              <a:gd name="connsiteX1" fmla="*/ 12870 w 3701273"/>
              <a:gd name="connsiteY1" fmla="*/ 1167 h 7567716"/>
              <a:gd name="connsiteX2" fmla="*/ 1660731 w 3701273"/>
              <a:gd name="connsiteY2" fmla="*/ 42 h 7567716"/>
              <a:gd name="connsiteX3" fmla="*/ 3700496 w 3701273"/>
              <a:gd name="connsiteY3" fmla="*/ 6039 h 7567716"/>
              <a:gd name="connsiteX4" fmla="*/ 3697321 w 3701273"/>
              <a:gd name="connsiteY4" fmla="*/ 6966249 h 7567716"/>
              <a:gd name="connsiteX5" fmla="*/ 3095992 w 3701273"/>
              <a:gd name="connsiteY5" fmla="*/ 7567578 h 7567716"/>
              <a:gd name="connsiteX6" fmla="*/ 22596 w 3701273"/>
              <a:gd name="connsiteY6" fmla="*/ 7567578 h 7567716"/>
              <a:gd name="connsiteX7" fmla="*/ 1 w 3701273"/>
              <a:gd name="connsiteY7" fmla="*/ 5912953 h 7567716"/>
              <a:gd name="connsiteX8" fmla="*/ 23150 w 3701273"/>
              <a:gd name="connsiteY8" fmla="*/ 1847338 h 7567716"/>
              <a:gd name="connsiteX0" fmla="*/ 122093 w 3809741"/>
              <a:gd name="connsiteY0" fmla="*/ 2000532 h 7705035"/>
              <a:gd name="connsiteX1" fmla="*/ 121338 w 3809741"/>
              <a:gd name="connsiteY1" fmla="*/ 138486 h 7705035"/>
              <a:gd name="connsiteX2" fmla="*/ 1769199 w 3809741"/>
              <a:gd name="connsiteY2" fmla="*/ 137361 h 7705035"/>
              <a:gd name="connsiteX3" fmla="*/ 3808964 w 3809741"/>
              <a:gd name="connsiteY3" fmla="*/ 143358 h 7705035"/>
              <a:gd name="connsiteX4" fmla="*/ 3805789 w 3809741"/>
              <a:gd name="connsiteY4" fmla="*/ 7103568 h 7705035"/>
              <a:gd name="connsiteX5" fmla="*/ 3204460 w 3809741"/>
              <a:gd name="connsiteY5" fmla="*/ 7704897 h 7705035"/>
              <a:gd name="connsiteX6" fmla="*/ 131064 w 3809741"/>
              <a:gd name="connsiteY6" fmla="*/ 7704897 h 7705035"/>
              <a:gd name="connsiteX7" fmla="*/ 108469 w 3809741"/>
              <a:gd name="connsiteY7" fmla="*/ 6050272 h 7705035"/>
              <a:gd name="connsiteX8" fmla="*/ 122093 w 3809741"/>
              <a:gd name="connsiteY8" fmla="*/ 2000532 h 7705035"/>
              <a:gd name="connsiteX0" fmla="*/ 122796 w 3810444"/>
              <a:gd name="connsiteY0" fmla="*/ 2000532 h 7705035"/>
              <a:gd name="connsiteX1" fmla="*/ 122041 w 3810444"/>
              <a:gd name="connsiteY1" fmla="*/ 138486 h 7705035"/>
              <a:gd name="connsiteX2" fmla="*/ 1769902 w 3810444"/>
              <a:gd name="connsiteY2" fmla="*/ 137361 h 7705035"/>
              <a:gd name="connsiteX3" fmla="*/ 3809667 w 3810444"/>
              <a:gd name="connsiteY3" fmla="*/ 143358 h 7705035"/>
              <a:gd name="connsiteX4" fmla="*/ 3806492 w 3810444"/>
              <a:gd name="connsiteY4" fmla="*/ 7103568 h 7705035"/>
              <a:gd name="connsiteX5" fmla="*/ 3205163 w 3810444"/>
              <a:gd name="connsiteY5" fmla="*/ 7704897 h 7705035"/>
              <a:gd name="connsiteX6" fmla="*/ 131767 w 3810444"/>
              <a:gd name="connsiteY6" fmla="*/ 7704897 h 7705035"/>
              <a:gd name="connsiteX7" fmla="*/ 109172 w 3810444"/>
              <a:gd name="connsiteY7" fmla="*/ 6050272 h 7705035"/>
              <a:gd name="connsiteX8" fmla="*/ 122796 w 3810444"/>
              <a:gd name="connsiteY8" fmla="*/ 2000532 h 7705035"/>
              <a:gd name="connsiteX0" fmla="*/ 118563 w 3806211"/>
              <a:gd name="connsiteY0" fmla="*/ 1863171 h 7567674"/>
              <a:gd name="connsiteX1" fmla="*/ 117808 w 3806211"/>
              <a:gd name="connsiteY1" fmla="*/ 1125 h 7567674"/>
              <a:gd name="connsiteX2" fmla="*/ 1765669 w 3806211"/>
              <a:gd name="connsiteY2" fmla="*/ 0 h 7567674"/>
              <a:gd name="connsiteX3" fmla="*/ 3805434 w 3806211"/>
              <a:gd name="connsiteY3" fmla="*/ 5997 h 7567674"/>
              <a:gd name="connsiteX4" fmla="*/ 3802259 w 3806211"/>
              <a:gd name="connsiteY4" fmla="*/ 6966207 h 7567674"/>
              <a:gd name="connsiteX5" fmla="*/ 3200930 w 3806211"/>
              <a:gd name="connsiteY5" fmla="*/ 7567536 h 7567674"/>
              <a:gd name="connsiteX6" fmla="*/ 127534 w 3806211"/>
              <a:gd name="connsiteY6" fmla="*/ 7567536 h 7567674"/>
              <a:gd name="connsiteX7" fmla="*/ 104939 w 3806211"/>
              <a:gd name="connsiteY7" fmla="*/ 5912911 h 7567674"/>
              <a:gd name="connsiteX8" fmla="*/ 118563 w 3806211"/>
              <a:gd name="connsiteY8" fmla="*/ 1863171 h 7567674"/>
              <a:gd name="connsiteX0" fmla="*/ 13722 w 3701370"/>
              <a:gd name="connsiteY0" fmla="*/ 1863171 h 7567674"/>
              <a:gd name="connsiteX1" fmla="*/ 12967 w 3701370"/>
              <a:gd name="connsiteY1" fmla="*/ 1125 h 7567674"/>
              <a:gd name="connsiteX2" fmla="*/ 1660828 w 3701370"/>
              <a:gd name="connsiteY2" fmla="*/ 0 h 7567674"/>
              <a:gd name="connsiteX3" fmla="*/ 3700593 w 3701370"/>
              <a:gd name="connsiteY3" fmla="*/ 5997 h 7567674"/>
              <a:gd name="connsiteX4" fmla="*/ 3697418 w 3701370"/>
              <a:gd name="connsiteY4" fmla="*/ 6966207 h 7567674"/>
              <a:gd name="connsiteX5" fmla="*/ 3096089 w 3701370"/>
              <a:gd name="connsiteY5" fmla="*/ 7567536 h 7567674"/>
              <a:gd name="connsiteX6" fmla="*/ 22693 w 3701370"/>
              <a:gd name="connsiteY6" fmla="*/ 7567536 h 7567674"/>
              <a:gd name="connsiteX7" fmla="*/ 98 w 3701370"/>
              <a:gd name="connsiteY7" fmla="*/ 5912911 h 7567674"/>
              <a:gd name="connsiteX8" fmla="*/ 13722 w 3701370"/>
              <a:gd name="connsiteY8" fmla="*/ 1863171 h 7567674"/>
              <a:gd name="connsiteX0" fmla="*/ 13634 w 3701282"/>
              <a:gd name="connsiteY0" fmla="*/ 1863171 h 7567536"/>
              <a:gd name="connsiteX1" fmla="*/ 12879 w 3701282"/>
              <a:gd name="connsiteY1" fmla="*/ 1125 h 7567536"/>
              <a:gd name="connsiteX2" fmla="*/ 1660740 w 3701282"/>
              <a:gd name="connsiteY2" fmla="*/ 0 h 7567536"/>
              <a:gd name="connsiteX3" fmla="*/ 3700505 w 3701282"/>
              <a:gd name="connsiteY3" fmla="*/ 5997 h 7567536"/>
              <a:gd name="connsiteX4" fmla="*/ 3697330 w 3701282"/>
              <a:gd name="connsiteY4" fmla="*/ 6966207 h 7567536"/>
              <a:gd name="connsiteX5" fmla="*/ 3096001 w 3701282"/>
              <a:gd name="connsiteY5" fmla="*/ 7567536 h 7567536"/>
              <a:gd name="connsiteX6" fmla="*/ 16255 w 3701282"/>
              <a:gd name="connsiteY6" fmla="*/ 7564361 h 7567536"/>
              <a:gd name="connsiteX7" fmla="*/ 10 w 3701282"/>
              <a:gd name="connsiteY7" fmla="*/ 5912911 h 7567536"/>
              <a:gd name="connsiteX8" fmla="*/ 13634 w 3701282"/>
              <a:gd name="connsiteY8" fmla="*/ 1863171 h 7567536"/>
              <a:gd name="connsiteX0" fmla="*/ 13839 w 3701487"/>
              <a:gd name="connsiteY0" fmla="*/ 1863171 h 7574023"/>
              <a:gd name="connsiteX1" fmla="*/ 13084 w 3701487"/>
              <a:gd name="connsiteY1" fmla="*/ 1125 h 7574023"/>
              <a:gd name="connsiteX2" fmla="*/ 1660945 w 3701487"/>
              <a:gd name="connsiteY2" fmla="*/ 0 h 7574023"/>
              <a:gd name="connsiteX3" fmla="*/ 3700710 w 3701487"/>
              <a:gd name="connsiteY3" fmla="*/ 5997 h 7574023"/>
              <a:gd name="connsiteX4" fmla="*/ 3697535 w 3701487"/>
              <a:gd name="connsiteY4" fmla="*/ 6966207 h 7574023"/>
              <a:gd name="connsiteX5" fmla="*/ 3096206 w 3701487"/>
              <a:gd name="connsiteY5" fmla="*/ 7567536 h 7574023"/>
              <a:gd name="connsiteX6" fmla="*/ 3760 w 3701487"/>
              <a:gd name="connsiteY6" fmla="*/ 7573886 h 7574023"/>
              <a:gd name="connsiteX7" fmla="*/ 215 w 3701487"/>
              <a:gd name="connsiteY7" fmla="*/ 5912911 h 7574023"/>
              <a:gd name="connsiteX8" fmla="*/ 13839 w 3701487"/>
              <a:gd name="connsiteY8" fmla="*/ 1863171 h 7574023"/>
              <a:gd name="connsiteX0" fmla="*/ 237535 w 3925183"/>
              <a:gd name="connsiteY0" fmla="*/ 1863171 h 7695051"/>
              <a:gd name="connsiteX1" fmla="*/ 236780 w 3925183"/>
              <a:gd name="connsiteY1" fmla="*/ 1125 h 7695051"/>
              <a:gd name="connsiteX2" fmla="*/ 1884641 w 3925183"/>
              <a:gd name="connsiteY2" fmla="*/ 0 h 7695051"/>
              <a:gd name="connsiteX3" fmla="*/ 3924406 w 3925183"/>
              <a:gd name="connsiteY3" fmla="*/ 5997 h 7695051"/>
              <a:gd name="connsiteX4" fmla="*/ 3921231 w 3925183"/>
              <a:gd name="connsiteY4" fmla="*/ 6966207 h 7695051"/>
              <a:gd name="connsiteX5" fmla="*/ 3319902 w 3925183"/>
              <a:gd name="connsiteY5" fmla="*/ 7567536 h 7695051"/>
              <a:gd name="connsiteX6" fmla="*/ 227456 w 3925183"/>
              <a:gd name="connsiteY6" fmla="*/ 7573886 h 7695051"/>
              <a:gd name="connsiteX7" fmla="*/ 233436 w 3925183"/>
              <a:gd name="connsiteY7" fmla="*/ 5916086 h 7695051"/>
              <a:gd name="connsiteX8" fmla="*/ 237535 w 3925183"/>
              <a:gd name="connsiteY8" fmla="*/ 1863171 h 7695051"/>
              <a:gd name="connsiteX0" fmla="*/ 236144 w 3923792"/>
              <a:gd name="connsiteY0" fmla="*/ 1863171 h 7695051"/>
              <a:gd name="connsiteX1" fmla="*/ 235389 w 3923792"/>
              <a:gd name="connsiteY1" fmla="*/ 1125 h 7695051"/>
              <a:gd name="connsiteX2" fmla="*/ 1883250 w 3923792"/>
              <a:gd name="connsiteY2" fmla="*/ 0 h 7695051"/>
              <a:gd name="connsiteX3" fmla="*/ 3923015 w 3923792"/>
              <a:gd name="connsiteY3" fmla="*/ 5997 h 7695051"/>
              <a:gd name="connsiteX4" fmla="*/ 3919840 w 3923792"/>
              <a:gd name="connsiteY4" fmla="*/ 6966207 h 7695051"/>
              <a:gd name="connsiteX5" fmla="*/ 3318511 w 3923792"/>
              <a:gd name="connsiteY5" fmla="*/ 7567536 h 7695051"/>
              <a:gd name="connsiteX6" fmla="*/ 226065 w 3923792"/>
              <a:gd name="connsiteY6" fmla="*/ 7573886 h 7695051"/>
              <a:gd name="connsiteX7" fmla="*/ 232045 w 3923792"/>
              <a:gd name="connsiteY7" fmla="*/ 5916086 h 7695051"/>
              <a:gd name="connsiteX8" fmla="*/ 236144 w 3923792"/>
              <a:gd name="connsiteY8" fmla="*/ 1863171 h 7695051"/>
              <a:gd name="connsiteX0" fmla="*/ 10079 w 3697727"/>
              <a:gd name="connsiteY0" fmla="*/ 1863171 h 7573886"/>
              <a:gd name="connsiteX1" fmla="*/ 9324 w 3697727"/>
              <a:gd name="connsiteY1" fmla="*/ 1125 h 7573886"/>
              <a:gd name="connsiteX2" fmla="*/ 1657185 w 3697727"/>
              <a:gd name="connsiteY2" fmla="*/ 0 h 7573886"/>
              <a:gd name="connsiteX3" fmla="*/ 3696950 w 3697727"/>
              <a:gd name="connsiteY3" fmla="*/ 5997 h 7573886"/>
              <a:gd name="connsiteX4" fmla="*/ 3693775 w 3697727"/>
              <a:gd name="connsiteY4" fmla="*/ 6966207 h 7573886"/>
              <a:gd name="connsiteX5" fmla="*/ 3092446 w 3697727"/>
              <a:gd name="connsiteY5" fmla="*/ 7567536 h 7573886"/>
              <a:gd name="connsiteX6" fmla="*/ 0 w 3697727"/>
              <a:gd name="connsiteY6" fmla="*/ 7573886 h 7573886"/>
              <a:gd name="connsiteX7" fmla="*/ 5980 w 3697727"/>
              <a:gd name="connsiteY7" fmla="*/ 5916086 h 7573886"/>
              <a:gd name="connsiteX8" fmla="*/ 10079 w 3697727"/>
              <a:gd name="connsiteY8" fmla="*/ 1863171 h 7573886"/>
              <a:gd name="connsiteX0" fmla="*/ 105084 w 3819313"/>
              <a:gd name="connsiteY0" fmla="*/ 2000267 h 7710982"/>
              <a:gd name="connsiteX1" fmla="*/ 130910 w 3819313"/>
              <a:gd name="connsiteY1" fmla="*/ 138221 h 7710982"/>
              <a:gd name="connsiteX2" fmla="*/ 1778771 w 3819313"/>
              <a:gd name="connsiteY2" fmla="*/ 137096 h 7710982"/>
              <a:gd name="connsiteX3" fmla="*/ 3818536 w 3819313"/>
              <a:gd name="connsiteY3" fmla="*/ 143093 h 7710982"/>
              <a:gd name="connsiteX4" fmla="*/ 3815361 w 3819313"/>
              <a:gd name="connsiteY4" fmla="*/ 7103303 h 7710982"/>
              <a:gd name="connsiteX5" fmla="*/ 3214032 w 3819313"/>
              <a:gd name="connsiteY5" fmla="*/ 7704632 h 7710982"/>
              <a:gd name="connsiteX6" fmla="*/ 121586 w 3819313"/>
              <a:gd name="connsiteY6" fmla="*/ 7710982 h 7710982"/>
              <a:gd name="connsiteX7" fmla="*/ 127566 w 3819313"/>
              <a:gd name="connsiteY7" fmla="*/ 6053182 h 7710982"/>
              <a:gd name="connsiteX8" fmla="*/ 105084 w 3819313"/>
              <a:gd name="connsiteY8" fmla="*/ 2000267 h 77109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05084 w 3819313"/>
              <a:gd name="connsiteY0" fmla="*/ 1908906 h 7704682"/>
              <a:gd name="connsiteX1" fmla="*/ 130910 w 3819313"/>
              <a:gd name="connsiteY1" fmla="*/ 131921 h 7704682"/>
              <a:gd name="connsiteX2" fmla="*/ 1778771 w 3819313"/>
              <a:gd name="connsiteY2" fmla="*/ 130796 h 7704682"/>
              <a:gd name="connsiteX3" fmla="*/ 3818536 w 3819313"/>
              <a:gd name="connsiteY3" fmla="*/ 136793 h 7704682"/>
              <a:gd name="connsiteX4" fmla="*/ 3815361 w 3819313"/>
              <a:gd name="connsiteY4" fmla="*/ 7097003 h 7704682"/>
              <a:gd name="connsiteX5" fmla="*/ 3214032 w 3819313"/>
              <a:gd name="connsiteY5" fmla="*/ 7698332 h 7704682"/>
              <a:gd name="connsiteX6" fmla="*/ 121586 w 3819313"/>
              <a:gd name="connsiteY6" fmla="*/ 7704682 h 7704682"/>
              <a:gd name="connsiteX7" fmla="*/ 127566 w 3819313"/>
              <a:gd name="connsiteY7" fmla="*/ 6046882 h 7704682"/>
              <a:gd name="connsiteX8" fmla="*/ 105084 w 3819313"/>
              <a:gd name="connsiteY8" fmla="*/ 1908906 h 7704682"/>
              <a:gd name="connsiteX0" fmla="*/ 12 w 3714241"/>
              <a:gd name="connsiteY0" fmla="*/ 1786046 h 7581822"/>
              <a:gd name="connsiteX1" fmla="*/ 25838 w 3714241"/>
              <a:gd name="connsiteY1" fmla="*/ 9061 h 7581822"/>
              <a:gd name="connsiteX2" fmla="*/ 1673699 w 3714241"/>
              <a:gd name="connsiteY2" fmla="*/ 7936 h 7581822"/>
              <a:gd name="connsiteX3" fmla="*/ 3713464 w 3714241"/>
              <a:gd name="connsiteY3" fmla="*/ 13933 h 7581822"/>
              <a:gd name="connsiteX4" fmla="*/ 3710289 w 3714241"/>
              <a:gd name="connsiteY4" fmla="*/ 6974143 h 7581822"/>
              <a:gd name="connsiteX5" fmla="*/ 3108960 w 3714241"/>
              <a:gd name="connsiteY5" fmla="*/ 7575472 h 7581822"/>
              <a:gd name="connsiteX6" fmla="*/ 16514 w 3714241"/>
              <a:gd name="connsiteY6" fmla="*/ 7581822 h 7581822"/>
              <a:gd name="connsiteX7" fmla="*/ 22494 w 3714241"/>
              <a:gd name="connsiteY7" fmla="*/ 5924022 h 7581822"/>
              <a:gd name="connsiteX8" fmla="*/ 12 w 3714241"/>
              <a:gd name="connsiteY8" fmla="*/ 1786046 h 7581822"/>
              <a:gd name="connsiteX0" fmla="*/ 124 w 3714353"/>
              <a:gd name="connsiteY0" fmla="*/ 1790496 h 7586272"/>
              <a:gd name="connsiteX1" fmla="*/ 10002 w 3714353"/>
              <a:gd name="connsiteY1" fmla="*/ 8195 h 7586272"/>
              <a:gd name="connsiteX2" fmla="*/ 1673811 w 3714353"/>
              <a:gd name="connsiteY2" fmla="*/ 12386 h 7586272"/>
              <a:gd name="connsiteX3" fmla="*/ 3713576 w 3714353"/>
              <a:gd name="connsiteY3" fmla="*/ 18383 h 7586272"/>
              <a:gd name="connsiteX4" fmla="*/ 3710401 w 3714353"/>
              <a:gd name="connsiteY4" fmla="*/ 6978593 h 7586272"/>
              <a:gd name="connsiteX5" fmla="*/ 3109072 w 3714353"/>
              <a:gd name="connsiteY5" fmla="*/ 7579922 h 7586272"/>
              <a:gd name="connsiteX6" fmla="*/ 16626 w 3714353"/>
              <a:gd name="connsiteY6" fmla="*/ 7586272 h 7586272"/>
              <a:gd name="connsiteX7" fmla="*/ 22606 w 3714353"/>
              <a:gd name="connsiteY7" fmla="*/ 5928472 h 7586272"/>
              <a:gd name="connsiteX8" fmla="*/ 124 w 3714353"/>
              <a:gd name="connsiteY8" fmla="*/ 1790496 h 7586272"/>
              <a:gd name="connsiteX0" fmla="*/ 132358 w 3823840"/>
              <a:gd name="connsiteY0" fmla="*/ 1937739 h 7710768"/>
              <a:gd name="connsiteX1" fmla="*/ 119489 w 3823840"/>
              <a:gd name="connsiteY1" fmla="*/ 132691 h 7710768"/>
              <a:gd name="connsiteX2" fmla="*/ 1783298 w 3823840"/>
              <a:gd name="connsiteY2" fmla="*/ 136882 h 7710768"/>
              <a:gd name="connsiteX3" fmla="*/ 3823063 w 3823840"/>
              <a:gd name="connsiteY3" fmla="*/ 142879 h 7710768"/>
              <a:gd name="connsiteX4" fmla="*/ 3819888 w 3823840"/>
              <a:gd name="connsiteY4" fmla="*/ 7103089 h 7710768"/>
              <a:gd name="connsiteX5" fmla="*/ 3218559 w 3823840"/>
              <a:gd name="connsiteY5" fmla="*/ 7704418 h 7710768"/>
              <a:gd name="connsiteX6" fmla="*/ 126113 w 3823840"/>
              <a:gd name="connsiteY6" fmla="*/ 7710768 h 7710768"/>
              <a:gd name="connsiteX7" fmla="*/ 132093 w 3823840"/>
              <a:gd name="connsiteY7" fmla="*/ 6052968 h 7710768"/>
              <a:gd name="connsiteX8" fmla="*/ 132358 w 3823840"/>
              <a:gd name="connsiteY8" fmla="*/ 1937739 h 7710768"/>
              <a:gd name="connsiteX0" fmla="*/ 114641 w 3806123"/>
              <a:gd name="connsiteY0" fmla="*/ 1937739 h 7710768"/>
              <a:gd name="connsiteX1" fmla="*/ 124519 w 3806123"/>
              <a:gd name="connsiteY1" fmla="*/ 132691 h 7710768"/>
              <a:gd name="connsiteX2" fmla="*/ 1765581 w 3806123"/>
              <a:gd name="connsiteY2" fmla="*/ 136882 h 7710768"/>
              <a:gd name="connsiteX3" fmla="*/ 3805346 w 3806123"/>
              <a:gd name="connsiteY3" fmla="*/ 142879 h 7710768"/>
              <a:gd name="connsiteX4" fmla="*/ 3802171 w 3806123"/>
              <a:gd name="connsiteY4" fmla="*/ 7103089 h 7710768"/>
              <a:gd name="connsiteX5" fmla="*/ 3200842 w 3806123"/>
              <a:gd name="connsiteY5" fmla="*/ 7704418 h 7710768"/>
              <a:gd name="connsiteX6" fmla="*/ 108396 w 3806123"/>
              <a:gd name="connsiteY6" fmla="*/ 7710768 h 7710768"/>
              <a:gd name="connsiteX7" fmla="*/ 114376 w 3806123"/>
              <a:gd name="connsiteY7" fmla="*/ 6052968 h 7710768"/>
              <a:gd name="connsiteX8" fmla="*/ 114641 w 3806123"/>
              <a:gd name="connsiteY8" fmla="*/ 1937739 h 7710768"/>
              <a:gd name="connsiteX0" fmla="*/ 6245 w 3697727"/>
              <a:gd name="connsiteY0" fmla="*/ 1806511 h 7579540"/>
              <a:gd name="connsiteX1" fmla="*/ 16123 w 3697727"/>
              <a:gd name="connsiteY1" fmla="*/ 1463 h 7579540"/>
              <a:gd name="connsiteX2" fmla="*/ 1657185 w 3697727"/>
              <a:gd name="connsiteY2" fmla="*/ 5654 h 7579540"/>
              <a:gd name="connsiteX3" fmla="*/ 3696950 w 3697727"/>
              <a:gd name="connsiteY3" fmla="*/ 11651 h 7579540"/>
              <a:gd name="connsiteX4" fmla="*/ 3693775 w 3697727"/>
              <a:gd name="connsiteY4" fmla="*/ 6971861 h 7579540"/>
              <a:gd name="connsiteX5" fmla="*/ 3092446 w 3697727"/>
              <a:gd name="connsiteY5" fmla="*/ 7573190 h 7579540"/>
              <a:gd name="connsiteX6" fmla="*/ 0 w 3697727"/>
              <a:gd name="connsiteY6" fmla="*/ 7579540 h 7579540"/>
              <a:gd name="connsiteX7" fmla="*/ 5980 w 3697727"/>
              <a:gd name="connsiteY7" fmla="*/ 5921740 h 7579540"/>
              <a:gd name="connsiteX8" fmla="*/ 6245 w 3697727"/>
              <a:gd name="connsiteY8" fmla="*/ 1806511 h 7579540"/>
              <a:gd name="connsiteX0" fmla="*/ 114640 w 3955384"/>
              <a:gd name="connsiteY0" fmla="*/ 2314361 h 8087390"/>
              <a:gd name="connsiteX1" fmla="*/ 124518 w 3955384"/>
              <a:gd name="connsiteY1" fmla="*/ 509313 h 8087390"/>
              <a:gd name="connsiteX2" fmla="*/ 1765580 w 3955384"/>
              <a:gd name="connsiteY2" fmla="*/ 504405 h 8087390"/>
              <a:gd name="connsiteX3" fmla="*/ 3805345 w 3955384"/>
              <a:gd name="connsiteY3" fmla="*/ 519501 h 8087390"/>
              <a:gd name="connsiteX4" fmla="*/ 3802170 w 3955384"/>
              <a:gd name="connsiteY4" fmla="*/ 7479711 h 8087390"/>
              <a:gd name="connsiteX5" fmla="*/ 3200841 w 3955384"/>
              <a:gd name="connsiteY5" fmla="*/ 8081040 h 8087390"/>
              <a:gd name="connsiteX6" fmla="*/ 108395 w 3955384"/>
              <a:gd name="connsiteY6" fmla="*/ 8087390 h 8087390"/>
              <a:gd name="connsiteX7" fmla="*/ 114375 w 3955384"/>
              <a:gd name="connsiteY7" fmla="*/ 6429590 h 8087390"/>
              <a:gd name="connsiteX8" fmla="*/ 114640 w 3955384"/>
              <a:gd name="connsiteY8" fmla="*/ 2314361 h 8087390"/>
              <a:gd name="connsiteX0" fmla="*/ 114640 w 3955384"/>
              <a:gd name="connsiteY0" fmla="*/ 2316409 h 8089438"/>
              <a:gd name="connsiteX1" fmla="*/ 124518 w 3955384"/>
              <a:gd name="connsiteY1" fmla="*/ 511361 h 8089438"/>
              <a:gd name="connsiteX2" fmla="*/ 1765580 w 3955384"/>
              <a:gd name="connsiteY2" fmla="*/ 506453 h 8089438"/>
              <a:gd name="connsiteX3" fmla="*/ 3805345 w 3955384"/>
              <a:gd name="connsiteY3" fmla="*/ 521549 h 8089438"/>
              <a:gd name="connsiteX4" fmla="*/ 3802170 w 3955384"/>
              <a:gd name="connsiteY4" fmla="*/ 7481759 h 8089438"/>
              <a:gd name="connsiteX5" fmla="*/ 3200841 w 3955384"/>
              <a:gd name="connsiteY5" fmla="*/ 8083088 h 8089438"/>
              <a:gd name="connsiteX6" fmla="*/ 108395 w 3955384"/>
              <a:gd name="connsiteY6" fmla="*/ 8089438 h 8089438"/>
              <a:gd name="connsiteX7" fmla="*/ 114375 w 3955384"/>
              <a:gd name="connsiteY7" fmla="*/ 6431638 h 8089438"/>
              <a:gd name="connsiteX8" fmla="*/ 114640 w 3955384"/>
              <a:gd name="connsiteY8" fmla="*/ 2316409 h 8089438"/>
              <a:gd name="connsiteX0" fmla="*/ 114640 w 3806087"/>
              <a:gd name="connsiteY0" fmla="*/ 1939490 h 7712519"/>
              <a:gd name="connsiteX1" fmla="*/ 124518 w 3806087"/>
              <a:gd name="connsiteY1" fmla="*/ 134442 h 7712519"/>
              <a:gd name="connsiteX2" fmla="*/ 1765580 w 3806087"/>
              <a:gd name="connsiteY2" fmla="*/ 129534 h 7712519"/>
              <a:gd name="connsiteX3" fmla="*/ 3805345 w 3806087"/>
              <a:gd name="connsiteY3" fmla="*/ 144630 h 7712519"/>
              <a:gd name="connsiteX4" fmla="*/ 3802170 w 3806087"/>
              <a:gd name="connsiteY4" fmla="*/ 7104840 h 7712519"/>
              <a:gd name="connsiteX5" fmla="*/ 3200841 w 3806087"/>
              <a:gd name="connsiteY5" fmla="*/ 7706169 h 7712519"/>
              <a:gd name="connsiteX6" fmla="*/ 108395 w 3806087"/>
              <a:gd name="connsiteY6" fmla="*/ 7712519 h 7712519"/>
              <a:gd name="connsiteX7" fmla="*/ 114375 w 3806087"/>
              <a:gd name="connsiteY7" fmla="*/ 6054719 h 7712519"/>
              <a:gd name="connsiteX8" fmla="*/ 114640 w 3806087"/>
              <a:gd name="connsiteY8" fmla="*/ 1939490 h 7712519"/>
              <a:gd name="connsiteX0" fmla="*/ 114640 w 3806087"/>
              <a:gd name="connsiteY0" fmla="*/ 1939931 h 7712960"/>
              <a:gd name="connsiteX1" fmla="*/ 124518 w 3806087"/>
              <a:gd name="connsiteY1" fmla="*/ 134883 h 7712960"/>
              <a:gd name="connsiteX2" fmla="*/ 1765580 w 3806087"/>
              <a:gd name="connsiteY2" fmla="*/ 129975 h 7712960"/>
              <a:gd name="connsiteX3" fmla="*/ 3805345 w 3806087"/>
              <a:gd name="connsiteY3" fmla="*/ 122324 h 7712960"/>
              <a:gd name="connsiteX4" fmla="*/ 3802170 w 3806087"/>
              <a:gd name="connsiteY4" fmla="*/ 7105281 h 7712960"/>
              <a:gd name="connsiteX5" fmla="*/ 3200841 w 3806087"/>
              <a:gd name="connsiteY5" fmla="*/ 7706610 h 7712960"/>
              <a:gd name="connsiteX6" fmla="*/ 108395 w 3806087"/>
              <a:gd name="connsiteY6" fmla="*/ 7712960 h 7712960"/>
              <a:gd name="connsiteX7" fmla="*/ 114375 w 3806087"/>
              <a:gd name="connsiteY7" fmla="*/ 6055160 h 7712960"/>
              <a:gd name="connsiteX8" fmla="*/ 114640 w 3806087"/>
              <a:gd name="connsiteY8" fmla="*/ 1939931 h 7712960"/>
              <a:gd name="connsiteX0" fmla="*/ 6245 w 3697692"/>
              <a:gd name="connsiteY0" fmla="*/ 1817608 h 7590637"/>
              <a:gd name="connsiteX1" fmla="*/ 16123 w 3697692"/>
              <a:gd name="connsiteY1" fmla="*/ 12560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2475 w 3697692"/>
              <a:gd name="connsiteY1" fmla="*/ 346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6245 w 3697692"/>
              <a:gd name="connsiteY0" fmla="*/ 1817608 h 7590637"/>
              <a:gd name="connsiteX1" fmla="*/ 7024 w 3697692"/>
              <a:gd name="connsiteY1" fmla="*/ 8012 h 7590637"/>
              <a:gd name="connsiteX2" fmla="*/ 1657185 w 3697692"/>
              <a:gd name="connsiteY2" fmla="*/ 7652 h 7590637"/>
              <a:gd name="connsiteX3" fmla="*/ 3696950 w 3697692"/>
              <a:gd name="connsiteY3" fmla="*/ 1 h 7590637"/>
              <a:gd name="connsiteX4" fmla="*/ 3693775 w 3697692"/>
              <a:gd name="connsiteY4" fmla="*/ 6982958 h 7590637"/>
              <a:gd name="connsiteX5" fmla="*/ 3092446 w 3697692"/>
              <a:gd name="connsiteY5" fmla="*/ 7584287 h 7590637"/>
              <a:gd name="connsiteX6" fmla="*/ 0 w 3697692"/>
              <a:gd name="connsiteY6" fmla="*/ 7590637 h 7590637"/>
              <a:gd name="connsiteX7" fmla="*/ 5980 w 3697692"/>
              <a:gd name="connsiteY7" fmla="*/ 5932837 h 7590637"/>
              <a:gd name="connsiteX8" fmla="*/ 6245 w 3697692"/>
              <a:gd name="connsiteY8" fmla="*/ 1817608 h 7590637"/>
              <a:gd name="connsiteX0" fmla="*/ 272769 w 3964216"/>
              <a:gd name="connsiteY0" fmla="*/ 2405824 h 8178853"/>
              <a:gd name="connsiteX1" fmla="*/ 273548 w 3964216"/>
              <a:gd name="connsiteY1" fmla="*/ 596228 h 8178853"/>
              <a:gd name="connsiteX2" fmla="*/ 3963474 w 3964216"/>
              <a:gd name="connsiteY2" fmla="*/ 588217 h 8178853"/>
              <a:gd name="connsiteX3" fmla="*/ 3960299 w 3964216"/>
              <a:gd name="connsiteY3" fmla="*/ 7571174 h 8178853"/>
              <a:gd name="connsiteX4" fmla="*/ 3358970 w 3964216"/>
              <a:gd name="connsiteY4" fmla="*/ 8172503 h 8178853"/>
              <a:gd name="connsiteX5" fmla="*/ 266524 w 3964216"/>
              <a:gd name="connsiteY5" fmla="*/ 8178853 h 8178853"/>
              <a:gd name="connsiteX6" fmla="*/ 272504 w 3964216"/>
              <a:gd name="connsiteY6" fmla="*/ 6521053 h 8178853"/>
              <a:gd name="connsiteX7" fmla="*/ 272769 w 3964216"/>
              <a:gd name="connsiteY7" fmla="*/ 2405824 h 8178853"/>
              <a:gd name="connsiteX0" fmla="*/ 272549 w 3963996"/>
              <a:gd name="connsiteY0" fmla="*/ 2405824 h 8178853"/>
              <a:gd name="connsiteX1" fmla="*/ 273328 w 3963996"/>
              <a:gd name="connsiteY1" fmla="*/ 596228 h 8178853"/>
              <a:gd name="connsiteX2" fmla="*/ 3963254 w 3963996"/>
              <a:gd name="connsiteY2" fmla="*/ 588217 h 8178853"/>
              <a:gd name="connsiteX3" fmla="*/ 3960079 w 3963996"/>
              <a:gd name="connsiteY3" fmla="*/ 7571174 h 8178853"/>
              <a:gd name="connsiteX4" fmla="*/ 3358750 w 3963996"/>
              <a:gd name="connsiteY4" fmla="*/ 8172503 h 8178853"/>
              <a:gd name="connsiteX5" fmla="*/ 266304 w 3963996"/>
              <a:gd name="connsiteY5" fmla="*/ 8178853 h 8178853"/>
              <a:gd name="connsiteX6" fmla="*/ 272549 w 3963996"/>
              <a:gd name="connsiteY6" fmla="*/ 2405824 h 8178853"/>
              <a:gd name="connsiteX0" fmla="*/ 233502 w 3924949"/>
              <a:gd name="connsiteY0" fmla="*/ 2328177 h 8101206"/>
              <a:gd name="connsiteX1" fmla="*/ 234281 w 3924949"/>
              <a:gd name="connsiteY1" fmla="*/ 518581 h 8101206"/>
              <a:gd name="connsiteX2" fmla="*/ 3924207 w 3924949"/>
              <a:gd name="connsiteY2" fmla="*/ 510570 h 8101206"/>
              <a:gd name="connsiteX3" fmla="*/ 3921032 w 3924949"/>
              <a:gd name="connsiteY3" fmla="*/ 7493527 h 8101206"/>
              <a:gd name="connsiteX4" fmla="*/ 3319703 w 3924949"/>
              <a:gd name="connsiteY4" fmla="*/ 8094856 h 8101206"/>
              <a:gd name="connsiteX5" fmla="*/ 227257 w 3924949"/>
              <a:gd name="connsiteY5" fmla="*/ 8101206 h 8101206"/>
              <a:gd name="connsiteX6" fmla="*/ 233502 w 3924949"/>
              <a:gd name="connsiteY6" fmla="*/ 2328177 h 8101206"/>
              <a:gd name="connsiteX0" fmla="*/ 421024 w 4118716"/>
              <a:gd name="connsiteY0" fmla="*/ 8101206 h 8101206"/>
              <a:gd name="connsiteX1" fmla="*/ 428048 w 4118716"/>
              <a:gd name="connsiteY1" fmla="*/ 518581 h 8101206"/>
              <a:gd name="connsiteX2" fmla="*/ 4117974 w 4118716"/>
              <a:gd name="connsiteY2" fmla="*/ 510570 h 8101206"/>
              <a:gd name="connsiteX3" fmla="*/ 4114799 w 4118716"/>
              <a:gd name="connsiteY3" fmla="*/ 7493527 h 8101206"/>
              <a:gd name="connsiteX4" fmla="*/ 3513470 w 4118716"/>
              <a:gd name="connsiteY4" fmla="*/ 8094856 h 8101206"/>
              <a:gd name="connsiteX5" fmla="*/ 421024 w 4118716"/>
              <a:gd name="connsiteY5" fmla="*/ 8101206 h 8101206"/>
              <a:gd name="connsiteX0" fmla="*/ 421024 w 4117976"/>
              <a:gd name="connsiteY0" fmla="*/ 7590645 h 7590645"/>
              <a:gd name="connsiteX1" fmla="*/ 428048 w 4117976"/>
              <a:gd name="connsiteY1" fmla="*/ 8020 h 7590645"/>
              <a:gd name="connsiteX2" fmla="*/ 4117974 w 4117976"/>
              <a:gd name="connsiteY2" fmla="*/ 9 h 7590645"/>
              <a:gd name="connsiteX3" fmla="*/ 4114799 w 4117976"/>
              <a:gd name="connsiteY3" fmla="*/ 6982966 h 7590645"/>
              <a:gd name="connsiteX4" fmla="*/ 3513470 w 4117976"/>
              <a:gd name="connsiteY4" fmla="*/ 7584295 h 7590645"/>
              <a:gd name="connsiteX5" fmla="*/ 421024 w 4117976"/>
              <a:gd name="connsiteY5" fmla="*/ 7590645 h 7590645"/>
              <a:gd name="connsiteX0" fmla="*/ 267594 w 3964546"/>
              <a:gd name="connsiteY0" fmla="*/ 7590645 h 7590649"/>
              <a:gd name="connsiteX1" fmla="*/ 274618 w 3964546"/>
              <a:gd name="connsiteY1" fmla="*/ 8020 h 7590649"/>
              <a:gd name="connsiteX2" fmla="*/ 3964544 w 3964546"/>
              <a:gd name="connsiteY2" fmla="*/ 9 h 7590649"/>
              <a:gd name="connsiteX3" fmla="*/ 3961369 w 3964546"/>
              <a:gd name="connsiteY3" fmla="*/ 6982966 h 7590649"/>
              <a:gd name="connsiteX4" fmla="*/ 3360040 w 3964546"/>
              <a:gd name="connsiteY4" fmla="*/ 7584295 h 7590649"/>
              <a:gd name="connsiteX5" fmla="*/ 267594 w 3964546"/>
              <a:gd name="connsiteY5" fmla="*/ 7590645 h 7590649"/>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0 w 3696952"/>
              <a:gd name="connsiteY0" fmla="*/ 7590645 h 7590648"/>
              <a:gd name="connsiteX1" fmla="*/ 7024 w 3696952"/>
              <a:gd name="connsiteY1" fmla="*/ 8020 h 7590648"/>
              <a:gd name="connsiteX2" fmla="*/ 3696950 w 3696952"/>
              <a:gd name="connsiteY2" fmla="*/ 9 h 7590648"/>
              <a:gd name="connsiteX3" fmla="*/ 3693775 w 3696952"/>
              <a:gd name="connsiteY3" fmla="*/ 6982966 h 7590648"/>
              <a:gd name="connsiteX4" fmla="*/ 3092446 w 3696952"/>
              <a:gd name="connsiteY4" fmla="*/ 7584295 h 7590648"/>
              <a:gd name="connsiteX5" fmla="*/ 0 w 3696952"/>
              <a:gd name="connsiteY5" fmla="*/ 7590645 h 7590648"/>
              <a:gd name="connsiteX0" fmla="*/ 233188 w 4204327"/>
              <a:gd name="connsiteY0" fmla="*/ 8113897 h 8675207"/>
              <a:gd name="connsiteX1" fmla="*/ 214333 w 4204327"/>
              <a:gd name="connsiteY1" fmla="*/ 514019 h 8675207"/>
              <a:gd name="connsiteX2" fmla="*/ 3930138 w 4204327"/>
              <a:gd name="connsiteY2" fmla="*/ 523261 h 8675207"/>
              <a:gd name="connsiteX3" fmla="*/ 3926963 w 4204327"/>
              <a:gd name="connsiteY3" fmla="*/ 7506218 h 8675207"/>
              <a:gd name="connsiteX4" fmla="*/ 3325634 w 4204327"/>
              <a:gd name="connsiteY4" fmla="*/ 8107547 h 8675207"/>
              <a:gd name="connsiteX5" fmla="*/ 233188 w 4204327"/>
              <a:gd name="connsiteY5" fmla="*/ 8113897 h 8675207"/>
              <a:gd name="connsiteX0" fmla="*/ 233188 w 4204327"/>
              <a:gd name="connsiteY0" fmla="*/ 8132898 h 8694208"/>
              <a:gd name="connsiteX1" fmla="*/ 214333 w 4204327"/>
              <a:gd name="connsiteY1" fmla="*/ 533020 h 8694208"/>
              <a:gd name="connsiteX2" fmla="*/ 3930138 w 4204327"/>
              <a:gd name="connsiteY2" fmla="*/ 542262 h 8694208"/>
              <a:gd name="connsiteX3" fmla="*/ 3926963 w 4204327"/>
              <a:gd name="connsiteY3" fmla="*/ 7525219 h 8694208"/>
              <a:gd name="connsiteX4" fmla="*/ 3325634 w 4204327"/>
              <a:gd name="connsiteY4" fmla="*/ 8126548 h 8694208"/>
              <a:gd name="connsiteX5" fmla="*/ 233188 w 4204327"/>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32898 h 8694208"/>
              <a:gd name="connsiteX1" fmla="*/ 208663 w 4207921"/>
              <a:gd name="connsiteY1" fmla="*/ 533020 h 8694208"/>
              <a:gd name="connsiteX2" fmla="*/ 3933094 w 4207921"/>
              <a:gd name="connsiteY2" fmla="*/ 542262 h 8694208"/>
              <a:gd name="connsiteX3" fmla="*/ 3929919 w 4207921"/>
              <a:gd name="connsiteY3" fmla="*/ 7525219 h 8694208"/>
              <a:gd name="connsiteX4" fmla="*/ 3328590 w 4207921"/>
              <a:gd name="connsiteY4" fmla="*/ 8126548 h 8694208"/>
              <a:gd name="connsiteX5" fmla="*/ 236144 w 4207921"/>
              <a:gd name="connsiteY5" fmla="*/ 8132898 h 8694208"/>
              <a:gd name="connsiteX0" fmla="*/ 236144 w 4207921"/>
              <a:gd name="connsiteY0" fmla="*/ 8110987 h 8672297"/>
              <a:gd name="connsiteX1" fmla="*/ 208663 w 4207921"/>
              <a:gd name="connsiteY1" fmla="*/ 511109 h 8672297"/>
              <a:gd name="connsiteX2" fmla="*/ 3933094 w 4207921"/>
              <a:gd name="connsiteY2" fmla="*/ 520351 h 8672297"/>
              <a:gd name="connsiteX3" fmla="*/ 3929919 w 4207921"/>
              <a:gd name="connsiteY3" fmla="*/ 7503308 h 8672297"/>
              <a:gd name="connsiteX4" fmla="*/ 3328590 w 4207921"/>
              <a:gd name="connsiteY4" fmla="*/ 8104637 h 8672297"/>
              <a:gd name="connsiteX5" fmla="*/ 236144 w 4207921"/>
              <a:gd name="connsiteY5" fmla="*/ 8110987 h 8672297"/>
              <a:gd name="connsiteX0" fmla="*/ 237638 w 4209735"/>
              <a:gd name="connsiteY0" fmla="*/ 8110987 h 8672297"/>
              <a:gd name="connsiteX1" fmla="*/ 205843 w 4209735"/>
              <a:gd name="connsiteY1" fmla="*/ 511109 h 8672297"/>
              <a:gd name="connsiteX2" fmla="*/ 3934588 w 4209735"/>
              <a:gd name="connsiteY2" fmla="*/ 520351 h 8672297"/>
              <a:gd name="connsiteX3" fmla="*/ 3931413 w 4209735"/>
              <a:gd name="connsiteY3" fmla="*/ 7503308 h 8672297"/>
              <a:gd name="connsiteX4" fmla="*/ 3330084 w 4209735"/>
              <a:gd name="connsiteY4" fmla="*/ 8104637 h 8672297"/>
              <a:gd name="connsiteX5" fmla="*/ 237638 w 4209735"/>
              <a:gd name="connsiteY5" fmla="*/ 8110987 h 8672297"/>
              <a:gd name="connsiteX0" fmla="*/ 240682 w 4212779"/>
              <a:gd name="connsiteY0" fmla="*/ 8110987 h 8672297"/>
              <a:gd name="connsiteX1" fmla="*/ 208887 w 4212779"/>
              <a:gd name="connsiteY1" fmla="*/ 511109 h 8672297"/>
              <a:gd name="connsiteX2" fmla="*/ 3937632 w 4212779"/>
              <a:gd name="connsiteY2" fmla="*/ 520351 h 8672297"/>
              <a:gd name="connsiteX3" fmla="*/ 3934457 w 4212779"/>
              <a:gd name="connsiteY3" fmla="*/ 7503308 h 8672297"/>
              <a:gd name="connsiteX4" fmla="*/ 3333128 w 4212779"/>
              <a:gd name="connsiteY4" fmla="*/ 8104637 h 8672297"/>
              <a:gd name="connsiteX5" fmla="*/ 240682 w 4212779"/>
              <a:gd name="connsiteY5" fmla="*/ 8110987 h 8672297"/>
              <a:gd name="connsiteX0" fmla="*/ 240682 w 3937636"/>
              <a:gd name="connsiteY0" fmla="*/ 8122488 h 8683798"/>
              <a:gd name="connsiteX1" fmla="*/ 208887 w 3937636"/>
              <a:gd name="connsiteY1" fmla="*/ 522610 h 8683798"/>
              <a:gd name="connsiteX2" fmla="*/ 3937632 w 3937636"/>
              <a:gd name="connsiteY2" fmla="*/ 531852 h 8683798"/>
              <a:gd name="connsiteX3" fmla="*/ 3934457 w 3937636"/>
              <a:gd name="connsiteY3" fmla="*/ 7514809 h 8683798"/>
              <a:gd name="connsiteX4" fmla="*/ 3333128 w 3937636"/>
              <a:gd name="connsiteY4" fmla="*/ 8116138 h 8683798"/>
              <a:gd name="connsiteX5" fmla="*/ 240682 w 3937636"/>
              <a:gd name="connsiteY5" fmla="*/ 8122488 h 8683798"/>
              <a:gd name="connsiteX0" fmla="*/ 240682 w 4074758"/>
              <a:gd name="connsiteY0" fmla="*/ 7599878 h 8161188"/>
              <a:gd name="connsiteX1" fmla="*/ 208887 w 4074758"/>
              <a:gd name="connsiteY1" fmla="*/ 0 h 8161188"/>
              <a:gd name="connsiteX2" fmla="*/ 3937632 w 4074758"/>
              <a:gd name="connsiteY2" fmla="*/ 9242 h 8161188"/>
              <a:gd name="connsiteX3" fmla="*/ 3934457 w 4074758"/>
              <a:gd name="connsiteY3" fmla="*/ 6992199 h 8161188"/>
              <a:gd name="connsiteX4" fmla="*/ 3333128 w 4074758"/>
              <a:gd name="connsiteY4" fmla="*/ 7593528 h 8161188"/>
              <a:gd name="connsiteX5" fmla="*/ 240682 w 4074758"/>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8161188"/>
              <a:gd name="connsiteX1" fmla="*/ 208887 w 3937632"/>
              <a:gd name="connsiteY1" fmla="*/ 0 h 8161188"/>
              <a:gd name="connsiteX2" fmla="*/ 3937632 w 3937632"/>
              <a:gd name="connsiteY2" fmla="*/ 9242 h 8161188"/>
              <a:gd name="connsiteX3" fmla="*/ 3934457 w 3937632"/>
              <a:gd name="connsiteY3" fmla="*/ 6992199 h 8161188"/>
              <a:gd name="connsiteX4" fmla="*/ 3333128 w 3937632"/>
              <a:gd name="connsiteY4" fmla="*/ 7593528 h 8161188"/>
              <a:gd name="connsiteX5" fmla="*/ 240682 w 3937632"/>
              <a:gd name="connsiteY5" fmla="*/ 7599878 h 8161188"/>
              <a:gd name="connsiteX0" fmla="*/ 240682 w 3937632"/>
              <a:gd name="connsiteY0" fmla="*/ 7599878 h 7599878"/>
              <a:gd name="connsiteX1" fmla="*/ 208887 w 3937632"/>
              <a:gd name="connsiteY1" fmla="*/ 0 h 7599878"/>
              <a:gd name="connsiteX2" fmla="*/ 3937632 w 3937632"/>
              <a:gd name="connsiteY2" fmla="*/ 9242 h 7599878"/>
              <a:gd name="connsiteX3" fmla="*/ 3934457 w 3937632"/>
              <a:gd name="connsiteY3" fmla="*/ 6992199 h 7599878"/>
              <a:gd name="connsiteX4" fmla="*/ 3333128 w 3937632"/>
              <a:gd name="connsiteY4" fmla="*/ 7593528 h 7599878"/>
              <a:gd name="connsiteX5" fmla="*/ 240682 w 3937632"/>
              <a:gd name="connsiteY5" fmla="*/ 7599878 h 7599878"/>
              <a:gd name="connsiteX0" fmla="*/ 31930 w 3728880"/>
              <a:gd name="connsiteY0" fmla="*/ 7599878 h 7599882"/>
              <a:gd name="connsiteX1" fmla="*/ 135 w 3728880"/>
              <a:gd name="connsiteY1" fmla="*/ 0 h 7599882"/>
              <a:gd name="connsiteX2" fmla="*/ 3728880 w 3728880"/>
              <a:gd name="connsiteY2" fmla="*/ 9242 h 7599882"/>
              <a:gd name="connsiteX3" fmla="*/ 3725705 w 3728880"/>
              <a:gd name="connsiteY3" fmla="*/ 6992199 h 7599882"/>
              <a:gd name="connsiteX4" fmla="*/ 3124376 w 3728880"/>
              <a:gd name="connsiteY4" fmla="*/ 7593528 h 7599882"/>
              <a:gd name="connsiteX5" fmla="*/ 31930 w 3728880"/>
              <a:gd name="connsiteY5" fmla="*/ 7599878 h 7599882"/>
              <a:gd name="connsiteX0" fmla="*/ 0 w 3969541"/>
              <a:gd name="connsiteY0" fmla="*/ 8109171 h 8109175"/>
              <a:gd name="connsiteX1" fmla="*/ 2710 w 3969541"/>
              <a:gd name="connsiteY1" fmla="*/ 513606 h 8109175"/>
              <a:gd name="connsiteX2" fmla="*/ 3696950 w 3969541"/>
              <a:gd name="connsiteY2" fmla="*/ 518535 h 8109175"/>
              <a:gd name="connsiteX3" fmla="*/ 3693775 w 3969541"/>
              <a:gd name="connsiteY3" fmla="*/ 7501492 h 8109175"/>
              <a:gd name="connsiteX4" fmla="*/ 3092446 w 3969541"/>
              <a:gd name="connsiteY4" fmla="*/ 8102821 h 8109175"/>
              <a:gd name="connsiteX5" fmla="*/ 0 w 3969541"/>
              <a:gd name="connsiteY5" fmla="*/ 8109171 h 8109175"/>
              <a:gd name="connsiteX0" fmla="*/ 0 w 3696950"/>
              <a:gd name="connsiteY0" fmla="*/ 7595565 h 7595569"/>
              <a:gd name="connsiteX1" fmla="*/ 2710 w 3696950"/>
              <a:gd name="connsiteY1" fmla="*/ 0 h 7595569"/>
              <a:gd name="connsiteX2" fmla="*/ 3696950 w 3696950"/>
              <a:gd name="connsiteY2" fmla="*/ 4929 h 7595569"/>
              <a:gd name="connsiteX3" fmla="*/ 3693775 w 3696950"/>
              <a:gd name="connsiteY3" fmla="*/ 6987886 h 7595569"/>
              <a:gd name="connsiteX4" fmla="*/ 3092446 w 3696950"/>
              <a:gd name="connsiteY4" fmla="*/ 7589215 h 7595569"/>
              <a:gd name="connsiteX5" fmla="*/ 0 w 3696950"/>
              <a:gd name="connsiteY5" fmla="*/ 7595565 h 7595569"/>
              <a:gd name="connsiteX0" fmla="*/ 1554089 w 5638947"/>
              <a:gd name="connsiteY0" fmla="*/ 8107669 h 8107673"/>
              <a:gd name="connsiteX1" fmla="*/ 4 w 5638947"/>
              <a:gd name="connsiteY1" fmla="*/ 517891 h 8107673"/>
              <a:gd name="connsiteX2" fmla="*/ 5251039 w 5638947"/>
              <a:gd name="connsiteY2" fmla="*/ 517033 h 8107673"/>
              <a:gd name="connsiteX3" fmla="*/ 5247864 w 5638947"/>
              <a:gd name="connsiteY3" fmla="*/ 7499990 h 8107673"/>
              <a:gd name="connsiteX4" fmla="*/ 4646535 w 5638947"/>
              <a:gd name="connsiteY4" fmla="*/ 8101319 h 8107673"/>
              <a:gd name="connsiteX5" fmla="*/ 1554089 w 5638947"/>
              <a:gd name="connsiteY5" fmla="*/ 8107669 h 8107673"/>
              <a:gd name="connsiteX0" fmla="*/ 0 w 5641653"/>
              <a:gd name="connsiteY0" fmla="*/ 8119244 h 8119248"/>
              <a:gd name="connsiteX1" fmla="*/ 2710 w 5641653"/>
              <a:gd name="connsiteY1" fmla="*/ 517891 h 8119248"/>
              <a:gd name="connsiteX2" fmla="*/ 5253745 w 5641653"/>
              <a:gd name="connsiteY2" fmla="*/ 517033 h 8119248"/>
              <a:gd name="connsiteX3" fmla="*/ 5250570 w 5641653"/>
              <a:gd name="connsiteY3" fmla="*/ 7499990 h 8119248"/>
              <a:gd name="connsiteX4" fmla="*/ 4649241 w 5641653"/>
              <a:gd name="connsiteY4" fmla="*/ 8101319 h 8119248"/>
              <a:gd name="connsiteX5" fmla="*/ 0 w 5641653"/>
              <a:gd name="connsiteY5" fmla="*/ 8119244 h 8119248"/>
              <a:gd name="connsiteX0" fmla="*/ 0 w 5641653"/>
              <a:gd name="connsiteY0" fmla="*/ 8113457 h 8113461"/>
              <a:gd name="connsiteX1" fmla="*/ 2710 w 5641653"/>
              <a:gd name="connsiteY1" fmla="*/ 517891 h 8113461"/>
              <a:gd name="connsiteX2" fmla="*/ 5253745 w 5641653"/>
              <a:gd name="connsiteY2" fmla="*/ 517033 h 8113461"/>
              <a:gd name="connsiteX3" fmla="*/ 5250570 w 5641653"/>
              <a:gd name="connsiteY3" fmla="*/ 7499990 h 8113461"/>
              <a:gd name="connsiteX4" fmla="*/ 4649241 w 5641653"/>
              <a:gd name="connsiteY4" fmla="*/ 8101319 h 8113461"/>
              <a:gd name="connsiteX5" fmla="*/ 0 w 5641653"/>
              <a:gd name="connsiteY5" fmla="*/ 8113457 h 8113461"/>
              <a:gd name="connsiteX0" fmla="*/ 0 w 5253841"/>
              <a:gd name="connsiteY0" fmla="*/ 7596424 h 7596428"/>
              <a:gd name="connsiteX1" fmla="*/ 2710 w 5253841"/>
              <a:gd name="connsiteY1" fmla="*/ 858 h 7596428"/>
              <a:gd name="connsiteX2" fmla="*/ 5253745 w 5253841"/>
              <a:gd name="connsiteY2" fmla="*/ 0 h 7596428"/>
              <a:gd name="connsiteX3" fmla="*/ 5250570 w 5253841"/>
              <a:gd name="connsiteY3" fmla="*/ 6982957 h 7596428"/>
              <a:gd name="connsiteX4" fmla="*/ 4649241 w 5253841"/>
              <a:gd name="connsiteY4" fmla="*/ 7584286 h 7596428"/>
              <a:gd name="connsiteX5" fmla="*/ 0 w 5253841"/>
              <a:gd name="connsiteY5" fmla="*/ 7596424 h 759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3841" h="7596428">
                <a:moveTo>
                  <a:pt x="0" y="7596424"/>
                </a:moveTo>
                <a:cubicBezTo>
                  <a:pt x="14131" y="7603232"/>
                  <a:pt x="-312" y="376121"/>
                  <a:pt x="2710" y="858"/>
                </a:cubicBezTo>
                <a:lnTo>
                  <a:pt x="5253745" y="0"/>
                </a:lnTo>
                <a:cubicBezTo>
                  <a:pt x="5254499" y="427"/>
                  <a:pt x="5250570" y="4655479"/>
                  <a:pt x="5250570" y="6982957"/>
                </a:cubicBezTo>
                <a:cubicBezTo>
                  <a:pt x="5250570" y="7315062"/>
                  <a:pt x="4981346" y="7584286"/>
                  <a:pt x="4649241" y="7584286"/>
                </a:cubicBezTo>
                <a:lnTo>
                  <a:pt x="0" y="7596424"/>
                </a:lnTo>
                <a:close/>
              </a:path>
            </a:pathLst>
          </a:custGeom>
        </p:spPr>
        <p:txBody>
          <a:bodyPr/>
          <a:lstStyle/>
          <a:p>
            <a:r>
              <a:rPr lang="en-US"/>
              <a:t>    </a:t>
            </a:r>
          </a:p>
        </p:txBody>
      </p:sp>
    </p:spTree>
    <p:extLst>
      <p:ext uri="{BB962C8B-B14F-4D97-AF65-F5344CB8AC3E}">
        <p14:creationId xmlns:p14="http://schemas.microsoft.com/office/powerpoint/2010/main" val="267079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3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0" y="0"/>
            <a:ext cx="2714196" cy="3739409"/>
          </a:xfrm>
          <a:solidFill>
            <a:schemeClr val="bg1">
              <a:lumMod val="95000"/>
            </a:schemeClr>
          </a:solidFill>
        </p:spPr>
        <p:txBody>
          <a:bodyPr>
            <a:normAutofit/>
          </a:bodyPr>
          <a:lstStyle>
            <a:lvl1pPr>
              <a:defRPr sz="1158"/>
            </a:lvl1pPr>
          </a:lstStyle>
          <a:p>
            <a:endParaRPr lang="en-US"/>
          </a:p>
        </p:txBody>
      </p:sp>
      <p:sp>
        <p:nvSpPr>
          <p:cNvPr id="18" name="Picture Placeholder 2"/>
          <p:cNvSpPr>
            <a:spLocks noGrp="1"/>
          </p:cNvSpPr>
          <p:nvPr>
            <p:ph type="pic" sz="quarter" idx="22"/>
          </p:nvPr>
        </p:nvSpPr>
        <p:spPr>
          <a:xfrm>
            <a:off x="276" y="3848932"/>
            <a:ext cx="2714196" cy="3713918"/>
          </a:xfr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3"/>
          </p:nvPr>
        </p:nvSpPr>
        <p:spPr>
          <a:xfrm>
            <a:off x="2834700" y="0"/>
            <a:ext cx="2668766" cy="2751165"/>
          </a:xfrm>
          <a:solidFill>
            <a:schemeClr val="bg1">
              <a:lumMod val="95000"/>
            </a:schemeClr>
          </a:solidFill>
        </p:spPr>
        <p:txBody>
          <a:bodyPr>
            <a:normAutofit/>
          </a:bodyPr>
          <a:lstStyle>
            <a:lvl1pPr>
              <a:defRPr sz="1158"/>
            </a:lvl1pPr>
          </a:lstStyle>
          <a:p>
            <a:endParaRPr lang="en-US"/>
          </a:p>
        </p:txBody>
      </p:sp>
      <p:sp>
        <p:nvSpPr>
          <p:cNvPr id="20" name="Picture Placeholder 2"/>
          <p:cNvSpPr>
            <a:spLocks noGrp="1"/>
          </p:cNvSpPr>
          <p:nvPr>
            <p:ph type="pic" sz="quarter" idx="24"/>
          </p:nvPr>
        </p:nvSpPr>
        <p:spPr>
          <a:xfrm>
            <a:off x="2834700" y="2860687"/>
            <a:ext cx="2668766" cy="4702163"/>
          </a:xfrm>
          <a:solidFill>
            <a:schemeClr val="bg1">
              <a:lumMod val="95000"/>
            </a:schemeClr>
          </a:solidFill>
        </p:spPr>
        <p:txBody>
          <a:bodyPr>
            <a:normAutofit/>
          </a:bodyPr>
          <a:lstStyle>
            <a:lvl1pPr>
              <a:defRPr sz="1158"/>
            </a:lvl1pPr>
          </a:lstStyle>
          <a:p>
            <a:endParaRPr lang="en-US"/>
          </a:p>
        </p:txBody>
      </p:sp>
      <p:sp>
        <p:nvSpPr>
          <p:cNvPr id="25" name="Picture Placeholder 2"/>
          <p:cNvSpPr>
            <a:spLocks noGrp="1"/>
          </p:cNvSpPr>
          <p:nvPr>
            <p:ph type="pic" sz="quarter" idx="25"/>
          </p:nvPr>
        </p:nvSpPr>
        <p:spPr>
          <a:xfrm>
            <a:off x="5634651" y="3"/>
            <a:ext cx="2679170" cy="5173428"/>
          </a:xfrm>
          <a:solidFill>
            <a:schemeClr val="bg1">
              <a:lumMod val="95000"/>
            </a:schemeClr>
          </a:solidFill>
        </p:spPr>
        <p:txBody>
          <a:bodyPr>
            <a:normAutofit/>
          </a:bodyPr>
          <a:lstStyle>
            <a:lvl1pPr>
              <a:defRPr sz="1158"/>
            </a:lvl1pPr>
          </a:lstStyle>
          <a:p>
            <a:endParaRPr lang="en-US"/>
          </a:p>
        </p:txBody>
      </p:sp>
      <p:sp>
        <p:nvSpPr>
          <p:cNvPr id="26" name="Picture Placeholder 2"/>
          <p:cNvSpPr>
            <a:spLocks noGrp="1"/>
          </p:cNvSpPr>
          <p:nvPr>
            <p:ph type="pic" sz="quarter" idx="26"/>
          </p:nvPr>
        </p:nvSpPr>
        <p:spPr>
          <a:xfrm>
            <a:off x="5623694" y="5282953"/>
            <a:ext cx="2690127" cy="227990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40107006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2_Placeholder">
    <p:spTree>
      <p:nvGrpSpPr>
        <p:cNvPr id="1" name=""/>
        <p:cNvGrpSpPr/>
        <p:nvPr/>
      </p:nvGrpSpPr>
      <p:grpSpPr>
        <a:xfrm>
          <a:off x="0" y="0"/>
          <a:ext cx="0" cy="0"/>
          <a:chOff x="0" y="0"/>
          <a:chExt cx="0" cy="0"/>
        </a:xfrm>
      </p:grpSpPr>
      <p:sp>
        <p:nvSpPr>
          <p:cNvPr id="17" name="Picture Placeholder 2"/>
          <p:cNvSpPr>
            <a:spLocks noGrp="1"/>
          </p:cNvSpPr>
          <p:nvPr>
            <p:ph type="pic" sz="quarter" idx="21"/>
          </p:nvPr>
        </p:nvSpPr>
        <p:spPr>
          <a:xfrm>
            <a:off x="5130719" y="0"/>
            <a:ext cx="2714196" cy="3739409"/>
          </a:xfrm>
          <a:solidFill>
            <a:schemeClr val="bg1">
              <a:lumMod val="95000"/>
            </a:schemeClr>
          </a:solidFill>
        </p:spPr>
        <p:txBody>
          <a:bodyPr>
            <a:normAutofit/>
          </a:bodyPr>
          <a:lstStyle>
            <a:lvl1pPr>
              <a:defRPr sz="1158"/>
            </a:lvl1pPr>
          </a:lstStyle>
          <a:p>
            <a:endParaRPr lang="en-US"/>
          </a:p>
        </p:txBody>
      </p:sp>
      <p:sp>
        <p:nvSpPr>
          <p:cNvPr id="18" name="Picture Placeholder 2"/>
          <p:cNvSpPr>
            <a:spLocks noGrp="1"/>
          </p:cNvSpPr>
          <p:nvPr>
            <p:ph type="pic" sz="quarter" idx="22"/>
          </p:nvPr>
        </p:nvSpPr>
        <p:spPr>
          <a:xfrm>
            <a:off x="5130995" y="3848932"/>
            <a:ext cx="2714196" cy="3713918"/>
          </a:xfrm>
          <a:solidFill>
            <a:schemeClr val="bg1">
              <a:lumMod val="95000"/>
            </a:schemeClr>
          </a:solidFill>
        </p:spPr>
        <p:txBody>
          <a:bodyPr>
            <a:normAutofit/>
          </a:bodyPr>
          <a:lstStyle>
            <a:lvl1pPr>
              <a:defRPr sz="1158"/>
            </a:lvl1pPr>
          </a:lstStyle>
          <a:p>
            <a:endParaRPr lang="en-US"/>
          </a:p>
        </p:txBody>
      </p:sp>
      <p:sp>
        <p:nvSpPr>
          <p:cNvPr id="19" name="Picture Placeholder 2"/>
          <p:cNvSpPr>
            <a:spLocks noGrp="1"/>
          </p:cNvSpPr>
          <p:nvPr>
            <p:ph type="pic" sz="quarter" idx="23"/>
          </p:nvPr>
        </p:nvSpPr>
        <p:spPr>
          <a:xfrm>
            <a:off x="7965418" y="0"/>
            <a:ext cx="2668766" cy="2751165"/>
          </a:xfrm>
          <a:solidFill>
            <a:schemeClr val="bg1">
              <a:lumMod val="95000"/>
            </a:schemeClr>
          </a:solidFill>
        </p:spPr>
        <p:txBody>
          <a:bodyPr>
            <a:normAutofit/>
          </a:bodyPr>
          <a:lstStyle>
            <a:lvl1pPr>
              <a:defRPr sz="1158"/>
            </a:lvl1pPr>
          </a:lstStyle>
          <a:p>
            <a:endParaRPr lang="en-US"/>
          </a:p>
        </p:txBody>
      </p:sp>
      <p:sp>
        <p:nvSpPr>
          <p:cNvPr id="20" name="Picture Placeholder 2"/>
          <p:cNvSpPr>
            <a:spLocks noGrp="1"/>
          </p:cNvSpPr>
          <p:nvPr>
            <p:ph type="pic" sz="quarter" idx="24"/>
          </p:nvPr>
        </p:nvSpPr>
        <p:spPr>
          <a:xfrm>
            <a:off x="7965418" y="2860687"/>
            <a:ext cx="2668766" cy="4702163"/>
          </a:xfrm>
          <a:solidFill>
            <a:schemeClr val="bg1">
              <a:lumMod val="95000"/>
            </a:schemeClr>
          </a:solidFill>
        </p:spPr>
        <p:txBody>
          <a:bodyPr>
            <a:normAutofit/>
          </a:bodyPr>
          <a:lstStyle>
            <a:lvl1pPr>
              <a:defRPr sz="1158"/>
            </a:lvl1pPr>
          </a:lstStyle>
          <a:p>
            <a:endParaRPr lang="en-US"/>
          </a:p>
        </p:txBody>
      </p:sp>
      <p:sp>
        <p:nvSpPr>
          <p:cNvPr id="25" name="Picture Placeholder 2"/>
          <p:cNvSpPr>
            <a:spLocks noGrp="1"/>
          </p:cNvSpPr>
          <p:nvPr>
            <p:ph type="pic" sz="quarter" idx="25"/>
          </p:nvPr>
        </p:nvSpPr>
        <p:spPr>
          <a:xfrm>
            <a:off x="10765370" y="3"/>
            <a:ext cx="2679170" cy="5173428"/>
          </a:xfrm>
          <a:solidFill>
            <a:schemeClr val="bg1">
              <a:lumMod val="95000"/>
            </a:schemeClr>
          </a:solidFill>
        </p:spPr>
        <p:txBody>
          <a:bodyPr>
            <a:normAutofit/>
          </a:bodyPr>
          <a:lstStyle>
            <a:lvl1pPr>
              <a:defRPr sz="1158"/>
            </a:lvl1pPr>
          </a:lstStyle>
          <a:p>
            <a:endParaRPr lang="en-US"/>
          </a:p>
        </p:txBody>
      </p:sp>
      <p:sp>
        <p:nvSpPr>
          <p:cNvPr id="26" name="Picture Placeholder 2"/>
          <p:cNvSpPr>
            <a:spLocks noGrp="1"/>
          </p:cNvSpPr>
          <p:nvPr>
            <p:ph type="pic" sz="quarter" idx="26"/>
          </p:nvPr>
        </p:nvSpPr>
        <p:spPr>
          <a:xfrm>
            <a:off x="10754413" y="5282953"/>
            <a:ext cx="2690127" cy="227990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4110530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4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6701257" y="3069973"/>
            <a:ext cx="6743281" cy="3038122"/>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3319619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5_Placeholder">
    <p:spTree>
      <p:nvGrpSpPr>
        <p:cNvPr id="1" name=""/>
        <p:cNvGrpSpPr/>
        <p:nvPr/>
      </p:nvGrpSpPr>
      <p:grpSpPr>
        <a:xfrm>
          <a:off x="0" y="0"/>
          <a:ext cx="0" cy="0"/>
          <a:chOff x="0" y="0"/>
          <a:chExt cx="0" cy="0"/>
        </a:xfrm>
      </p:grpSpPr>
      <p:sp>
        <p:nvSpPr>
          <p:cNvPr id="9" name="Picture Placeholder 2"/>
          <p:cNvSpPr>
            <a:spLocks noGrp="1"/>
          </p:cNvSpPr>
          <p:nvPr>
            <p:ph type="pic" sz="quarter" idx="26"/>
          </p:nvPr>
        </p:nvSpPr>
        <p:spPr>
          <a:xfrm>
            <a:off x="1" y="3069973"/>
            <a:ext cx="6743281" cy="3038122"/>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42297184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6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0" y="3"/>
            <a:ext cx="6701257"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8465894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0"/>
          </p:nvPr>
        </p:nvSpPr>
        <p:spPr>
          <a:xfrm>
            <a:off x="776096" y="2315568"/>
            <a:ext cx="4060710" cy="3045652"/>
          </a:xfrm>
          <a:prstGeom prst="ellipse">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3066057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67C5D-1D09-4F39-BF17-0352B3AF2343}"/>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B8F67C5D-1D09-4F39-BF17-0352B3AF2343}"/>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2" name="Picture Placeholder 8"/>
          <p:cNvSpPr>
            <a:spLocks noGrp="1"/>
          </p:cNvSpPr>
          <p:nvPr>
            <p:ph type="pic" sz="quarter" idx="10"/>
          </p:nvPr>
        </p:nvSpPr>
        <p:spPr>
          <a:xfrm>
            <a:off x="2" y="4145562"/>
            <a:ext cx="4355331" cy="3417288"/>
          </a:xfrm>
          <a:solidFill>
            <a:schemeClr val="bg1">
              <a:lumMod val="95000"/>
            </a:schemeClr>
          </a:solidFill>
        </p:spPr>
        <p:txBody>
          <a:bodyPr>
            <a:normAutofit/>
          </a:bodyPr>
          <a:lstStyle>
            <a:lvl1pPr>
              <a:defRPr sz="1158"/>
            </a:lvl1pPr>
          </a:lstStyle>
          <a:p>
            <a:endParaRPr lang="en-US"/>
          </a:p>
        </p:txBody>
      </p:sp>
      <p:sp>
        <p:nvSpPr>
          <p:cNvPr id="13" name="Picture Placeholder 8"/>
          <p:cNvSpPr>
            <a:spLocks noGrp="1"/>
          </p:cNvSpPr>
          <p:nvPr>
            <p:ph type="pic" sz="quarter" idx="11"/>
          </p:nvPr>
        </p:nvSpPr>
        <p:spPr>
          <a:xfrm>
            <a:off x="4542435" y="4145562"/>
            <a:ext cx="4355399" cy="3417288"/>
          </a:xfrm>
          <a:solidFill>
            <a:schemeClr val="bg1">
              <a:lumMod val="95000"/>
            </a:schemeClr>
          </a:solidFill>
        </p:spPr>
        <p:txBody>
          <a:bodyPr>
            <a:normAutofit/>
          </a:bodyPr>
          <a:lstStyle>
            <a:lvl1pPr>
              <a:defRPr sz="1158"/>
            </a:lvl1pPr>
          </a:lstStyle>
          <a:p>
            <a:endParaRPr lang="en-US"/>
          </a:p>
        </p:txBody>
      </p:sp>
      <p:sp>
        <p:nvSpPr>
          <p:cNvPr id="14" name="Picture Placeholder 8"/>
          <p:cNvSpPr>
            <a:spLocks noGrp="1"/>
          </p:cNvSpPr>
          <p:nvPr>
            <p:ph type="pic" sz="quarter" idx="12"/>
          </p:nvPr>
        </p:nvSpPr>
        <p:spPr>
          <a:xfrm>
            <a:off x="9084937" y="4145562"/>
            <a:ext cx="4359602" cy="3417288"/>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2236424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Default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26229" y="909737"/>
            <a:ext cx="4336212" cy="5743382"/>
          </a:xfrm>
          <a:solidFill>
            <a:schemeClr val="bg1">
              <a:lumMod val="95000"/>
            </a:schemeClr>
          </a:solidFill>
        </p:spPr>
        <p:txBody>
          <a:bodyPr/>
          <a:lstStyle/>
          <a:p>
            <a:endParaRPr lang="en-US"/>
          </a:p>
        </p:txBody>
      </p:sp>
    </p:spTree>
    <p:extLst>
      <p:ext uri="{BB962C8B-B14F-4D97-AF65-F5344CB8AC3E}">
        <p14:creationId xmlns:p14="http://schemas.microsoft.com/office/powerpoint/2010/main" val="38835177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8_Mockup">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376073" y="2932532"/>
            <a:ext cx="3313982" cy="2129946"/>
          </a:xfrm>
          <a:solidFill>
            <a:schemeClr val="bg1">
              <a:lumMod val="95000"/>
            </a:schemeClr>
          </a:solidFill>
        </p:spPr>
        <p:txBody>
          <a:bodyPr>
            <a:normAutofit/>
          </a:bodyPr>
          <a:lstStyle>
            <a:lvl1pPr>
              <a:defRPr sz="1158"/>
            </a:lvl1pPr>
          </a:lstStyle>
          <a:p>
            <a:endParaRPr lang="en-US"/>
          </a:p>
        </p:txBody>
      </p:sp>
      <p:sp>
        <p:nvSpPr>
          <p:cNvPr id="10" name="Picture Placeholder 2"/>
          <p:cNvSpPr>
            <a:spLocks noGrp="1"/>
          </p:cNvSpPr>
          <p:nvPr>
            <p:ph type="pic" sz="quarter" idx="11"/>
          </p:nvPr>
        </p:nvSpPr>
        <p:spPr>
          <a:xfrm>
            <a:off x="5044266" y="2932532"/>
            <a:ext cx="3313982" cy="2129946"/>
          </a:xfrm>
          <a:solidFill>
            <a:schemeClr val="bg1">
              <a:lumMod val="95000"/>
            </a:schemeClr>
          </a:solidFill>
        </p:spPr>
        <p:txBody>
          <a:bodyPr>
            <a:normAutofit/>
          </a:bodyPr>
          <a:lstStyle>
            <a:lvl1pPr>
              <a:defRPr sz="1158"/>
            </a:lvl1pPr>
          </a:lstStyle>
          <a:p>
            <a:endParaRPr lang="en-US"/>
          </a:p>
        </p:txBody>
      </p:sp>
      <p:sp>
        <p:nvSpPr>
          <p:cNvPr id="11" name="Picture Placeholder 2"/>
          <p:cNvSpPr>
            <a:spLocks noGrp="1"/>
          </p:cNvSpPr>
          <p:nvPr>
            <p:ph type="pic" sz="quarter" idx="12"/>
          </p:nvPr>
        </p:nvSpPr>
        <p:spPr>
          <a:xfrm>
            <a:off x="8712458" y="2932532"/>
            <a:ext cx="3313982" cy="2129946"/>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374023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Mockup">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89EB75-32C3-4E65-9293-AC6BA7196DE6}"/>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1989EB75-32C3-4E65-9293-AC6BA7196DE6}"/>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9" name="Picture Placeholder 2"/>
          <p:cNvSpPr>
            <a:spLocks noGrp="1"/>
          </p:cNvSpPr>
          <p:nvPr>
            <p:ph type="pic" sz="quarter" idx="10"/>
          </p:nvPr>
        </p:nvSpPr>
        <p:spPr>
          <a:xfrm>
            <a:off x="1376073" y="841726"/>
            <a:ext cx="3313982" cy="1760286"/>
          </a:xfrm>
          <a:solidFill>
            <a:schemeClr val="bg1">
              <a:lumMod val="95000"/>
            </a:schemeClr>
          </a:solidFill>
        </p:spPr>
        <p:txBody>
          <a:bodyPr>
            <a:normAutofit/>
          </a:bodyPr>
          <a:lstStyle>
            <a:lvl1pPr>
              <a:defRPr sz="1158"/>
            </a:lvl1pPr>
          </a:lstStyle>
          <a:p>
            <a:endParaRPr lang="en-US"/>
          </a:p>
        </p:txBody>
      </p:sp>
      <p:sp>
        <p:nvSpPr>
          <p:cNvPr id="10" name="Picture Placeholder 2"/>
          <p:cNvSpPr>
            <a:spLocks noGrp="1"/>
          </p:cNvSpPr>
          <p:nvPr>
            <p:ph type="pic" sz="quarter" idx="11"/>
          </p:nvPr>
        </p:nvSpPr>
        <p:spPr>
          <a:xfrm>
            <a:off x="5044266" y="841726"/>
            <a:ext cx="3313982" cy="1760286"/>
          </a:xfrm>
          <a:solidFill>
            <a:schemeClr val="bg1">
              <a:lumMod val="95000"/>
            </a:schemeClr>
          </a:solidFill>
        </p:spPr>
        <p:txBody>
          <a:bodyPr>
            <a:normAutofit/>
          </a:bodyPr>
          <a:lstStyle>
            <a:lvl1pPr>
              <a:defRPr sz="1158"/>
            </a:lvl1pPr>
          </a:lstStyle>
          <a:p>
            <a:endParaRPr lang="en-US"/>
          </a:p>
        </p:txBody>
      </p:sp>
      <p:sp>
        <p:nvSpPr>
          <p:cNvPr id="11" name="Picture Placeholder 2"/>
          <p:cNvSpPr>
            <a:spLocks noGrp="1"/>
          </p:cNvSpPr>
          <p:nvPr>
            <p:ph type="pic" sz="quarter" idx="12"/>
          </p:nvPr>
        </p:nvSpPr>
        <p:spPr>
          <a:xfrm>
            <a:off x="8712458" y="841726"/>
            <a:ext cx="3313982" cy="1760286"/>
          </a:xfrm>
          <a:solidFill>
            <a:schemeClr val="bg1">
              <a:lumMod val="95000"/>
            </a:schemeClr>
          </a:solidFill>
        </p:spPr>
        <p:txBody>
          <a:bodyPr>
            <a:normAutofit/>
          </a:bodyPr>
          <a:lstStyle>
            <a:lvl1pPr>
              <a:defRPr sz="1158"/>
            </a:lvl1pPr>
          </a:lstStyle>
          <a:p>
            <a:endParaRPr lang="en-US"/>
          </a:p>
        </p:txBody>
      </p:sp>
      <p:sp>
        <p:nvSpPr>
          <p:cNvPr id="8" name="Rectangle 7"/>
          <p:cNvSpPr/>
          <p:nvPr userDrawn="1"/>
        </p:nvSpPr>
        <p:spPr>
          <a:xfrm>
            <a:off x="1376073"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2" name="Rectangle 11"/>
          <p:cNvSpPr/>
          <p:nvPr userDrawn="1"/>
        </p:nvSpPr>
        <p:spPr>
          <a:xfrm>
            <a:off x="5044266"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3" name="Rectangle 12"/>
          <p:cNvSpPr/>
          <p:nvPr userDrawn="1"/>
        </p:nvSpPr>
        <p:spPr>
          <a:xfrm>
            <a:off x="8712458" y="4069673"/>
            <a:ext cx="3313982" cy="17602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4" name="Picture Placeholder 2"/>
          <p:cNvSpPr>
            <a:spLocks noGrp="1"/>
          </p:cNvSpPr>
          <p:nvPr>
            <p:ph type="pic" sz="quarter" idx="13"/>
          </p:nvPr>
        </p:nvSpPr>
        <p:spPr>
          <a:xfrm>
            <a:off x="1376073" y="4069673"/>
            <a:ext cx="3313982" cy="1760286"/>
          </a:xfrm>
          <a:solidFill>
            <a:schemeClr val="bg1">
              <a:lumMod val="95000"/>
            </a:schemeClr>
          </a:solidFill>
        </p:spPr>
        <p:txBody>
          <a:bodyPr>
            <a:normAutofit/>
          </a:bodyPr>
          <a:lstStyle>
            <a:lvl1pPr>
              <a:defRPr sz="1158"/>
            </a:lvl1pPr>
          </a:lstStyle>
          <a:p>
            <a:endParaRPr lang="en-US"/>
          </a:p>
        </p:txBody>
      </p:sp>
      <p:sp>
        <p:nvSpPr>
          <p:cNvPr id="15" name="Picture Placeholder 2"/>
          <p:cNvSpPr>
            <a:spLocks noGrp="1"/>
          </p:cNvSpPr>
          <p:nvPr>
            <p:ph type="pic" sz="quarter" idx="14"/>
          </p:nvPr>
        </p:nvSpPr>
        <p:spPr>
          <a:xfrm>
            <a:off x="5044266" y="4069673"/>
            <a:ext cx="3313982" cy="1760286"/>
          </a:xfrm>
          <a:solidFill>
            <a:schemeClr val="bg1">
              <a:lumMod val="95000"/>
            </a:schemeClr>
          </a:solidFill>
        </p:spPr>
        <p:txBody>
          <a:bodyPr>
            <a:normAutofit/>
          </a:bodyPr>
          <a:lstStyle>
            <a:lvl1pPr>
              <a:defRPr sz="1158"/>
            </a:lvl1pPr>
          </a:lstStyle>
          <a:p>
            <a:endParaRPr lang="en-US"/>
          </a:p>
        </p:txBody>
      </p:sp>
      <p:sp>
        <p:nvSpPr>
          <p:cNvPr id="16" name="Picture Placeholder 2"/>
          <p:cNvSpPr>
            <a:spLocks noGrp="1"/>
          </p:cNvSpPr>
          <p:nvPr>
            <p:ph type="pic" sz="quarter" idx="15"/>
          </p:nvPr>
        </p:nvSpPr>
        <p:spPr>
          <a:xfrm>
            <a:off x="8712458" y="4069673"/>
            <a:ext cx="3313982" cy="1760286"/>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9779181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13" name="Round Single Corner Rectangle 12">
            <a:extLst>
              <a:ext uri="{FF2B5EF4-FFF2-40B4-BE49-F238E27FC236}">
                <a16:creationId xmlns:a16="http://schemas.microsoft.com/office/drawing/2014/main" id="{24A3CC29-68E2-7B43-AA24-1AD427C5E3CB}"/>
              </a:ext>
            </a:extLst>
          </p:cNvPr>
          <p:cNvSpPr/>
          <p:nvPr userDrawn="1"/>
        </p:nvSpPr>
        <p:spPr>
          <a:xfrm>
            <a:off x="598881" y="2209077"/>
            <a:ext cx="12240000" cy="4769165"/>
          </a:xfrm>
          <a:prstGeom prst="round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90000" rtlCol="0" anchor="ctr"/>
          <a:lstStyle/>
          <a:p>
            <a:pPr algn="ctr"/>
            <a:endParaRPr lang="en-US"/>
          </a:p>
        </p:txBody>
      </p:sp>
    </p:spTree>
    <p:extLst>
      <p:ext uri="{BB962C8B-B14F-4D97-AF65-F5344CB8AC3E}">
        <p14:creationId xmlns:p14="http://schemas.microsoft.com/office/powerpoint/2010/main" val="42135123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8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2F8DF6-8A42-4F93-BB78-6B420EF74F5D}"/>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5E2F8DF6-8A42-4F93-BB78-6B420EF74F5D}"/>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9" name="Picture Placeholder 8"/>
          <p:cNvSpPr>
            <a:spLocks noGrp="1"/>
          </p:cNvSpPr>
          <p:nvPr>
            <p:ph type="pic" sz="quarter" idx="10"/>
          </p:nvPr>
        </p:nvSpPr>
        <p:spPr>
          <a:xfrm>
            <a:off x="1910976" y="2969468"/>
            <a:ext cx="2301647" cy="1596227"/>
          </a:xfrm>
          <a:prstGeom prst="triangle">
            <a:avLst/>
          </a:prstGeom>
          <a:solidFill>
            <a:schemeClr val="bg1">
              <a:lumMod val="95000"/>
            </a:schemeClr>
          </a:solidFill>
        </p:spPr>
        <p:txBody>
          <a:bodyPr>
            <a:normAutofit/>
          </a:bodyPr>
          <a:lstStyle>
            <a:lvl1pPr>
              <a:defRPr sz="1158"/>
            </a:lvl1pPr>
          </a:lstStyle>
          <a:p>
            <a:endParaRPr lang="en-US"/>
          </a:p>
        </p:txBody>
      </p:sp>
      <p:sp>
        <p:nvSpPr>
          <p:cNvPr id="11" name="Picture Placeholder 8"/>
          <p:cNvSpPr>
            <a:spLocks noGrp="1"/>
          </p:cNvSpPr>
          <p:nvPr>
            <p:ph type="pic" sz="quarter" idx="13"/>
          </p:nvPr>
        </p:nvSpPr>
        <p:spPr>
          <a:xfrm>
            <a:off x="5593013" y="2969468"/>
            <a:ext cx="2301647" cy="1596227"/>
          </a:xfrm>
          <a:prstGeom prst="triangle">
            <a:avLst/>
          </a:prstGeom>
          <a:solidFill>
            <a:schemeClr val="bg1">
              <a:lumMod val="95000"/>
            </a:schemeClr>
          </a:solidFill>
        </p:spPr>
        <p:txBody>
          <a:bodyPr>
            <a:normAutofit/>
          </a:bodyPr>
          <a:lstStyle>
            <a:lvl1pPr>
              <a:defRPr sz="1158"/>
            </a:lvl1pPr>
          </a:lstStyle>
          <a:p>
            <a:endParaRPr lang="en-US"/>
          </a:p>
        </p:txBody>
      </p:sp>
      <p:sp>
        <p:nvSpPr>
          <p:cNvPr id="12" name="Picture Placeholder 8"/>
          <p:cNvSpPr>
            <a:spLocks noGrp="1"/>
          </p:cNvSpPr>
          <p:nvPr>
            <p:ph type="pic" sz="quarter" idx="14"/>
          </p:nvPr>
        </p:nvSpPr>
        <p:spPr>
          <a:xfrm>
            <a:off x="9275051" y="2969468"/>
            <a:ext cx="2301647" cy="1596227"/>
          </a:xfrm>
          <a:prstGeom prst="triangle">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8777240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4_Placeholder">
    <p:spTree>
      <p:nvGrpSpPr>
        <p:cNvPr id="1" name=""/>
        <p:cNvGrpSpPr/>
        <p:nvPr/>
      </p:nvGrpSpPr>
      <p:grpSpPr>
        <a:xfrm>
          <a:off x="0" y="0"/>
          <a:ext cx="0" cy="0"/>
          <a:chOff x="0" y="0"/>
          <a:chExt cx="0" cy="0"/>
        </a:xfrm>
      </p:grpSpPr>
      <p:sp>
        <p:nvSpPr>
          <p:cNvPr id="18" name="Picture Placeholder 2"/>
          <p:cNvSpPr>
            <a:spLocks noGrp="1"/>
          </p:cNvSpPr>
          <p:nvPr>
            <p:ph type="pic" sz="quarter" idx="26"/>
          </p:nvPr>
        </p:nvSpPr>
        <p:spPr>
          <a:xfrm>
            <a:off x="2234166" y="3028270"/>
            <a:ext cx="1694443" cy="1260475"/>
          </a:xfrm>
          <a:prstGeom prst="ellipse">
            <a:avLst/>
          </a:prstGeom>
          <a:solidFill>
            <a:schemeClr val="bg1">
              <a:lumMod val="95000"/>
            </a:schemeClr>
          </a:solidFill>
        </p:spPr>
        <p:txBody>
          <a:bodyPr>
            <a:normAutofit/>
          </a:bodyPr>
          <a:lstStyle>
            <a:lvl1pPr>
              <a:defRPr sz="1158"/>
            </a:lvl1pPr>
          </a:lstStyle>
          <a:p>
            <a:endParaRPr lang="en-US"/>
          </a:p>
        </p:txBody>
      </p:sp>
      <p:sp>
        <p:nvSpPr>
          <p:cNvPr id="9" name="Picture Placeholder 2"/>
          <p:cNvSpPr>
            <a:spLocks noGrp="1"/>
          </p:cNvSpPr>
          <p:nvPr>
            <p:ph type="pic" sz="quarter" idx="27"/>
          </p:nvPr>
        </p:nvSpPr>
        <p:spPr>
          <a:xfrm>
            <a:off x="5880185" y="3026109"/>
            <a:ext cx="1661472" cy="1260475"/>
          </a:xfrm>
          <a:prstGeom prst="ellipse">
            <a:avLst/>
          </a:prstGeom>
          <a:solidFill>
            <a:schemeClr val="bg1">
              <a:lumMod val="95000"/>
            </a:schemeClr>
          </a:solidFill>
        </p:spPr>
        <p:txBody>
          <a:bodyPr>
            <a:normAutofit/>
          </a:bodyPr>
          <a:lstStyle>
            <a:lvl1pPr>
              <a:defRPr sz="1158"/>
            </a:lvl1pPr>
          </a:lstStyle>
          <a:p>
            <a:endParaRPr lang="en-US"/>
          </a:p>
        </p:txBody>
      </p:sp>
      <p:sp>
        <p:nvSpPr>
          <p:cNvPr id="10" name="Picture Placeholder 2"/>
          <p:cNvSpPr>
            <a:spLocks noGrp="1"/>
          </p:cNvSpPr>
          <p:nvPr>
            <p:ph type="pic" sz="quarter" idx="28"/>
          </p:nvPr>
        </p:nvSpPr>
        <p:spPr>
          <a:xfrm>
            <a:off x="9512329" y="3026109"/>
            <a:ext cx="1694443" cy="1260475"/>
          </a:xfrm>
          <a:prstGeom prst="ellipse">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4590269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ea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7254CC-F893-43D0-A2C7-20FC4F4BD68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57254CC-F893-43D0-A2C7-20FC4F4BD68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4" name="Picture Placeholder 9"/>
          <p:cNvSpPr>
            <a:spLocks noGrp="1"/>
          </p:cNvSpPr>
          <p:nvPr>
            <p:ph type="pic" sz="quarter" idx="12"/>
          </p:nvPr>
        </p:nvSpPr>
        <p:spPr>
          <a:xfrm>
            <a:off x="7063360"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a:p>
        </p:txBody>
      </p:sp>
      <p:sp>
        <p:nvSpPr>
          <p:cNvPr id="15" name="Picture Placeholder 10"/>
          <p:cNvSpPr>
            <a:spLocks noGrp="1"/>
          </p:cNvSpPr>
          <p:nvPr>
            <p:ph type="pic" sz="quarter" idx="13"/>
          </p:nvPr>
        </p:nvSpPr>
        <p:spPr>
          <a:xfrm>
            <a:off x="9788850"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a:p>
        </p:txBody>
      </p:sp>
      <p:sp>
        <p:nvSpPr>
          <p:cNvPr id="16" name="Picture Placeholder 8"/>
          <p:cNvSpPr>
            <a:spLocks noGrp="1"/>
          </p:cNvSpPr>
          <p:nvPr>
            <p:ph type="pic" sz="quarter" idx="11"/>
          </p:nvPr>
        </p:nvSpPr>
        <p:spPr>
          <a:xfrm>
            <a:off x="4337871"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a:p>
        </p:txBody>
      </p:sp>
      <p:sp>
        <p:nvSpPr>
          <p:cNvPr id="17" name="Picture Placeholder 7"/>
          <p:cNvSpPr>
            <a:spLocks noGrp="1"/>
          </p:cNvSpPr>
          <p:nvPr>
            <p:ph type="pic" sz="quarter" idx="10"/>
          </p:nvPr>
        </p:nvSpPr>
        <p:spPr>
          <a:xfrm>
            <a:off x="1612381" y="2809058"/>
            <a:ext cx="2138253" cy="1865503"/>
          </a:xfrm>
          <a:custGeom>
            <a:avLst/>
            <a:gdLst>
              <a:gd name="connsiteX0" fmla="*/ 1938542 w 3877082"/>
              <a:gd name="connsiteY0" fmla="*/ 0 h 4497415"/>
              <a:gd name="connsiteX1" fmla="*/ 3877082 w 3877082"/>
              <a:gd name="connsiteY1" fmla="*/ 969271 h 4497415"/>
              <a:gd name="connsiteX2" fmla="*/ 3877082 w 3877082"/>
              <a:gd name="connsiteY2" fmla="*/ 3528144 h 4497415"/>
              <a:gd name="connsiteX3" fmla="*/ 1938542 w 3877082"/>
              <a:gd name="connsiteY3" fmla="*/ 4497415 h 4497415"/>
              <a:gd name="connsiteX4" fmla="*/ 0 w 3877082"/>
              <a:gd name="connsiteY4" fmla="*/ 3528144 h 4497415"/>
              <a:gd name="connsiteX5" fmla="*/ 0 w 3877082"/>
              <a:gd name="connsiteY5" fmla="*/ 969271 h 449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7082" h="4497415">
                <a:moveTo>
                  <a:pt x="1938542" y="0"/>
                </a:moveTo>
                <a:lnTo>
                  <a:pt x="3877082" y="969271"/>
                </a:lnTo>
                <a:lnTo>
                  <a:pt x="3877082" y="3528144"/>
                </a:lnTo>
                <a:lnTo>
                  <a:pt x="1938542" y="4497415"/>
                </a:lnTo>
                <a:lnTo>
                  <a:pt x="0" y="3528144"/>
                </a:lnTo>
                <a:lnTo>
                  <a:pt x="0" y="969271"/>
                </a:lnTo>
                <a:close/>
              </a:path>
            </a:pathLst>
          </a:custGeom>
          <a:solidFill>
            <a:schemeClr val="bg1">
              <a:lumMod val="95000"/>
            </a:schemeClr>
          </a:solidFill>
        </p:spPr>
        <p:txBody>
          <a:bodyPr wrap="square" anchor="ctr">
            <a:noAutofit/>
          </a:bodyPr>
          <a:lstStyle>
            <a:lvl1pPr algn="ctr">
              <a:defRPr sz="1158"/>
            </a:lvl1pPr>
          </a:lstStyle>
          <a:p>
            <a:endParaRPr lang="en-US"/>
          </a:p>
        </p:txBody>
      </p:sp>
    </p:spTree>
    <p:extLst>
      <p:ext uri="{BB962C8B-B14F-4D97-AF65-F5344CB8AC3E}">
        <p14:creationId xmlns:p14="http://schemas.microsoft.com/office/powerpoint/2010/main" val="3001247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9_Big Image 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490748-3DAF-4045-9C43-536332417E0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41490748-3DAF-4045-9C43-536332417E0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0" name="Picture Placeholder 2"/>
          <p:cNvSpPr>
            <a:spLocks noGrp="1"/>
          </p:cNvSpPr>
          <p:nvPr>
            <p:ph type="pic" sz="quarter" idx="19"/>
          </p:nvPr>
        </p:nvSpPr>
        <p:spPr>
          <a:xfrm>
            <a:off x="850135" y="2008746"/>
            <a:ext cx="2850049" cy="3989502"/>
          </a:xfrm>
          <a:solidFill>
            <a:schemeClr val="bg1">
              <a:lumMod val="95000"/>
            </a:schemeClr>
          </a:solidFill>
        </p:spPr>
        <p:txBody>
          <a:bodyPr>
            <a:normAutofit/>
          </a:bodyPr>
          <a:lstStyle>
            <a:lvl1pPr>
              <a:defRPr sz="1158"/>
            </a:lvl1pPr>
          </a:lstStyle>
          <a:p>
            <a:endParaRPr lang="en-US"/>
          </a:p>
        </p:txBody>
      </p:sp>
      <p:sp>
        <p:nvSpPr>
          <p:cNvPr id="11" name="Picture Placeholder 2"/>
          <p:cNvSpPr>
            <a:spLocks noGrp="1"/>
          </p:cNvSpPr>
          <p:nvPr>
            <p:ph type="pic" sz="quarter" idx="20"/>
          </p:nvPr>
        </p:nvSpPr>
        <p:spPr>
          <a:xfrm>
            <a:off x="3816027" y="2008746"/>
            <a:ext cx="2850049" cy="3989502"/>
          </a:xfrm>
          <a:solidFill>
            <a:schemeClr val="bg1">
              <a:lumMod val="95000"/>
            </a:schemeClr>
          </a:solidFill>
        </p:spPr>
        <p:txBody>
          <a:bodyPr>
            <a:normAutofit/>
          </a:bodyPr>
          <a:lstStyle>
            <a:lvl1pPr>
              <a:defRPr sz="1158"/>
            </a:lvl1pPr>
          </a:lstStyle>
          <a:p>
            <a:endParaRPr lang="en-US"/>
          </a:p>
        </p:txBody>
      </p:sp>
      <p:sp>
        <p:nvSpPr>
          <p:cNvPr id="12" name="Picture Placeholder 2"/>
          <p:cNvSpPr>
            <a:spLocks noGrp="1"/>
          </p:cNvSpPr>
          <p:nvPr>
            <p:ph type="pic" sz="quarter" idx="21"/>
          </p:nvPr>
        </p:nvSpPr>
        <p:spPr>
          <a:xfrm>
            <a:off x="6784570" y="2008746"/>
            <a:ext cx="2850049" cy="3989502"/>
          </a:xfrm>
          <a:solidFill>
            <a:schemeClr val="bg1">
              <a:lumMod val="95000"/>
            </a:schemeClr>
          </a:solidFill>
        </p:spPr>
        <p:txBody>
          <a:bodyPr>
            <a:normAutofit/>
          </a:bodyPr>
          <a:lstStyle>
            <a:lvl1pPr>
              <a:defRPr sz="1158"/>
            </a:lvl1pPr>
          </a:lstStyle>
          <a:p>
            <a:endParaRPr lang="en-US"/>
          </a:p>
        </p:txBody>
      </p:sp>
      <p:sp>
        <p:nvSpPr>
          <p:cNvPr id="13" name="Picture Placeholder 2"/>
          <p:cNvSpPr>
            <a:spLocks noGrp="1"/>
          </p:cNvSpPr>
          <p:nvPr>
            <p:ph type="pic" sz="quarter" idx="22"/>
          </p:nvPr>
        </p:nvSpPr>
        <p:spPr>
          <a:xfrm>
            <a:off x="9750462" y="2008746"/>
            <a:ext cx="2850049" cy="3989502"/>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8858291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0_Big Image Placehol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4D35D0-5BF3-4BED-BD79-D3019866BE9F}"/>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1B4D35D0-5BF3-4BED-BD79-D3019866BE9F}"/>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11" name="Picture Placeholder 2"/>
          <p:cNvSpPr>
            <a:spLocks noGrp="1"/>
          </p:cNvSpPr>
          <p:nvPr>
            <p:ph type="pic" sz="quarter" idx="19"/>
          </p:nvPr>
        </p:nvSpPr>
        <p:spPr>
          <a:xfrm>
            <a:off x="-20216" y="0"/>
            <a:ext cx="4488251" cy="7562850"/>
          </a:xfrm>
          <a:solidFill>
            <a:schemeClr val="bg1">
              <a:lumMod val="95000"/>
            </a:schemeClr>
          </a:solidFill>
        </p:spPr>
        <p:txBody>
          <a:bodyPr>
            <a:normAutofit/>
          </a:bodyPr>
          <a:lstStyle>
            <a:lvl1pPr>
              <a:defRPr sz="1158"/>
            </a:lvl1pPr>
          </a:lstStyle>
          <a:p>
            <a:endParaRPr lang="en-US"/>
          </a:p>
        </p:txBody>
      </p:sp>
      <p:sp>
        <p:nvSpPr>
          <p:cNvPr id="12" name="Picture Placeholder 2"/>
          <p:cNvSpPr>
            <a:spLocks noGrp="1"/>
          </p:cNvSpPr>
          <p:nvPr>
            <p:ph type="pic" sz="quarter" idx="20"/>
          </p:nvPr>
        </p:nvSpPr>
        <p:spPr>
          <a:xfrm>
            <a:off x="4488253" y="0"/>
            <a:ext cx="4468034" cy="7562850"/>
          </a:xfrm>
          <a:solidFill>
            <a:schemeClr val="bg1">
              <a:lumMod val="95000"/>
            </a:schemeClr>
          </a:solidFill>
        </p:spPr>
        <p:txBody>
          <a:bodyPr>
            <a:normAutofit/>
          </a:bodyPr>
          <a:lstStyle>
            <a:lvl1pPr>
              <a:defRPr sz="1158"/>
            </a:lvl1pPr>
          </a:lstStyle>
          <a:p>
            <a:endParaRPr lang="en-US"/>
          </a:p>
        </p:txBody>
      </p:sp>
      <p:sp>
        <p:nvSpPr>
          <p:cNvPr id="13" name="Picture Placeholder 2"/>
          <p:cNvSpPr>
            <a:spLocks noGrp="1"/>
          </p:cNvSpPr>
          <p:nvPr>
            <p:ph type="pic" sz="quarter" idx="21"/>
          </p:nvPr>
        </p:nvSpPr>
        <p:spPr>
          <a:xfrm>
            <a:off x="8976504" y="0"/>
            <a:ext cx="4468034" cy="756285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2878128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ogos 1">
    <p:spTree>
      <p:nvGrpSpPr>
        <p:cNvPr id="1" name=""/>
        <p:cNvGrpSpPr/>
        <p:nvPr/>
      </p:nvGrpSpPr>
      <p:grpSpPr>
        <a:xfrm>
          <a:off x="0" y="0"/>
          <a:ext cx="0" cy="0"/>
          <a:chOff x="0" y="0"/>
          <a:chExt cx="0" cy="0"/>
        </a:xfrm>
      </p:grpSpPr>
      <p:sp>
        <p:nvSpPr>
          <p:cNvPr id="15" name="Picture Placeholder 17"/>
          <p:cNvSpPr>
            <a:spLocks noGrp="1"/>
          </p:cNvSpPr>
          <p:nvPr>
            <p:ph type="pic" sz="quarter" idx="14"/>
          </p:nvPr>
        </p:nvSpPr>
        <p:spPr>
          <a:xfrm>
            <a:off x="1366174" y="2976678"/>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16" name="Picture Placeholder 17"/>
          <p:cNvSpPr>
            <a:spLocks noGrp="1"/>
          </p:cNvSpPr>
          <p:nvPr>
            <p:ph type="pic" sz="quarter" idx="15"/>
          </p:nvPr>
        </p:nvSpPr>
        <p:spPr>
          <a:xfrm>
            <a:off x="5236624" y="2976681"/>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17" name="Picture Placeholder 17"/>
          <p:cNvSpPr>
            <a:spLocks noGrp="1"/>
          </p:cNvSpPr>
          <p:nvPr>
            <p:ph type="pic" sz="quarter" idx="16"/>
          </p:nvPr>
        </p:nvSpPr>
        <p:spPr>
          <a:xfrm>
            <a:off x="1366174" y="4823105"/>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18" name="Picture Placeholder 17"/>
          <p:cNvSpPr>
            <a:spLocks noGrp="1"/>
          </p:cNvSpPr>
          <p:nvPr>
            <p:ph type="pic" sz="quarter" idx="17"/>
          </p:nvPr>
        </p:nvSpPr>
        <p:spPr>
          <a:xfrm>
            <a:off x="5236624" y="4823107"/>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19" name="Picture Placeholder 17"/>
          <p:cNvSpPr>
            <a:spLocks noGrp="1"/>
          </p:cNvSpPr>
          <p:nvPr>
            <p:ph type="pic" sz="quarter" idx="18"/>
          </p:nvPr>
        </p:nvSpPr>
        <p:spPr>
          <a:xfrm>
            <a:off x="9080219" y="2976680"/>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20" name="Picture Placeholder 17"/>
          <p:cNvSpPr>
            <a:spLocks noGrp="1"/>
          </p:cNvSpPr>
          <p:nvPr>
            <p:ph type="pic" sz="quarter" idx="19"/>
          </p:nvPr>
        </p:nvSpPr>
        <p:spPr>
          <a:xfrm>
            <a:off x="9080219" y="4823107"/>
            <a:ext cx="2971290" cy="1471688"/>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Tree>
    <p:extLst>
      <p:ext uri="{BB962C8B-B14F-4D97-AF65-F5344CB8AC3E}">
        <p14:creationId xmlns:p14="http://schemas.microsoft.com/office/powerpoint/2010/main" val="14996663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ogos">
    <p:spTree>
      <p:nvGrpSpPr>
        <p:cNvPr id="1" name=""/>
        <p:cNvGrpSpPr/>
        <p:nvPr/>
      </p:nvGrpSpPr>
      <p:grpSpPr>
        <a:xfrm>
          <a:off x="0" y="0"/>
          <a:ext cx="0" cy="0"/>
          <a:chOff x="0" y="0"/>
          <a:chExt cx="0" cy="0"/>
        </a:xfrm>
      </p:grpSpPr>
      <p:sp>
        <p:nvSpPr>
          <p:cNvPr id="26" name="Picture Placeholder 17"/>
          <p:cNvSpPr>
            <a:spLocks noGrp="1"/>
          </p:cNvSpPr>
          <p:nvPr>
            <p:ph type="pic" sz="quarter" idx="18"/>
          </p:nvPr>
        </p:nvSpPr>
        <p:spPr>
          <a:xfrm>
            <a:off x="1102789" y="1742915"/>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27" name="Picture Placeholder 17"/>
          <p:cNvSpPr>
            <a:spLocks noGrp="1"/>
          </p:cNvSpPr>
          <p:nvPr>
            <p:ph type="pic" sz="quarter" idx="19"/>
          </p:nvPr>
        </p:nvSpPr>
        <p:spPr>
          <a:xfrm>
            <a:off x="3020849" y="1742915"/>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28" name="Picture Placeholder 17"/>
          <p:cNvSpPr>
            <a:spLocks noGrp="1"/>
          </p:cNvSpPr>
          <p:nvPr>
            <p:ph type="pic" sz="quarter" idx="20"/>
          </p:nvPr>
        </p:nvSpPr>
        <p:spPr>
          <a:xfrm>
            <a:off x="4938909" y="1743540"/>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29" name="Picture Placeholder 17"/>
          <p:cNvSpPr>
            <a:spLocks noGrp="1"/>
          </p:cNvSpPr>
          <p:nvPr>
            <p:ph type="pic" sz="quarter" idx="36"/>
          </p:nvPr>
        </p:nvSpPr>
        <p:spPr>
          <a:xfrm>
            <a:off x="1100922" y="3151367"/>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30" name="Picture Placeholder 17"/>
          <p:cNvSpPr>
            <a:spLocks noGrp="1"/>
          </p:cNvSpPr>
          <p:nvPr>
            <p:ph type="pic" sz="quarter" idx="37"/>
          </p:nvPr>
        </p:nvSpPr>
        <p:spPr>
          <a:xfrm>
            <a:off x="3018982" y="3151367"/>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31" name="Picture Placeholder 17"/>
          <p:cNvSpPr>
            <a:spLocks noGrp="1"/>
          </p:cNvSpPr>
          <p:nvPr>
            <p:ph type="pic" sz="quarter" idx="38"/>
          </p:nvPr>
        </p:nvSpPr>
        <p:spPr>
          <a:xfrm>
            <a:off x="4937042" y="3151992"/>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32" name="Picture Placeholder 17"/>
          <p:cNvSpPr>
            <a:spLocks noGrp="1"/>
          </p:cNvSpPr>
          <p:nvPr>
            <p:ph type="pic" sz="quarter" idx="39"/>
          </p:nvPr>
        </p:nvSpPr>
        <p:spPr>
          <a:xfrm>
            <a:off x="1100922" y="4561069"/>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33" name="Picture Placeholder 17"/>
          <p:cNvSpPr>
            <a:spLocks noGrp="1"/>
          </p:cNvSpPr>
          <p:nvPr>
            <p:ph type="pic" sz="quarter" idx="40"/>
          </p:nvPr>
        </p:nvSpPr>
        <p:spPr>
          <a:xfrm>
            <a:off x="3018982" y="4561069"/>
            <a:ext cx="1680567"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
        <p:nvSpPr>
          <p:cNvPr id="43" name="Picture Placeholder 17"/>
          <p:cNvSpPr>
            <a:spLocks noGrp="1"/>
          </p:cNvSpPr>
          <p:nvPr>
            <p:ph type="pic" sz="quarter" idx="41"/>
          </p:nvPr>
        </p:nvSpPr>
        <p:spPr>
          <a:xfrm>
            <a:off x="4937042" y="4561694"/>
            <a:ext cx="1661894" cy="125784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Tree>
    <p:extLst>
      <p:ext uri="{BB962C8B-B14F-4D97-AF65-F5344CB8AC3E}">
        <p14:creationId xmlns:p14="http://schemas.microsoft.com/office/powerpoint/2010/main" val="38121954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0" y="4621742"/>
            <a:ext cx="13444538" cy="2457926"/>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5081836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1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3" y="386439"/>
            <a:ext cx="13444537" cy="2457894"/>
          </a:xfrm>
          <a:solidFill>
            <a:schemeClr val="bg1">
              <a:lumMod val="95000"/>
            </a:schemeClr>
          </a:solidFill>
        </p:spPr>
        <p:txBody>
          <a:bodyPr>
            <a:normAutofit/>
          </a:bodyPr>
          <a:lstStyle>
            <a:lvl1pPr>
              <a:defRPr sz="827"/>
            </a:lvl1pPr>
          </a:lstStyle>
          <a:p>
            <a:endParaRPr lang="en-US"/>
          </a:p>
        </p:txBody>
      </p:sp>
    </p:spTree>
    <p:extLst>
      <p:ext uri="{BB962C8B-B14F-4D97-AF65-F5344CB8AC3E}">
        <p14:creationId xmlns:p14="http://schemas.microsoft.com/office/powerpoint/2010/main" val="19296765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7_Big Image Placeholder">
    <p:spTree>
      <p:nvGrpSpPr>
        <p:cNvPr id="1" name=""/>
        <p:cNvGrpSpPr/>
        <p:nvPr/>
      </p:nvGrpSpPr>
      <p:grpSpPr>
        <a:xfrm>
          <a:off x="0" y="0"/>
          <a:ext cx="0" cy="0"/>
          <a:chOff x="0" y="0"/>
          <a:chExt cx="0" cy="0"/>
        </a:xfrm>
      </p:grpSpPr>
      <p:sp>
        <p:nvSpPr>
          <p:cNvPr id="6" name="Picture Placeholder 13"/>
          <p:cNvSpPr>
            <a:spLocks noGrp="1" noChangeAspect="1"/>
          </p:cNvSpPr>
          <p:nvPr>
            <p:ph type="pic" sz="quarter" idx="14"/>
          </p:nvPr>
        </p:nvSpPr>
        <p:spPr>
          <a:xfrm>
            <a:off x="10082927" y="2115946"/>
            <a:ext cx="1344454"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
        <p:nvSpPr>
          <p:cNvPr id="7" name="Picture Placeholder 13"/>
          <p:cNvSpPr>
            <a:spLocks noGrp="1" noChangeAspect="1"/>
          </p:cNvSpPr>
          <p:nvPr>
            <p:ph type="pic" sz="quarter" idx="15"/>
          </p:nvPr>
        </p:nvSpPr>
        <p:spPr>
          <a:xfrm>
            <a:off x="6816764" y="2115946"/>
            <a:ext cx="1344455"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12430186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506032"/>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endParaRPr lang="en-GB">
              <a:solidFill>
                <a:schemeClr val="accent2"/>
              </a:solidFill>
            </a:endParaRPr>
          </a:p>
        </p:txBody>
      </p:sp>
      <p:sp>
        <p:nvSpPr>
          <p:cNvPr id="3" name="Table Placeholder 2">
            <a:extLst>
              <a:ext uri="{FF2B5EF4-FFF2-40B4-BE49-F238E27FC236}">
                <a16:creationId xmlns:a16="http://schemas.microsoft.com/office/drawing/2014/main" id="{CAA65E3C-0D40-1145-830F-CF69E766555F}"/>
              </a:ext>
            </a:extLst>
          </p:cNvPr>
          <p:cNvSpPr>
            <a:spLocks noGrp="1"/>
          </p:cNvSpPr>
          <p:nvPr>
            <p:ph type="tbl" sz="quarter" idx="15"/>
          </p:nvPr>
        </p:nvSpPr>
        <p:spPr>
          <a:xfrm>
            <a:off x="598881" y="1549146"/>
            <a:ext cx="11882437" cy="4913313"/>
          </a:xfrm>
          <a:prstGeom prst="rect">
            <a:avLst/>
          </a:prstGeom>
          <a:ln w="3175">
            <a:solidFill>
              <a:schemeClr val="accent1"/>
            </a:solidFill>
          </a:ln>
        </p:spPr>
        <p:txBody>
          <a:bodyPr/>
          <a:lstStyle>
            <a:lvl1pPr>
              <a:defRPr sz="1200">
                <a:solidFill>
                  <a:schemeClr val="tx1"/>
                </a:solidFill>
              </a:defRPr>
            </a:lvl1pPr>
          </a:lstStyle>
          <a:p>
            <a:endParaRPr lang="en-US"/>
          </a:p>
        </p:txBody>
      </p:sp>
    </p:spTree>
    <p:extLst>
      <p:ext uri="{BB962C8B-B14F-4D97-AF65-F5344CB8AC3E}">
        <p14:creationId xmlns:p14="http://schemas.microsoft.com/office/powerpoint/2010/main" val="6962609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8_Big Image Placeholder">
    <p:spTree>
      <p:nvGrpSpPr>
        <p:cNvPr id="1" name=""/>
        <p:cNvGrpSpPr/>
        <p:nvPr/>
      </p:nvGrpSpPr>
      <p:grpSpPr>
        <a:xfrm>
          <a:off x="0" y="0"/>
          <a:ext cx="0" cy="0"/>
          <a:chOff x="0" y="0"/>
          <a:chExt cx="0" cy="0"/>
        </a:xfrm>
      </p:grpSpPr>
      <p:sp>
        <p:nvSpPr>
          <p:cNvPr id="12" name="Picture Placeholder 13"/>
          <p:cNvSpPr>
            <a:spLocks noGrp="1" noChangeAspect="1"/>
          </p:cNvSpPr>
          <p:nvPr>
            <p:ph type="pic" sz="quarter" idx="16"/>
          </p:nvPr>
        </p:nvSpPr>
        <p:spPr>
          <a:xfrm>
            <a:off x="9783805" y="3664696"/>
            <a:ext cx="1326244" cy="1008380"/>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
        <p:nvSpPr>
          <p:cNvPr id="13" name="Picture Placeholder 13"/>
          <p:cNvSpPr>
            <a:spLocks noGrp="1" noChangeAspect="1"/>
          </p:cNvSpPr>
          <p:nvPr>
            <p:ph type="pic" sz="quarter" idx="17"/>
          </p:nvPr>
        </p:nvSpPr>
        <p:spPr>
          <a:xfrm>
            <a:off x="6392520" y="3664696"/>
            <a:ext cx="1316152" cy="1008380"/>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
        <p:nvSpPr>
          <p:cNvPr id="14" name="Picture Placeholder 13"/>
          <p:cNvSpPr>
            <a:spLocks noGrp="1" noChangeAspect="1"/>
          </p:cNvSpPr>
          <p:nvPr>
            <p:ph type="pic" sz="quarter" idx="14"/>
          </p:nvPr>
        </p:nvSpPr>
        <p:spPr>
          <a:xfrm>
            <a:off x="9783805" y="1283797"/>
            <a:ext cx="1326244"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
        <p:nvSpPr>
          <p:cNvPr id="15" name="Picture Placeholder 13"/>
          <p:cNvSpPr>
            <a:spLocks noGrp="1" noChangeAspect="1"/>
          </p:cNvSpPr>
          <p:nvPr>
            <p:ph type="pic" sz="quarter" idx="15"/>
          </p:nvPr>
        </p:nvSpPr>
        <p:spPr>
          <a:xfrm>
            <a:off x="6392519" y="1283797"/>
            <a:ext cx="1362663" cy="1008381"/>
          </a:xfrm>
          <a:prstGeom prst="ellipse">
            <a:avLst/>
          </a:prstGeom>
          <a:solidFill>
            <a:schemeClr val="bg1">
              <a:lumMod val="95000"/>
            </a:schemeClr>
          </a:solidFill>
          <a:effectLst/>
        </p:spPr>
        <p:txBody>
          <a:bodyPr>
            <a:normAutofit/>
          </a:bodyPr>
          <a:lstStyle>
            <a:lvl1pPr marL="0" indent="0">
              <a:buNone/>
              <a:defRPr sz="1034">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25719809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2152525" y="2949512"/>
            <a:ext cx="2215324" cy="1663827"/>
          </a:xfrm>
          <a:prstGeom prst="ellipse">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387578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Placeholder Slide">
    <p:spTree>
      <p:nvGrpSpPr>
        <p:cNvPr id="1" name=""/>
        <p:cNvGrpSpPr/>
        <p:nvPr/>
      </p:nvGrpSpPr>
      <p:grpSpPr>
        <a:xfrm>
          <a:off x="0" y="0"/>
          <a:ext cx="0" cy="0"/>
          <a:chOff x="0" y="0"/>
          <a:chExt cx="0" cy="0"/>
        </a:xfrm>
      </p:grpSpPr>
      <p:sp>
        <p:nvSpPr>
          <p:cNvPr id="10" name="Picture Placeholder 8"/>
          <p:cNvSpPr>
            <a:spLocks noGrp="1"/>
          </p:cNvSpPr>
          <p:nvPr>
            <p:ph type="pic" sz="quarter" idx="10"/>
          </p:nvPr>
        </p:nvSpPr>
        <p:spPr>
          <a:xfrm>
            <a:off x="1376072" y="2320397"/>
            <a:ext cx="3313982" cy="3315820"/>
          </a:xfrm>
          <a:prstGeom prst="rect">
            <a:avLst/>
          </a:prstGeom>
          <a:solidFill>
            <a:schemeClr val="bg1">
              <a:lumMod val="95000"/>
            </a:schemeClr>
          </a:solidFill>
        </p:spPr>
        <p:txBody>
          <a:bodyPr>
            <a:normAutofit/>
          </a:bodyPr>
          <a:lstStyle>
            <a:lvl1pPr>
              <a:defRPr sz="1158"/>
            </a:lvl1pPr>
          </a:lstStyle>
          <a:p>
            <a:endParaRPr lang="en-US"/>
          </a:p>
        </p:txBody>
      </p:sp>
      <p:sp>
        <p:nvSpPr>
          <p:cNvPr id="11" name="Picture Placeholder 8"/>
          <p:cNvSpPr>
            <a:spLocks noGrp="1"/>
          </p:cNvSpPr>
          <p:nvPr>
            <p:ph type="pic" sz="quarter" idx="11"/>
          </p:nvPr>
        </p:nvSpPr>
        <p:spPr>
          <a:xfrm>
            <a:off x="5044266" y="2320397"/>
            <a:ext cx="3313982" cy="3315820"/>
          </a:xfrm>
          <a:prstGeom prst="rect">
            <a:avLst/>
          </a:prstGeom>
          <a:solidFill>
            <a:schemeClr val="bg1">
              <a:lumMod val="95000"/>
            </a:schemeClr>
          </a:solidFill>
        </p:spPr>
        <p:txBody>
          <a:bodyPr>
            <a:normAutofit/>
          </a:bodyPr>
          <a:lstStyle>
            <a:lvl1pPr>
              <a:defRPr sz="1158"/>
            </a:lvl1pPr>
          </a:lstStyle>
          <a:p>
            <a:endParaRPr lang="en-US"/>
          </a:p>
        </p:txBody>
      </p:sp>
      <p:sp>
        <p:nvSpPr>
          <p:cNvPr id="12" name="Picture Placeholder 8"/>
          <p:cNvSpPr>
            <a:spLocks noGrp="1"/>
          </p:cNvSpPr>
          <p:nvPr>
            <p:ph type="pic" sz="quarter" idx="12"/>
          </p:nvPr>
        </p:nvSpPr>
        <p:spPr>
          <a:xfrm>
            <a:off x="8712458" y="2320397"/>
            <a:ext cx="3313982" cy="3315820"/>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3547696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9_Placeholder Slid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2960780"/>
            <a:ext cx="13444538" cy="4579063"/>
          </a:xfrm>
          <a:custGeom>
            <a:avLst/>
            <a:gdLst>
              <a:gd name="connsiteX0" fmla="*/ 13890396 w 24377650"/>
              <a:gd name="connsiteY0" fmla="*/ 7962719 h 8304597"/>
              <a:gd name="connsiteX1" fmla="*/ 13814950 w 24377650"/>
              <a:gd name="connsiteY1" fmla="*/ 8039762 h 8304597"/>
              <a:gd name="connsiteX2" fmla="*/ 13890396 w 24377650"/>
              <a:gd name="connsiteY2" fmla="*/ 7962719 h 8304597"/>
              <a:gd name="connsiteX3" fmla="*/ 14760458 w 24377650"/>
              <a:gd name="connsiteY3" fmla="*/ 7723063 h 8304597"/>
              <a:gd name="connsiteX4" fmla="*/ 14766854 w 24377650"/>
              <a:gd name="connsiteY4" fmla="*/ 7734800 h 8304597"/>
              <a:gd name="connsiteX5" fmla="*/ 14757792 w 24377650"/>
              <a:gd name="connsiteY5" fmla="*/ 7724707 h 8304597"/>
              <a:gd name="connsiteX6" fmla="*/ 17359306 w 24377650"/>
              <a:gd name="connsiteY6" fmla="*/ 7657757 h 8304597"/>
              <a:gd name="connsiteX7" fmla="*/ 17243728 w 24377650"/>
              <a:gd name="connsiteY7" fmla="*/ 7694673 h 8304597"/>
              <a:gd name="connsiteX8" fmla="*/ 17320780 w 24377650"/>
              <a:gd name="connsiteY8" fmla="*/ 7734800 h 8304597"/>
              <a:gd name="connsiteX9" fmla="*/ 17396226 w 24377650"/>
              <a:gd name="connsiteY9" fmla="*/ 7734800 h 8304597"/>
              <a:gd name="connsiteX10" fmla="*/ 17359306 w 24377650"/>
              <a:gd name="connsiteY10" fmla="*/ 7657757 h 8304597"/>
              <a:gd name="connsiteX11" fmla="*/ 13583520 w 24377650"/>
              <a:gd name="connsiteY11" fmla="*/ 7413486 h 8304597"/>
              <a:gd name="connsiteX12" fmla="*/ 13508350 w 24377650"/>
              <a:gd name="connsiteY12" fmla="*/ 7466754 h 8304597"/>
              <a:gd name="connsiteX13" fmla="*/ 13585402 w 24377650"/>
              <a:gd name="connsiteY13" fmla="*/ 7429838 h 8304597"/>
              <a:gd name="connsiteX14" fmla="*/ 13583520 w 24377650"/>
              <a:gd name="connsiteY14" fmla="*/ 7413486 h 8304597"/>
              <a:gd name="connsiteX15" fmla="*/ 15834334 w 24377650"/>
              <a:gd name="connsiteY15" fmla="*/ 7389711 h 8304597"/>
              <a:gd name="connsiteX16" fmla="*/ 15948306 w 24377650"/>
              <a:gd name="connsiteY16" fmla="*/ 7429838 h 8304597"/>
              <a:gd name="connsiteX17" fmla="*/ 15872860 w 24377650"/>
              <a:gd name="connsiteY17" fmla="*/ 7429838 h 8304597"/>
              <a:gd name="connsiteX18" fmla="*/ 15757282 w 24377650"/>
              <a:gd name="connsiteY18" fmla="*/ 7429838 h 8304597"/>
              <a:gd name="connsiteX19" fmla="*/ 15834334 w 24377650"/>
              <a:gd name="connsiteY19" fmla="*/ 7389711 h 8304597"/>
              <a:gd name="connsiteX20" fmla="*/ 18011594 w 24377650"/>
              <a:gd name="connsiteY20" fmla="*/ 7200313 h 8304597"/>
              <a:gd name="connsiteX21" fmla="*/ 18121792 w 24377650"/>
              <a:gd name="connsiteY21" fmla="*/ 7200313 h 8304597"/>
              <a:gd name="connsiteX22" fmla="*/ 18031096 w 24377650"/>
              <a:gd name="connsiteY22" fmla="*/ 7209342 h 8304597"/>
              <a:gd name="connsiteX23" fmla="*/ 17778272 w 24377650"/>
              <a:gd name="connsiteY23" fmla="*/ 7200313 h 8304597"/>
              <a:gd name="connsiteX24" fmla="*/ 17853718 w 24377650"/>
              <a:gd name="connsiteY24" fmla="*/ 7200313 h 8304597"/>
              <a:gd name="connsiteX25" fmla="*/ 17816798 w 24377650"/>
              <a:gd name="connsiteY25" fmla="*/ 7237230 h 8304597"/>
              <a:gd name="connsiteX26" fmla="*/ 17778272 w 24377650"/>
              <a:gd name="connsiteY26" fmla="*/ 7200313 h 8304597"/>
              <a:gd name="connsiteX27" fmla="*/ 18010608 w 24377650"/>
              <a:gd name="connsiteY27" fmla="*/ 7199857 h 8304597"/>
              <a:gd name="connsiteX28" fmla="*/ 18011594 w 24377650"/>
              <a:gd name="connsiteY28" fmla="*/ 7200313 h 8304597"/>
              <a:gd name="connsiteX29" fmla="*/ 18006214 w 24377650"/>
              <a:gd name="connsiteY29" fmla="*/ 7200313 h 8304597"/>
              <a:gd name="connsiteX30" fmla="*/ 17282254 w 24377650"/>
              <a:gd name="connsiteY30" fmla="*/ 7161792 h 8304597"/>
              <a:gd name="connsiteX31" fmla="*/ 17282254 w 24377650"/>
              <a:gd name="connsiteY31" fmla="*/ 7200313 h 8304597"/>
              <a:gd name="connsiteX32" fmla="*/ 17396226 w 24377650"/>
              <a:gd name="connsiteY32" fmla="*/ 7161792 h 8304597"/>
              <a:gd name="connsiteX33" fmla="*/ 17282254 w 24377650"/>
              <a:gd name="connsiteY33" fmla="*/ 7161792 h 8304597"/>
              <a:gd name="connsiteX34" fmla="*/ 17206808 w 24377650"/>
              <a:gd name="connsiteY34" fmla="*/ 7086354 h 8304597"/>
              <a:gd name="connsiteX35" fmla="*/ 17091232 w 24377650"/>
              <a:gd name="connsiteY35" fmla="*/ 7124875 h 8304597"/>
              <a:gd name="connsiteX36" fmla="*/ 17206808 w 24377650"/>
              <a:gd name="connsiteY36" fmla="*/ 7161792 h 8304597"/>
              <a:gd name="connsiteX37" fmla="*/ 17206808 w 24377650"/>
              <a:gd name="connsiteY37" fmla="*/ 7086354 h 8304597"/>
              <a:gd name="connsiteX38" fmla="*/ 10728086 w 24377650"/>
              <a:gd name="connsiteY38" fmla="*/ 7047833 h 8304597"/>
              <a:gd name="connsiteX39" fmla="*/ 10652641 w 24377650"/>
              <a:gd name="connsiteY39" fmla="*/ 7086354 h 8304597"/>
              <a:gd name="connsiteX40" fmla="*/ 10728086 w 24377650"/>
              <a:gd name="connsiteY40" fmla="*/ 7047833 h 8304597"/>
              <a:gd name="connsiteX41" fmla="*/ 21780118 w 24377650"/>
              <a:gd name="connsiteY41" fmla="*/ 6933873 h 8304597"/>
              <a:gd name="connsiteX42" fmla="*/ 21666148 w 24377650"/>
              <a:gd name="connsiteY42" fmla="*/ 6972395 h 8304597"/>
              <a:gd name="connsiteX43" fmla="*/ 21780118 w 24377650"/>
              <a:gd name="connsiteY43" fmla="*/ 6933873 h 8304597"/>
              <a:gd name="connsiteX44" fmla="*/ 18813768 w 24377650"/>
              <a:gd name="connsiteY44" fmla="*/ 6896986 h 8304597"/>
              <a:gd name="connsiteX45" fmla="*/ 18826490 w 24377650"/>
              <a:gd name="connsiteY45" fmla="*/ 6900166 h 8304597"/>
              <a:gd name="connsiteX46" fmla="*/ 18832052 w 24377650"/>
              <a:gd name="connsiteY46" fmla="*/ 6904970 h 8304597"/>
              <a:gd name="connsiteX47" fmla="*/ 18823478 w 24377650"/>
              <a:gd name="connsiteY47" fmla="*/ 6906186 h 8304597"/>
              <a:gd name="connsiteX48" fmla="*/ 16749316 w 24377650"/>
              <a:gd name="connsiteY48" fmla="*/ 6895351 h 8304597"/>
              <a:gd name="connsiteX49" fmla="*/ 16672266 w 24377650"/>
              <a:gd name="connsiteY49" fmla="*/ 6972395 h 8304597"/>
              <a:gd name="connsiteX50" fmla="*/ 16749316 w 24377650"/>
              <a:gd name="connsiteY50" fmla="*/ 6895351 h 8304597"/>
              <a:gd name="connsiteX51" fmla="*/ 18807828 w 24377650"/>
              <a:gd name="connsiteY51" fmla="*/ 6884517 h 8304597"/>
              <a:gd name="connsiteX52" fmla="*/ 18812042 w 24377650"/>
              <a:gd name="connsiteY52" fmla="*/ 6895351 h 8304597"/>
              <a:gd name="connsiteX53" fmla="*/ 18813768 w 24377650"/>
              <a:gd name="connsiteY53" fmla="*/ 6896986 h 8304597"/>
              <a:gd name="connsiteX54" fmla="*/ 18807226 w 24377650"/>
              <a:gd name="connsiteY54" fmla="*/ 6895351 h 8304597"/>
              <a:gd name="connsiteX55" fmla="*/ 18807828 w 24377650"/>
              <a:gd name="connsiteY55" fmla="*/ 6884517 h 8304597"/>
              <a:gd name="connsiteX56" fmla="*/ 9548756 w 24377650"/>
              <a:gd name="connsiteY56" fmla="*/ 6874222 h 8304597"/>
              <a:gd name="connsiteX57" fmla="*/ 9570714 w 24377650"/>
              <a:gd name="connsiteY57" fmla="*/ 6876091 h 8304597"/>
              <a:gd name="connsiteX58" fmla="*/ 9623686 w 24377650"/>
              <a:gd name="connsiteY58" fmla="*/ 6895351 h 8304597"/>
              <a:gd name="connsiteX59" fmla="*/ 9561468 w 24377650"/>
              <a:gd name="connsiteY59" fmla="*/ 6888411 h 8304597"/>
              <a:gd name="connsiteX60" fmla="*/ 9543709 w 24377650"/>
              <a:gd name="connsiteY60" fmla="*/ 6868532 h 8304597"/>
              <a:gd name="connsiteX61" fmla="*/ 9546835 w 24377650"/>
              <a:gd name="connsiteY61" fmla="*/ 6872078 h 8304597"/>
              <a:gd name="connsiteX62" fmla="*/ 9548756 w 24377650"/>
              <a:gd name="connsiteY62" fmla="*/ 6874222 h 8304597"/>
              <a:gd name="connsiteX63" fmla="*/ 9542421 w 24377650"/>
              <a:gd name="connsiteY63" fmla="*/ 6873683 h 8304597"/>
              <a:gd name="connsiteX64" fmla="*/ 18436784 w 24377650"/>
              <a:gd name="connsiteY64" fmla="*/ 6786879 h 8304597"/>
              <a:gd name="connsiteX65" fmla="*/ 18446938 w 24377650"/>
              <a:gd name="connsiteY65" fmla="*/ 6792452 h 8304597"/>
              <a:gd name="connsiteX66" fmla="*/ 18445246 w 24377650"/>
              <a:gd name="connsiteY66" fmla="*/ 6795837 h 8304597"/>
              <a:gd name="connsiteX67" fmla="*/ 18998250 w 24377650"/>
              <a:gd name="connsiteY67" fmla="*/ 6742871 h 8304597"/>
              <a:gd name="connsiteX68" fmla="*/ 19035170 w 24377650"/>
              <a:gd name="connsiteY68" fmla="*/ 6819913 h 8304597"/>
              <a:gd name="connsiteX69" fmla="*/ 19150746 w 24377650"/>
              <a:gd name="connsiteY69" fmla="*/ 6819913 h 8304597"/>
              <a:gd name="connsiteX70" fmla="*/ 19226192 w 24377650"/>
              <a:gd name="connsiteY70" fmla="*/ 6781392 h 8304597"/>
              <a:gd name="connsiteX71" fmla="*/ 18998250 w 24377650"/>
              <a:gd name="connsiteY71" fmla="*/ 6742871 h 8304597"/>
              <a:gd name="connsiteX72" fmla="*/ 9318691 w 24377650"/>
              <a:gd name="connsiteY72" fmla="*/ 6742871 h 8304597"/>
              <a:gd name="connsiteX73" fmla="*/ 9451876 w 24377650"/>
              <a:gd name="connsiteY73" fmla="*/ 6797041 h 8304597"/>
              <a:gd name="connsiteX74" fmla="*/ 9474508 w 24377650"/>
              <a:gd name="connsiteY74" fmla="*/ 6790743 h 8304597"/>
              <a:gd name="connsiteX75" fmla="*/ 9476957 w 24377650"/>
              <a:gd name="connsiteY75" fmla="*/ 6797643 h 8304597"/>
              <a:gd name="connsiteX76" fmla="*/ 9508109 w 24377650"/>
              <a:gd name="connsiteY76" fmla="*/ 6781392 h 8304597"/>
              <a:gd name="connsiteX77" fmla="*/ 9474508 w 24377650"/>
              <a:gd name="connsiteY77" fmla="*/ 6790743 h 8304597"/>
              <a:gd name="connsiteX78" fmla="*/ 9471188 w 24377650"/>
              <a:gd name="connsiteY78" fmla="*/ 6781392 h 8304597"/>
              <a:gd name="connsiteX79" fmla="*/ 9585161 w 24377650"/>
              <a:gd name="connsiteY79" fmla="*/ 6742871 h 8304597"/>
              <a:gd name="connsiteX80" fmla="*/ 9318691 w 24377650"/>
              <a:gd name="connsiteY80" fmla="*/ 6742871 h 8304597"/>
              <a:gd name="connsiteX81" fmla="*/ 18044740 w 24377650"/>
              <a:gd name="connsiteY81" fmla="*/ 6704349 h 8304597"/>
              <a:gd name="connsiteX82" fmla="*/ 18158712 w 24377650"/>
              <a:gd name="connsiteY82" fmla="*/ 6742871 h 8304597"/>
              <a:gd name="connsiteX83" fmla="*/ 18044740 w 24377650"/>
              <a:gd name="connsiteY83" fmla="*/ 6704349 h 8304597"/>
              <a:gd name="connsiteX84" fmla="*/ 17015786 w 24377650"/>
              <a:gd name="connsiteY84" fmla="*/ 6704349 h 8304597"/>
              <a:gd name="connsiteX85" fmla="*/ 16977260 w 24377650"/>
              <a:gd name="connsiteY85" fmla="*/ 6742871 h 8304597"/>
              <a:gd name="connsiteX86" fmla="*/ 17091232 w 24377650"/>
              <a:gd name="connsiteY86" fmla="*/ 6704349 h 8304597"/>
              <a:gd name="connsiteX87" fmla="*/ 17015786 w 24377650"/>
              <a:gd name="connsiteY87" fmla="*/ 6704349 h 8304597"/>
              <a:gd name="connsiteX88" fmla="*/ 16938734 w 24377650"/>
              <a:gd name="connsiteY88" fmla="*/ 6704349 h 8304597"/>
              <a:gd name="connsiteX89" fmla="*/ 16863288 w 24377650"/>
              <a:gd name="connsiteY89" fmla="*/ 6742871 h 8304597"/>
              <a:gd name="connsiteX90" fmla="*/ 16938734 w 24377650"/>
              <a:gd name="connsiteY90" fmla="*/ 6742871 h 8304597"/>
              <a:gd name="connsiteX91" fmla="*/ 16938734 w 24377650"/>
              <a:gd name="connsiteY91" fmla="*/ 6704349 h 8304597"/>
              <a:gd name="connsiteX92" fmla="*/ 18034462 w 24377650"/>
              <a:gd name="connsiteY92" fmla="*/ 6693797 h 8304597"/>
              <a:gd name="connsiteX93" fmla="*/ 18030292 w 24377650"/>
              <a:gd name="connsiteY93" fmla="*/ 6700337 h 8304597"/>
              <a:gd name="connsiteX94" fmla="*/ 18006214 w 24377650"/>
              <a:gd name="connsiteY94" fmla="*/ 6704349 h 8304597"/>
              <a:gd name="connsiteX95" fmla="*/ 17129758 w 24377650"/>
              <a:gd name="connsiteY95" fmla="*/ 6667433 h 8304597"/>
              <a:gd name="connsiteX96" fmla="*/ 17091232 w 24377650"/>
              <a:gd name="connsiteY96" fmla="*/ 6742871 h 8304597"/>
              <a:gd name="connsiteX97" fmla="*/ 17168282 w 24377650"/>
              <a:gd name="connsiteY97" fmla="*/ 6781392 h 8304597"/>
              <a:gd name="connsiteX98" fmla="*/ 17282254 w 24377650"/>
              <a:gd name="connsiteY98" fmla="*/ 6742871 h 8304597"/>
              <a:gd name="connsiteX99" fmla="*/ 17282254 w 24377650"/>
              <a:gd name="connsiteY99" fmla="*/ 6856830 h 8304597"/>
              <a:gd name="connsiteX100" fmla="*/ 16786238 w 24377650"/>
              <a:gd name="connsiteY100" fmla="*/ 6895351 h 8304597"/>
              <a:gd name="connsiteX101" fmla="*/ 16824762 w 24377650"/>
              <a:gd name="connsiteY101" fmla="*/ 6933873 h 8304597"/>
              <a:gd name="connsiteX102" fmla="*/ 16710792 w 24377650"/>
              <a:gd name="connsiteY102" fmla="*/ 7009311 h 8304597"/>
              <a:gd name="connsiteX103" fmla="*/ 16824762 w 24377650"/>
              <a:gd name="connsiteY103" fmla="*/ 7086354 h 8304597"/>
              <a:gd name="connsiteX104" fmla="*/ 16938734 w 24377650"/>
              <a:gd name="connsiteY104" fmla="*/ 7086354 h 8304597"/>
              <a:gd name="connsiteX105" fmla="*/ 16901814 w 24377650"/>
              <a:gd name="connsiteY105" fmla="*/ 7047833 h 8304597"/>
              <a:gd name="connsiteX106" fmla="*/ 17243728 w 24377650"/>
              <a:gd name="connsiteY106" fmla="*/ 7009311 h 8304597"/>
              <a:gd name="connsiteX107" fmla="*/ 17243728 w 24377650"/>
              <a:gd name="connsiteY107" fmla="*/ 7047833 h 8304597"/>
              <a:gd name="connsiteX108" fmla="*/ 17359306 w 24377650"/>
              <a:gd name="connsiteY108" fmla="*/ 7047833 h 8304597"/>
              <a:gd name="connsiteX109" fmla="*/ 17359306 w 24377650"/>
              <a:gd name="connsiteY109" fmla="*/ 7086354 h 8304597"/>
              <a:gd name="connsiteX110" fmla="*/ 17359306 w 24377650"/>
              <a:gd name="connsiteY110" fmla="*/ 7047833 h 8304597"/>
              <a:gd name="connsiteX111" fmla="*/ 17473278 w 24377650"/>
              <a:gd name="connsiteY111" fmla="*/ 7086354 h 8304597"/>
              <a:gd name="connsiteX112" fmla="*/ 17511802 w 24377650"/>
              <a:gd name="connsiteY112" fmla="*/ 7009311 h 8304597"/>
              <a:gd name="connsiteX113" fmla="*/ 17359306 w 24377650"/>
              <a:gd name="connsiteY113" fmla="*/ 7009311 h 8304597"/>
              <a:gd name="connsiteX114" fmla="*/ 17359306 w 24377650"/>
              <a:gd name="connsiteY114" fmla="*/ 6972395 h 8304597"/>
              <a:gd name="connsiteX115" fmla="*/ 17434752 w 24377650"/>
              <a:gd name="connsiteY115" fmla="*/ 6933873 h 8304597"/>
              <a:gd name="connsiteX116" fmla="*/ 17282254 w 24377650"/>
              <a:gd name="connsiteY116" fmla="*/ 6895351 h 8304597"/>
              <a:gd name="connsiteX117" fmla="*/ 17434752 w 24377650"/>
              <a:gd name="connsiteY117" fmla="*/ 6856830 h 8304597"/>
              <a:gd name="connsiteX118" fmla="*/ 17320780 w 24377650"/>
              <a:gd name="connsiteY118" fmla="*/ 6856830 h 8304597"/>
              <a:gd name="connsiteX119" fmla="*/ 17434752 w 24377650"/>
              <a:gd name="connsiteY119" fmla="*/ 6819913 h 8304597"/>
              <a:gd name="connsiteX120" fmla="*/ 17473278 w 24377650"/>
              <a:gd name="connsiteY120" fmla="*/ 6781392 h 8304597"/>
              <a:gd name="connsiteX121" fmla="*/ 17434752 w 24377650"/>
              <a:gd name="connsiteY121" fmla="*/ 6704349 h 8304597"/>
              <a:gd name="connsiteX122" fmla="*/ 17434752 w 24377650"/>
              <a:gd name="connsiteY122" fmla="*/ 6781392 h 8304597"/>
              <a:gd name="connsiteX123" fmla="*/ 17473278 w 24377650"/>
              <a:gd name="connsiteY123" fmla="*/ 6781392 h 8304597"/>
              <a:gd name="connsiteX124" fmla="*/ 17359306 w 24377650"/>
              <a:gd name="connsiteY124" fmla="*/ 6781392 h 8304597"/>
              <a:gd name="connsiteX125" fmla="*/ 17320780 w 24377650"/>
              <a:gd name="connsiteY125" fmla="*/ 6704349 h 8304597"/>
              <a:gd name="connsiteX126" fmla="*/ 17168282 w 24377650"/>
              <a:gd name="connsiteY126" fmla="*/ 6742871 h 8304597"/>
              <a:gd name="connsiteX127" fmla="*/ 17168282 w 24377650"/>
              <a:gd name="connsiteY127" fmla="*/ 6704349 h 8304597"/>
              <a:gd name="connsiteX128" fmla="*/ 17129758 w 24377650"/>
              <a:gd name="connsiteY128" fmla="*/ 6667433 h 8304597"/>
              <a:gd name="connsiteX129" fmla="*/ 19085734 w 24377650"/>
              <a:gd name="connsiteY129" fmla="*/ 6651182 h 8304597"/>
              <a:gd name="connsiteX130" fmla="*/ 19073694 w 24377650"/>
              <a:gd name="connsiteY130" fmla="*/ 6667433 h 8304597"/>
              <a:gd name="connsiteX131" fmla="*/ 19150746 w 24377650"/>
              <a:gd name="connsiteY131" fmla="*/ 6667433 h 8304597"/>
              <a:gd name="connsiteX132" fmla="*/ 19085734 w 24377650"/>
              <a:gd name="connsiteY132" fmla="*/ 6651182 h 8304597"/>
              <a:gd name="connsiteX133" fmla="*/ 21475124 w 24377650"/>
              <a:gd name="connsiteY133" fmla="*/ 6628911 h 8304597"/>
              <a:gd name="connsiteX134" fmla="*/ 21490406 w 24377650"/>
              <a:gd name="connsiteY134" fmla="*/ 6630963 h 8304597"/>
              <a:gd name="connsiteX135" fmla="*/ 21475124 w 24377650"/>
              <a:gd name="connsiteY135" fmla="*/ 6632030 h 8304597"/>
              <a:gd name="connsiteX136" fmla="*/ 22672674 w 24377650"/>
              <a:gd name="connsiteY136" fmla="*/ 6604740 h 8304597"/>
              <a:gd name="connsiteX137" fmla="*/ 22672830 w 24377650"/>
              <a:gd name="connsiteY137" fmla="*/ 6606064 h 8304597"/>
              <a:gd name="connsiteX138" fmla="*/ 22656576 w 24377650"/>
              <a:gd name="connsiteY138" fmla="*/ 6628911 h 8304597"/>
              <a:gd name="connsiteX139" fmla="*/ 22668364 w 24377650"/>
              <a:gd name="connsiteY139" fmla="*/ 6606640 h 8304597"/>
              <a:gd name="connsiteX140" fmla="*/ 22656576 w 24377650"/>
              <a:gd name="connsiteY140" fmla="*/ 6553473 h 8304597"/>
              <a:gd name="connsiteX141" fmla="*/ 22732022 w 24377650"/>
              <a:gd name="connsiteY141" fmla="*/ 6590389 h 8304597"/>
              <a:gd name="connsiteX142" fmla="*/ 22694300 w 24377650"/>
              <a:gd name="connsiteY142" fmla="*/ 6595204 h 8304597"/>
              <a:gd name="connsiteX143" fmla="*/ 22672674 w 24377650"/>
              <a:gd name="connsiteY143" fmla="*/ 6604740 h 8304597"/>
              <a:gd name="connsiteX144" fmla="*/ 22671024 w 24377650"/>
              <a:gd name="connsiteY144" fmla="*/ 6590590 h 8304597"/>
              <a:gd name="connsiteX145" fmla="*/ 22656576 w 24377650"/>
              <a:gd name="connsiteY145" fmla="*/ 6553473 h 8304597"/>
              <a:gd name="connsiteX146" fmla="*/ 6553275 w 24377650"/>
              <a:gd name="connsiteY146" fmla="*/ 6346821 h 8304597"/>
              <a:gd name="connsiteX147" fmla="*/ 6535217 w 24377650"/>
              <a:gd name="connsiteY147" fmla="*/ 6362471 h 8304597"/>
              <a:gd name="connsiteX148" fmla="*/ 6650794 w 24377650"/>
              <a:gd name="connsiteY148" fmla="*/ 6400992 h 8304597"/>
              <a:gd name="connsiteX149" fmla="*/ 6553275 w 24377650"/>
              <a:gd name="connsiteY149" fmla="*/ 6346821 h 8304597"/>
              <a:gd name="connsiteX150" fmla="*/ 1503075 w 24377650"/>
              <a:gd name="connsiteY150" fmla="*/ 6304489 h 8304597"/>
              <a:gd name="connsiteX151" fmla="*/ 1505218 w 24377650"/>
              <a:gd name="connsiteY151" fmla="*/ 6304688 h 8304597"/>
              <a:gd name="connsiteX152" fmla="*/ 1542941 w 24377650"/>
              <a:gd name="connsiteY152" fmla="*/ 6323949 h 8304597"/>
              <a:gd name="connsiteX153" fmla="*/ 1471110 w 24377650"/>
              <a:gd name="connsiteY153" fmla="*/ 6290596 h 8304597"/>
              <a:gd name="connsiteX154" fmla="*/ 1486682 w 24377650"/>
              <a:gd name="connsiteY154" fmla="*/ 6296487 h 8304597"/>
              <a:gd name="connsiteX155" fmla="*/ 1503075 w 24377650"/>
              <a:gd name="connsiteY155" fmla="*/ 6304489 h 8304597"/>
              <a:gd name="connsiteX156" fmla="*/ 1479283 w 24377650"/>
              <a:gd name="connsiteY156" fmla="*/ 6302280 h 8304597"/>
              <a:gd name="connsiteX157" fmla="*/ 7793720 w 24377650"/>
              <a:gd name="connsiteY157" fmla="*/ 6285427 h 8304597"/>
              <a:gd name="connsiteX158" fmla="*/ 7678144 w 24377650"/>
              <a:gd name="connsiteY158" fmla="*/ 6323949 h 8304597"/>
              <a:gd name="connsiteX159" fmla="*/ 7793720 w 24377650"/>
              <a:gd name="connsiteY159" fmla="*/ 6285427 h 8304597"/>
              <a:gd name="connsiteX160" fmla="*/ 5353766 w 24377650"/>
              <a:gd name="connsiteY160" fmla="*/ 6285427 h 8304597"/>
              <a:gd name="connsiteX161" fmla="*/ 5392291 w 24377650"/>
              <a:gd name="connsiteY161" fmla="*/ 6323949 h 8304597"/>
              <a:gd name="connsiteX162" fmla="*/ 5278320 w 24377650"/>
              <a:gd name="connsiteY162" fmla="*/ 6323949 h 8304597"/>
              <a:gd name="connsiteX163" fmla="*/ 5353766 w 24377650"/>
              <a:gd name="connsiteY163" fmla="*/ 6285427 h 8304597"/>
              <a:gd name="connsiteX164" fmla="*/ 1467495 w 24377650"/>
              <a:gd name="connsiteY164" fmla="*/ 6285427 h 8304597"/>
              <a:gd name="connsiteX165" fmla="*/ 1471110 w 24377650"/>
              <a:gd name="connsiteY165" fmla="*/ 6290596 h 8304597"/>
              <a:gd name="connsiteX166" fmla="*/ 1468484 w 24377650"/>
              <a:gd name="connsiteY166" fmla="*/ 6289602 h 8304597"/>
              <a:gd name="connsiteX167" fmla="*/ 1430883 w 24377650"/>
              <a:gd name="connsiteY167" fmla="*/ 6276051 h 8304597"/>
              <a:gd name="connsiteX168" fmla="*/ 1433584 w 24377650"/>
              <a:gd name="connsiteY168" fmla="*/ 6276399 h 8304597"/>
              <a:gd name="connsiteX169" fmla="*/ 1437251 w 24377650"/>
              <a:gd name="connsiteY169" fmla="*/ 6277786 h 8304597"/>
              <a:gd name="connsiteX170" fmla="*/ 1427364 w 24377650"/>
              <a:gd name="connsiteY170" fmla="*/ 6285427 h 8304597"/>
              <a:gd name="connsiteX171" fmla="*/ 6177050 w 24377650"/>
              <a:gd name="connsiteY171" fmla="*/ 6269853 h 8304597"/>
              <a:gd name="connsiteX172" fmla="*/ 6154777 w 24377650"/>
              <a:gd name="connsiteY172" fmla="*/ 6285427 h 8304597"/>
              <a:gd name="connsiteX173" fmla="*/ 6268749 w 24377650"/>
              <a:gd name="connsiteY173" fmla="*/ 6285427 h 8304597"/>
              <a:gd name="connsiteX174" fmla="*/ 6193303 w 24377650"/>
              <a:gd name="connsiteY174" fmla="*/ 6285427 h 8304597"/>
              <a:gd name="connsiteX175" fmla="*/ 6177050 w 24377650"/>
              <a:gd name="connsiteY175" fmla="*/ 6269853 h 8304597"/>
              <a:gd name="connsiteX176" fmla="*/ 1417065 w 24377650"/>
              <a:gd name="connsiteY176" fmla="*/ 6252275 h 8304597"/>
              <a:gd name="connsiteX177" fmla="*/ 1435494 w 24377650"/>
              <a:gd name="connsiteY177" fmla="*/ 6263768 h 8304597"/>
              <a:gd name="connsiteX178" fmla="*/ 1430883 w 24377650"/>
              <a:gd name="connsiteY178" fmla="*/ 6276051 h 8304597"/>
              <a:gd name="connsiteX179" fmla="*/ 1387409 w 24377650"/>
              <a:gd name="connsiteY179" fmla="*/ 6270455 h 8304597"/>
              <a:gd name="connsiteX180" fmla="*/ 1351918 w 24377650"/>
              <a:gd name="connsiteY180" fmla="*/ 6285427 h 8304597"/>
              <a:gd name="connsiteX181" fmla="*/ 1416930 w 24377650"/>
              <a:gd name="connsiteY181" fmla="*/ 6290844 h 8304597"/>
              <a:gd name="connsiteX182" fmla="*/ 1459665 w 24377650"/>
              <a:gd name="connsiteY182" fmla="*/ 6286266 h 8304597"/>
              <a:gd name="connsiteX183" fmla="*/ 1468484 w 24377650"/>
              <a:gd name="connsiteY183" fmla="*/ 6289602 h 8304597"/>
              <a:gd name="connsiteX184" fmla="*/ 1473129 w 24377650"/>
              <a:gd name="connsiteY184" fmla="*/ 6309202 h 8304597"/>
              <a:gd name="connsiteX185" fmla="*/ 1351918 w 24377650"/>
              <a:gd name="connsiteY185" fmla="*/ 6323949 h 8304597"/>
              <a:gd name="connsiteX186" fmla="*/ 1162501 w 24377650"/>
              <a:gd name="connsiteY186" fmla="*/ 6323949 h 8304597"/>
              <a:gd name="connsiteX187" fmla="*/ 1274867 w 24377650"/>
              <a:gd name="connsiteY187" fmla="*/ 6285427 h 8304597"/>
              <a:gd name="connsiteX188" fmla="*/ 1417065 w 24377650"/>
              <a:gd name="connsiteY188" fmla="*/ 6252275 h 8304597"/>
              <a:gd name="connsiteX189" fmla="*/ 6726240 w 24377650"/>
              <a:gd name="connsiteY189" fmla="*/ 6248511 h 8304597"/>
              <a:gd name="connsiteX190" fmla="*/ 6840212 w 24377650"/>
              <a:gd name="connsiteY190" fmla="*/ 6323949 h 8304597"/>
              <a:gd name="connsiteX191" fmla="*/ 6726240 w 24377650"/>
              <a:gd name="connsiteY191" fmla="*/ 6248511 h 8304597"/>
              <a:gd name="connsiteX192" fmla="*/ 3486879 w 24377650"/>
              <a:gd name="connsiteY192" fmla="*/ 6238231 h 8304597"/>
              <a:gd name="connsiteX193" fmla="*/ 3493042 w 24377650"/>
              <a:gd name="connsiteY193" fmla="*/ 6245201 h 8304597"/>
              <a:gd name="connsiteX194" fmla="*/ 3486879 w 24377650"/>
              <a:gd name="connsiteY194" fmla="*/ 6248511 h 8304597"/>
              <a:gd name="connsiteX195" fmla="*/ 3486879 w 24377650"/>
              <a:gd name="connsiteY195" fmla="*/ 6243696 h 8304597"/>
              <a:gd name="connsiteX196" fmla="*/ 0 w 24377650"/>
              <a:gd name="connsiteY196" fmla="*/ 6229099 h 8304597"/>
              <a:gd name="connsiteX197" fmla="*/ 17969 w 24377650"/>
              <a:gd name="connsiteY197" fmla="*/ 6248511 h 8304597"/>
              <a:gd name="connsiteX198" fmla="*/ 0 w 24377650"/>
              <a:gd name="connsiteY198" fmla="*/ 6248511 h 8304597"/>
              <a:gd name="connsiteX199" fmla="*/ 3448353 w 24377650"/>
              <a:gd name="connsiteY199" fmla="*/ 6209989 h 8304597"/>
              <a:gd name="connsiteX200" fmla="*/ 3486879 w 24377650"/>
              <a:gd name="connsiteY200" fmla="*/ 6209989 h 8304597"/>
              <a:gd name="connsiteX201" fmla="*/ 3486879 w 24377650"/>
              <a:gd name="connsiteY201" fmla="*/ 6232259 h 8304597"/>
              <a:gd name="connsiteX202" fmla="*/ 3486879 w 24377650"/>
              <a:gd name="connsiteY202" fmla="*/ 6238231 h 8304597"/>
              <a:gd name="connsiteX203" fmla="*/ 3485324 w 24377650"/>
              <a:gd name="connsiteY203" fmla="*/ 6236473 h 8304597"/>
              <a:gd name="connsiteX204" fmla="*/ 3448353 w 24377650"/>
              <a:gd name="connsiteY204" fmla="*/ 6212583 h 8304597"/>
              <a:gd name="connsiteX205" fmla="*/ 1085449 w 24377650"/>
              <a:gd name="connsiteY205" fmla="*/ 6209989 h 8304597"/>
              <a:gd name="connsiteX206" fmla="*/ 1199421 w 24377650"/>
              <a:gd name="connsiteY206" fmla="*/ 6209989 h 8304597"/>
              <a:gd name="connsiteX207" fmla="*/ 1274867 w 24377650"/>
              <a:gd name="connsiteY207" fmla="*/ 6285427 h 8304597"/>
              <a:gd name="connsiteX208" fmla="*/ 1085449 w 24377650"/>
              <a:gd name="connsiteY208" fmla="*/ 6209989 h 8304597"/>
              <a:gd name="connsiteX209" fmla="*/ 21015048 w 24377650"/>
              <a:gd name="connsiteY209" fmla="*/ 6193738 h 8304597"/>
              <a:gd name="connsiteX210" fmla="*/ 20980712 w 24377650"/>
              <a:gd name="connsiteY210" fmla="*/ 6209989 h 8304597"/>
              <a:gd name="connsiteX211" fmla="*/ 21170130 w 24377650"/>
              <a:gd name="connsiteY211" fmla="*/ 6209989 h 8304597"/>
              <a:gd name="connsiteX212" fmla="*/ 21015048 w 24377650"/>
              <a:gd name="connsiteY212" fmla="*/ 6193738 h 8304597"/>
              <a:gd name="connsiteX213" fmla="*/ 3372907 w 24377650"/>
              <a:gd name="connsiteY213" fmla="*/ 6171468 h 8304597"/>
              <a:gd name="connsiteX214" fmla="*/ 3444340 w 24377650"/>
              <a:gd name="connsiteY214" fmla="*/ 6209990 h 8304597"/>
              <a:gd name="connsiteX215" fmla="*/ 3448353 w 24377650"/>
              <a:gd name="connsiteY215" fmla="*/ 6212583 h 8304597"/>
              <a:gd name="connsiteX216" fmla="*/ 3448353 w 24377650"/>
              <a:gd name="connsiteY216" fmla="*/ 6214804 h 8304597"/>
              <a:gd name="connsiteX217" fmla="*/ 3448353 w 24377650"/>
              <a:gd name="connsiteY217" fmla="*/ 6248511 h 8304597"/>
              <a:gd name="connsiteX218" fmla="*/ 3372907 w 24377650"/>
              <a:gd name="connsiteY218" fmla="*/ 6248511 h 8304597"/>
              <a:gd name="connsiteX219" fmla="*/ 3372907 w 24377650"/>
              <a:gd name="connsiteY219" fmla="*/ 6216008 h 8304597"/>
              <a:gd name="connsiteX220" fmla="*/ 3372907 w 24377650"/>
              <a:gd name="connsiteY220" fmla="*/ 6209989 h 8304597"/>
              <a:gd name="connsiteX221" fmla="*/ 3393901 w 24377650"/>
              <a:gd name="connsiteY221" fmla="*/ 6187117 h 8304597"/>
              <a:gd name="connsiteX222" fmla="*/ 3372907 w 24377650"/>
              <a:gd name="connsiteY222" fmla="*/ 6171904 h 8304597"/>
              <a:gd name="connsiteX223" fmla="*/ 21589096 w 24377650"/>
              <a:gd name="connsiteY223" fmla="*/ 6132947 h 8304597"/>
              <a:gd name="connsiteX224" fmla="*/ 21627622 w 24377650"/>
              <a:gd name="connsiteY224" fmla="*/ 6248511 h 8304597"/>
              <a:gd name="connsiteX225" fmla="*/ 21703068 w 24377650"/>
              <a:gd name="connsiteY225" fmla="*/ 6248511 h 8304597"/>
              <a:gd name="connsiteX226" fmla="*/ 21666148 w 24377650"/>
              <a:gd name="connsiteY226" fmla="*/ 6132947 h 8304597"/>
              <a:gd name="connsiteX227" fmla="*/ 21589096 w 24377650"/>
              <a:gd name="connsiteY227" fmla="*/ 6132947 h 8304597"/>
              <a:gd name="connsiteX228" fmla="*/ 1390444 w 24377650"/>
              <a:gd name="connsiteY228" fmla="*/ 6132947 h 8304597"/>
              <a:gd name="connsiteX229" fmla="*/ 1467495 w 24377650"/>
              <a:gd name="connsiteY229" fmla="*/ 6171468 h 8304597"/>
              <a:gd name="connsiteX230" fmla="*/ 1390444 w 24377650"/>
              <a:gd name="connsiteY230" fmla="*/ 6132947 h 8304597"/>
              <a:gd name="connsiteX231" fmla="*/ 22199084 w 24377650"/>
              <a:gd name="connsiteY231" fmla="*/ 6013147 h 8304597"/>
              <a:gd name="connsiteX232" fmla="*/ 22199084 w 24377650"/>
              <a:gd name="connsiteY232" fmla="*/ 6018987 h 8304597"/>
              <a:gd name="connsiteX233" fmla="*/ 22177452 w 24377650"/>
              <a:gd name="connsiteY233" fmla="*/ 6016426 h 8304597"/>
              <a:gd name="connsiteX234" fmla="*/ 22160558 w 24377650"/>
              <a:gd name="connsiteY234" fmla="*/ 5791068 h 8304597"/>
              <a:gd name="connsiteX235" fmla="*/ 22237610 w 24377650"/>
              <a:gd name="connsiteY235" fmla="*/ 5827985 h 8304597"/>
              <a:gd name="connsiteX236" fmla="*/ 22199084 w 24377650"/>
              <a:gd name="connsiteY236" fmla="*/ 5791068 h 8304597"/>
              <a:gd name="connsiteX237" fmla="*/ 22160558 w 24377650"/>
              <a:gd name="connsiteY237" fmla="*/ 5791068 h 8304597"/>
              <a:gd name="connsiteX238" fmla="*/ 361489 w 24377650"/>
              <a:gd name="connsiteY238" fmla="*/ 5714025 h 8304597"/>
              <a:gd name="connsiteX239" fmla="*/ 475460 w 24377650"/>
              <a:gd name="connsiteY239" fmla="*/ 5752547 h 8304597"/>
              <a:gd name="connsiteX240" fmla="*/ 361489 w 24377650"/>
              <a:gd name="connsiteY240" fmla="*/ 5714025 h 8304597"/>
              <a:gd name="connsiteX241" fmla="*/ 0 w 24377650"/>
              <a:gd name="connsiteY241" fmla="*/ 5559064 h 8304597"/>
              <a:gd name="connsiteX242" fmla="*/ 17969 w 24377650"/>
              <a:gd name="connsiteY242" fmla="*/ 5561544 h 8304597"/>
              <a:gd name="connsiteX243" fmla="*/ 11598 w 24377650"/>
              <a:gd name="connsiteY243" fmla="*/ 5567563 h 8304597"/>
              <a:gd name="connsiteX244" fmla="*/ 0 w 24377650"/>
              <a:gd name="connsiteY244" fmla="*/ 5576647 h 8304597"/>
              <a:gd name="connsiteX245" fmla="*/ 23342010 w 24377650"/>
              <a:gd name="connsiteY245" fmla="*/ 5447585 h 8304597"/>
              <a:gd name="connsiteX246" fmla="*/ 23380536 w 24377650"/>
              <a:gd name="connsiteY246" fmla="*/ 5486106 h 8304597"/>
              <a:gd name="connsiteX247" fmla="*/ 23494508 w 24377650"/>
              <a:gd name="connsiteY247" fmla="*/ 5447585 h 8304597"/>
              <a:gd name="connsiteX248" fmla="*/ 23342010 w 24377650"/>
              <a:gd name="connsiteY248" fmla="*/ 5447585 h 8304597"/>
              <a:gd name="connsiteX249" fmla="*/ 889611 w 24377650"/>
              <a:gd name="connsiteY249" fmla="*/ 5442569 h 8304597"/>
              <a:gd name="connsiteX250" fmla="*/ 780455 w 24377650"/>
              <a:gd name="connsiteY250" fmla="*/ 5523023 h 8304597"/>
              <a:gd name="connsiteX251" fmla="*/ 1010004 w 24377650"/>
              <a:gd name="connsiteY251" fmla="*/ 5523023 h 8304597"/>
              <a:gd name="connsiteX252" fmla="*/ 1085449 w 24377650"/>
              <a:gd name="connsiteY252" fmla="*/ 5447585 h 8304597"/>
              <a:gd name="connsiteX253" fmla="*/ 889611 w 24377650"/>
              <a:gd name="connsiteY253" fmla="*/ 5442569 h 8304597"/>
              <a:gd name="connsiteX254" fmla="*/ 1146147 w 24377650"/>
              <a:gd name="connsiteY254" fmla="*/ 5437352 h 8304597"/>
              <a:gd name="connsiteX255" fmla="*/ 1122370 w 24377650"/>
              <a:gd name="connsiteY255" fmla="*/ 5447585 h 8304597"/>
              <a:gd name="connsiteX256" fmla="*/ 1122370 w 24377650"/>
              <a:gd name="connsiteY256" fmla="*/ 5486106 h 8304597"/>
              <a:gd name="connsiteX257" fmla="*/ 1199421 w 24377650"/>
              <a:gd name="connsiteY257" fmla="*/ 5486106 h 8304597"/>
              <a:gd name="connsiteX258" fmla="*/ 1146147 w 24377650"/>
              <a:gd name="connsiteY258" fmla="*/ 5437352 h 8304597"/>
              <a:gd name="connsiteX259" fmla="*/ 8975172 w 24377650"/>
              <a:gd name="connsiteY259" fmla="*/ 5409063 h 8304597"/>
              <a:gd name="connsiteX260" fmla="*/ 8898120 w 24377650"/>
              <a:gd name="connsiteY260" fmla="*/ 5447585 h 8304597"/>
              <a:gd name="connsiteX261" fmla="*/ 8975172 w 24377650"/>
              <a:gd name="connsiteY261" fmla="*/ 5447585 h 8304597"/>
              <a:gd name="connsiteX262" fmla="*/ 8975172 w 24377650"/>
              <a:gd name="connsiteY262" fmla="*/ 5409063 h 8304597"/>
              <a:gd name="connsiteX263" fmla="*/ 5087296 w 24377650"/>
              <a:gd name="connsiteY263" fmla="*/ 5409063 h 8304597"/>
              <a:gd name="connsiteX264" fmla="*/ 5087296 w 24377650"/>
              <a:gd name="connsiteY264" fmla="*/ 5447585 h 8304597"/>
              <a:gd name="connsiteX265" fmla="*/ 5239794 w 24377650"/>
              <a:gd name="connsiteY265" fmla="*/ 5486106 h 8304597"/>
              <a:gd name="connsiteX266" fmla="*/ 5239794 w 24377650"/>
              <a:gd name="connsiteY266" fmla="*/ 5447585 h 8304597"/>
              <a:gd name="connsiteX267" fmla="*/ 5087296 w 24377650"/>
              <a:gd name="connsiteY267" fmla="*/ 5447585 h 8304597"/>
              <a:gd name="connsiteX268" fmla="*/ 5087296 w 24377650"/>
              <a:gd name="connsiteY268" fmla="*/ 5409063 h 8304597"/>
              <a:gd name="connsiteX269" fmla="*/ 8098715 w 24377650"/>
              <a:gd name="connsiteY269" fmla="*/ 5370541 h 8304597"/>
              <a:gd name="connsiteX270" fmla="*/ 8060189 w 24377650"/>
              <a:gd name="connsiteY270" fmla="*/ 5409063 h 8304597"/>
              <a:gd name="connsiteX271" fmla="*/ 8212686 w 24377650"/>
              <a:gd name="connsiteY271" fmla="*/ 5409063 h 8304597"/>
              <a:gd name="connsiteX272" fmla="*/ 8098715 w 24377650"/>
              <a:gd name="connsiteY272" fmla="*/ 5370541 h 8304597"/>
              <a:gd name="connsiteX273" fmla="*/ 475460 w 24377650"/>
              <a:gd name="connsiteY273" fmla="*/ 5370541 h 8304597"/>
              <a:gd name="connsiteX274" fmla="*/ 491494 w 24377650"/>
              <a:gd name="connsiteY274" fmla="*/ 5394241 h 8304597"/>
              <a:gd name="connsiteX275" fmla="*/ 509517 w 24377650"/>
              <a:gd name="connsiteY275" fmla="*/ 5407998 h 8304597"/>
              <a:gd name="connsiteX276" fmla="*/ 486296 w 24377650"/>
              <a:gd name="connsiteY276" fmla="*/ 5402467 h 8304597"/>
              <a:gd name="connsiteX277" fmla="*/ 470448 w 24377650"/>
              <a:gd name="connsiteY277" fmla="*/ 5389087 h 8304597"/>
              <a:gd name="connsiteX278" fmla="*/ 23289840 w 24377650"/>
              <a:gd name="connsiteY278" fmla="*/ 5342854 h 8304597"/>
              <a:gd name="connsiteX279" fmla="*/ 23266564 w 24377650"/>
              <a:gd name="connsiteY279" fmla="*/ 5370541 h 8304597"/>
              <a:gd name="connsiteX280" fmla="*/ 23342010 w 24377650"/>
              <a:gd name="connsiteY280" fmla="*/ 5370541 h 8304597"/>
              <a:gd name="connsiteX281" fmla="*/ 23289840 w 24377650"/>
              <a:gd name="connsiteY281" fmla="*/ 5342854 h 8304597"/>
              <a:gd name="connsiteX282" fmla="*/ 475460 w 24377650"/>
              <a:gd name="connsiteY282" fmla="*/ 5333625 h 8304597"/>
              <a:gd name="connsiteX283" fmla="*/ 465829 w 24377650"/>
              <a:gd name="connsiteY283" fmla="*/ 5385187 h 8304597"/>
              <a:gd name="connsiteX284" fmla="*/ 470448 w 24377650"/>
              <a:gd name="connsiteY284" fmla="*/ 5389087 h 8304597"/>
              <a:gd name="connsiteX285" fmla="*/ 469441 w 24377650"/>
              <a:gd name="connsiteY285" fmla="*/ 5392812 h 8304597"/>
              <a:gd name="connsiteX286" fmla="*/ 436935 w 24377650"/>
              <a:gd name="connsiteY286" fmla="*/ 5409063 h 8304597"/>
              <a:gd name="connsiteX287" fmla="*/ 361489 w 24377650"/>
              <a:gd name="connsiteY287" fmla="*/ 5370541 h 8304597"/>
              <a:gd name="connsiteX288" fmla="*/ 475460 w 24377650"/>
              <a:gd name="connsiteY288" fmla="*/ 5333625 h 8304597"/>
              <a:gd name="connsiteX289" fmla="*/ 23796568 w 24377650"/>
              <a:gd name="connsiteY289" fmla="*/ 5278852 h 8304597"/>
              <a:gd name="connsiteX290" fmla="*/ 23799502 w 24377650"/>
              <a:gd name="connsiteY290" fmla="*/ 5295103 h 8304597"/>
              <a:gd name="connsiteX291" fmla="*/ 23876554 w 24377650"/>
              <a:gd name="connsiteY291" fmla="*/ 5333625 h 8304597"/>
              <a:gd name="connsiteX292" fmla="*/ 23762582 w 24377650"/>
              <a:gd name="connsiteY292" fmla="*/ 5409063 h 8304597"/>
              <a:gd name="connsiteX293" fmla="*/ 23876554 w 24377650"/>
              <a:gd name="connsiteY293" fmla="*/ 5409063 h 8304597"/>
              <a:gd name="connsiteX294" fmla="*/ 24029050 w 24377650"/>
              <a:gd name="connsiteY294" fmla="*/ 5370541 h 8304597"/>
              <a:gd name="connsiteX295" fmla="*/ 23915080 w 24377650"/>
              <a:gd name="connsiteY295" fmla="*/ 5295103 h 8304597"/>
              <a:gd name="connsiteX296" fmla="*/ 23796568 w 24377650"/>
              <a:gd name="connsiteY296" fmla="*/ 5278852 h 8304597"/>
              <a:gd name="connsiteX297" fmla="*/ 3486879 w 24377650"/>
              <a:gd name="connsiteY297" fmla="*/ 5218061 h 8304597"/>
              <a:gd name="connsiteX298" fmla="*/ 3486879 w 24377650"/>
              <a:gd name="connsiteY298" fmla="*/ 5256582 h 8304597"/>
              <a:gd name="connsiteX299" fmla="*/ 3486879 w 24377650"/>
              <a:gd name="connsiteY299" fmla="*/ 5218061 h 8304597"/>
              <a:gd name="connsiteX300" fmla="*/ 3220410 w 24377650"/>
              <a:gd name="connsiteY300" fmla="*/ 5181144 h 8304597"/>
              <a:gd name="connsiteX301" fmla="*/ 3220881 w 24377650"/>
              <a:gd name="connsiteY301" fmla="*/ 5181205 h 8304597"/>
              <a:gd name="connsiteX302" fmla="*/ 3220526 w 24377650"/>
              <a:gd name="connsiteY302" fmla="*/ 5181311 h 8304597"/>
              <a:gd name="connsiteX303" fmla="*/ 3104833 w 24377650"/>
              <a:gd name="connsiteY303" fmla="*/ 5181144 h 8304597"/>
              <a:gd name="connsiteX304" fmla="*/ 3190913 w 24377650"/>
              <a:gd name="connsiteY304" fmla="*/ 5190173 h 8304597"/>
              <a:gd name="connsiteX305" fmla="*/ 3220526 w 24377650"/>
              <a:gd name="connsiteY305" fmla="*/ 5181311 h 8304597"/>
              <a:gd name="connsiteX306" fmla="*/ 3231597 w 24377650"/>
              <a:gd name="connsiteY306" fmla="*/ 5197295 h 8304597"/>
              <a:gd name="connsiteX307" fmla="*/ 3257330 w 24377650"/>
              <a:gd name="connsiteY307" fmla="*/ 5218061 h 8304597"/>
              <a:gd name="connsiteX308" fmla="*/ 3104833 w 24377650"/>
              <a:gd name="connsiteY308" fmla="*/ 5181144 h 8304597"/>
              <a:gd name="connsiteX309" fmla="*/ 1996219 w 24377650"/>
              <a:gd name="connsiteY309" fmla="*/ 5113732 h 8304597"/>
              <a:gd name="connsiteX310" fmla="*/ 1924986 w 24377650"/>
              <a:gd name="connsiteY310" fmla="*/ 5142623 h 8304597"/>
              <a:gd name="connsiteX311" fmla="*/ 2037353 w 24377650"/>
              <a:gd name="connsiteY311" fmla="*/ 5142623 h 8304597"/>
              <a:gd name="connsiteX312" fmla="*/ 1996219 w 24377650"/>
              <a:gd name="connsiteY312" fmla="*/ 5113732 h 8304597"/>
              <a:gd name="connsiteX313" fmla="*/ 3095879 w 24377650"/>
              <a:gd name="connsiteY313" fmla="*/ 5087850 h 8304597"/>
              <a:gd name="connsiteX314" fmla="*/ 3104833 w 24377650"/>
              <a:gd name="connsiteY314" fmla="*/ 5104101 h 8304597"/>
              <a:gd name="connsiteX315" fmla="*/ 3181884 w 24377650"/>
              <a:gd name="connsiteY315" fmla="*/ 5104101 h 8304597"/>
              <a:gd name="connsiteX316" fmla="*/ 3095879 w 24377650"/>
              <a:gd name="connsiteY316" fmla="*/ 5087850 h 8304597"/>
              <a:gd name="connsiteX317" fmla="*/ 2405152 w 24377650"/>
              <a:gd name="connsiteY317" fmla="*/ 5080025 h 8304597"/>
              <a:gd name="connsiteX318" fmla="*/ 2382478 w 24377650"/>
              <a:gd name="connsiteY318" fmla="*/ 5104101 h 8304597"/>
              <a:gd name="connsiteX319" fmla="*/ 2457924 w 24377650"/>
              <a:gd name="connsiteY319" fmla="*/ 5142623 h 8304597"/>
              <a:gd name="connsiteX320" fmla="*/ 2405152 w 24377650"/>
              <a:gd name="connsiteY320" fmla="*/ 5080025 h 8304597"/>
              <a:gd name="connsiteX321" fmla="*/ 2839970 w 24377650"/>
              <a:gd name="connsiteY321" fmla="*/ 5065579 h 8304597"/>
              <a:gd name="connsiteX322" fmla="*/ 2724392 w 24377650"/>
              <a:gd name="connsiteY322" fmla="*/ 5104101 h 8304597"/>
              <a:gd name="connsiteX323" fmla="*/ 2839970 w 24377650"/>
              <a:gd name="connsiteY323" fmla="*/ 5065579 h 8304597"/>
              <a:gd name="connsiteX324" fmla="*/ 2610421 w 24377650"/>
              <a:gd name="connsiteY324" fmla="*/ 5065579 h 8304597"/>
              <a:gd name="connsiteX325" fmla="*/ 2647342 w 24377650"/>
              <a:gd name="connsiteY325" fmla="*/ 5181144 h 8304597"/>
              <a:gd name="connsiteX326" fmla="*/ 2382478 w 24377650"/>
              <a:gd name="connsiteY326" fmla="*/ 5181144 h 8304597"/>
              <a:gd name="connsiteX327" fmla="*/ 2342347 w 24377650"/>
              <a:gd name="connsiteY327" fmla="*/ 5142623 h 8304597"/>
              <a:gd name="connsiteX328" fmla="*/ 2189850 w 24377650"/>
              <a:gd name="connsiteY328" fmla="*/ 5218061 h 8304597"/>
              <a:gd name="connsiteX329" fmla="*/ 2382478 w 24377650"/>
              <a:gd name="connsiteY329" fmla="*/ 5295103 h 8304597"/>
              <a:gd name="connsiteX330" fmla="*/ 2382478 w 24377650"/>
              <a:gd name="connsiteY330" fmla="*/ 5218061 h 8304597"/>
              <a:gd name="connsiteX331" fmla="*/ 2534975 w 24377650"/>
              <a:gd name="connsiteY331" fmla="*/ 5256582 h 8304597"/>
              <a:gd name="connsiteX332" fmla="*/ 2419399 w 24377650"/>
              <a:gd name="connsiteY332" fmla="*/ 5256582 h 8304597"/>
              <a:gd name="connsiteX333" fmla="*/ 2610421 w 24377650"/>
              <a:gd name="connsiteY333" fmla="*/ 5295103 h 8304597"/>
              <a:gd name="connsiteX334" fmla="*/ 2762918 w 24377650"/>
              <a:gd name="connsiteY334" fmla="*/ 5218061 h 8304597"/>
              <a:gd name="connsiteX335" fmla="*/ 2915416 w 24377650"/>
              <a:gd name="connsiteY335" fmla="*/ 5256582 h 8304597"/>
              <a:gd name="connsiteX336" fmla="*/ 2914814 w 24377650"/>
              <a:gd name="connsiteY336" fmla="*/ 5278852 h 8304597"/>
              <a:gd name="connsiteX337" fmla="*/ 2910983 w 24377650"/>
              <a:gd name="connsiteY337" fmla="*/ 5289248 h 8304597"/>
              <a:gd name="connsiteX338" fmla="*/ 2876890 w 24377650"/>
              <a:gd name="connsiteY338" fmla="*/ 5295103 h 8304597"/>
              <a:gd name="connsiteX339" fmla="*/ 2910600 w 24377650"/>
              <a:gd name="connsiteY339" fmla="*/ 5290288 h 8304597"/>
              <a:gd name="connsiteX340" fmla="*/ 2910983 w 24377650"/>
              <a:gd name="connsiteY340" fmla="*/ 5289248 h 8304597"/>
              <a:gd name="connsiteX341" fmla="*/ 3003051 w 24377650"/>
              <a:gd name="connsiteY341" fmla="*/ 5273435 h 8304597"/>
              <a:gd name="connsiteX342" fmla="*/ 3409827 w 24377650"/>
              <a:gd name="connsiteY342" fmla="*/ 5295103 h 8304597"/>
              <a:gd name="connsiteX343" fmla="*/ 3257330 w 24377650"/>
              <a:gd name="connsiteY343" fmla="*/ 5333625 h 8304597"/>
              <a:gd name="connsiteX344" fmla="*/ 2534975 w 24377650"/>
              <a:gd name="connsiteY344" fmla="*/ 5370541 h 8304597"/>
              <a:gd name="connsiteX345" fmla="*/ 2534975 w 24377650"/>
              <a:gd name="connsiteY345" fmla="*/ 5333625 h 8304597"/>
              <a:gd name="connsiteX346" fmla="*/ 2457924 w 24377650"/>
              <a:gd name="connsiteY346" fmla="*/ 5370541 h 8304597"/>
              <a:gd name="connsiteX347" fmla="*/ 2229981 w 24377650"/>
              <a:gd name="connsiteY347" fmla="*/ 5333625 h 8304597"/>
              <a:gd name="connsiteX348" fmla="*/ 2419399 w 24377650"/>
              <a:gd name="connsiteY348" fmla="*/ 5409063 h 8304597"/>
              <a:gd name="connsiteX349" fmla="*/ 2687472 w 24377650"/>
              <a:gd name="connsiteY349" fmla="*/ 5409063 h 8304597"/>
              <a:gd name="connsiteX350" fmla="*/ 2724392 w 24377650"/>
              <a:gd name="connsiteY350" fmla="*/ 5447585 h 8304597"/>
              <a:gd name="connsiteX351" fmla="*/ 3104833 w 24377650"/>
              <a:gd name="connsiteY351" fmla="*/ 5447585 h 8304597"/>
              <a:gd name="connsiteX352" fmla="*/ 3334382 w 24377650"/>
              <a:gd name="connsiteY352" fmla="*/ 5486106 h 8304597"/>
              <a:gd name="connsiteX353" fmla="*/ 3448353 w 24377650"/>
              <a:gd name="connsiteY353" fmla="*/ 5486106 h 8304597"/>
              <a:gd name="connsiteX354" fmla="*/ 3486879 w 24377650"/>
              <a:gd name="connsiteY354" fmla="*/ 5486106 h 8304597"/>
              <a:gd name="connsiteX355" fmla="*/ 3486879 w 24377650"/>
              <a:gd name="connsiteY355" fmla="*/ 5523023 h 8304597"/>
              <a:gd name="connsiteX356" fmla="*/ 3562324 w 24377650"/>
              <a:gd name="connsiteY356" fmla="*/ 5486106 h 8304597"/>
              <a:gd name="connsiteX357" fmla="*/ 3828793 w 24377650"/>
              <a:gd name="connsiteY357" fmla="*/ 5523023 h 8304597"/>
              <a:gd name="connsiteX358" fmla="*/ 3905845 w 24377650"/>
              <a:gd name="connsiteY358" fmla="*/ 5486106 h 8304597"/>
              <a:gd name="connsiteX359" fmla="*/ 4210839 w 24377650"/>
              <a:gd name="connsiteY359" fmla="*/ 5447585 h 8304597"/>
              <a:gd name="connsiteX360" fmla="*/ 4324811 w 24377650"/>
              <a:gd name="connsiteY360" fmla="*/ 5523023 h 8304597"/>
              <a:gd name="connsiteX361" fmla="*/ 4666726 w 24377650"/>
              <a:gd name="connsiteY361" fmla="*/ 5447585 h 8304597"/>
              <a:gd name="connsiteX362" fmla="*/ 5048771 w 24377650"/>
              <a:gd name="connsiteY362" fmla="*/ 5333625 h 8304597"/>
              <a:gd name="connsiteX363" fmla="*/ 5125822 w 24377650"/>
              <a:gd name="connsiteY363" fmla="*/ 5333625 h 8304597"/>
              <a:gd name="connsiteX364" fmla="*/ 5164348 w 24377650"/>
              <a:gd name="connsiteY364" fmla="*/ 5370541 h 8304597"/>
              <a:gd name="connsiteX365" fmla="*/ 5430817 w 24377650"/>
              <a:gd name="connsiteY365" fmla="*/ 5370541 h 8304597"/>
              <a:gd name="connsiteX366" fmla="*/ 5353766 w 24377650"/>
              <a:gd name="connsiteY366" fmla="*/ 5333625 h 8304597"/>
              <a:gd name="connsiteX367" fmla="*/ 5469342 w 24377650"/>
              <a:gd name="connsiteY367" fmla="*/ 5333625 h 8304597"/>
              <a:gd name="connsiteX368" fmla="*/ 5544788 w 24377650"/>
              <a:gd name="connsiteY368" fmla="*/ 5295103 h 8304597"/>
              <a:gd name="connsiteX369" fmla="*/ 5239794 w 24377650"/>
              <a:gd name="connsiteY369" fmla="*/ 5295103 h 8304597"/>
              <a:gd name="connsiteX370" fmla="*/ 4934800 w 24377650"/>
              <a:gd name="connsiteY370" fmla="*/ 5333625 h 8304597"/>
              <a:gd name="connsiteX371" fmla="*/ 4896274 w 24377650"/>
              <a:gd name="connsiteY371" fmla="*/ 5295103 h 8304597"/>
              <a:gd name="connsiteX372" fmla="*/ 4934800 w 24377650"/>
              <a:gd name="connsiteY372" fmla="*/ 5295103 h 8304597"/>
              <a:gd name="connsiteX373" fmla="*/ 4401862 w 24377650"/>
              <a:gd name="connsiteY373" fmla="*/ 5256582 h 8304597"/>
              <a:gd name="connsiteX374" fmla="*/ 4286285 w 24377650"/>
              <a:gd name="connsiteY374" fmla="*/ 5295103 h 8304597"/>
              <a:gd name="connsiteX375" fmla="*/ 4133788 w 24377650"/>
              <a:gd name="connsiteY375" fmla="*/ 5256582 h 8304597"/>
              <a:gd name="connsiteX376" fmla="*/ 3600851 w 24377650"/>
              <a:gd name="connsiteY376" fmla="*/ 5218061 h 8304597"/>
              <a:gd name="connsiteX377" fmla="*/ 3525405 w 24377650"/>
              <a:gd name="connsiteY377" fmla="*/ 5256582 h 8304597"/>
              <a:gd name="connsiteX378" fmla="*/ 3525405 w 24377650"/>
              <a:gd name="connsiteY378" fmla="*/ 5218061 h 8304597"/>
              <a:gd name="connsiteX379" fmla="*/ 3486879 w 24377650"/>
              <a:gd name="connsiteY379" fmla="*/ 5218061 h 8304597"/>
              <a:gd name="connsiteX380" fmla="*/ 3409827 w 24377650"/>
              <a:gd name="connsiteY380" fmla="*/ 5181144 h 8304597"/>
              <a:gd name="connsiteX381" fmla="*/ 3409827 w 24377650"/>
              <a:gd name="connsiteY381" fmla="*/ 5256582 h 8304597"/>
              <a:gd name="connsiteX382" fmla="*/ 3334382 w 24377650"/>
              <a:gd name="connsiteY382" fmla="*/ 5256582 h 8304597"/>
              <a:gd name="connsiteX383" fmla="*/ 3372907 w 24377650"/>
              <a:gd name="connsiteY383" fmla="*/ 5218061 h 8304597"/>
              <a:gd name="connsiteX384" fmla="*/ 3265231 w 24377650"/>
              <a:gd name="connsiteY384" fmla="*/ 5186912 h 8304597"/>
              <a:gd name="connsiteX385" fmla="*/ 3220881 w 24377650"/>
              <a:gd name="connsiteY385" fmla="*/ 5181205 h 8304597"/>
              <a:gd name="connsiteX386" fmla="*/ 3223344 w 24377650"/>
              <a:gd name="connsiteY386" fmla="*/ 5180467 h 8304597"/>
              <a:gd name="connsiteX387" fmla="*/ 3220410 w 24377650"/>
              <a:gd name="connsiteY387" fmla="*/ 5142623 h 8304597"/>
              <a:gd name="connsiteX388" fmla="*/ 3104833 w 24377650"/>
              <a:gd name="connsiteY388" fmla="*/ 5142623 h 8304597"/>
              <a:gd name="connsiteX389" fmla="*/ 2952336 w 24377650"/>
              <a:gd name="connsiteY389" fmla="*/ 5181144 h 8304597"/>
              <a:gd name="connsiteX390" fmla="*/ 2990861 w 24377650"/>
              <a:gd name="connsiteY390" fmla="*/ 5218061 h 8304597"/>
              <a:gd name="connsiteX391" fmla="*/ 2915416 w 24377650"/>
              <a:gd name="connsiteY391" fmla="*/ 5218061 h 8304597"/>
              <a:gd name="connsiteX392" fmla="*/ 2839970 w 24377650"/>
              <a:gd name="connsiteY392" fmla="*/ 5142623 h 8304597"/>
              <a:gd name="connsiteX393" fmla="*/ 2915416 w 24377650"/>
              <a:gd name="connsiteY393" fmla="*/ 5142623 h 8304597"/>
              <a:gd name="connsiteX394" fmla="*/ 2647342 w 24377650"/>
              <a:gd name="connsiteY394" fmla="*/ 5181144 h 8304597"/>
              <a:gd name="connsiteX395" fmla="*/ 2647342 w 24377650"/>
              <a:gd name="connsiteY395" fmla="*/ 5142623 h 8304597"/>
              <a:gd name="connsiteX396" fmla="*/ 2762918 w 24377650"/>
              <a:gd name="connsiteY396" fmla="*/ 5142623 h 8304597"/>
              <a:gd name="connsiteX397" fmla="*/ 2610421 w 24377650"/>
              <a:gd name="connsiteY397" fmla="*/ 5065579 h 8304597"/>
              <a:gd name="connsiteX398" fmla="*/ 1924986 w 24377650"/>
              <a:gd name="connsiteY398" fmla="*/ 5065579 h 8304597"/>
              <a:gd name="connsiteX399" fmla="*/ 1772489 w 24377650"/>
              <a:gd name="connsiteY399" fmla="*/ 5104101 h 8304597"/>
              <a:gd name="connsiteX400" fmla="*/ 1924986 w 24377650"/>
              <a:gd name="connsiteY400" fmla="*/ 5065579 h 8304597"/>
              <a:gd name="connsiteX401" fmla="*/ 2445386 w 24377650"/>
              <a:gd name="connsiteY401" fmla="*/ 5032427 h 8304597"/>
              <a:gd name="connsiteX402" fmla="*/ 2419399 w 24377650"/>
              <a:gd name="connsiteY402" fmla="*/ 5065579 h 8304597"/>
              <a:gd name="connsiteX403" fmla="*/ 2495020 w 24377650"/>
              <a:gd name="connsiteY403" fmla="*/ 5098082 h 8304597"/>
              <a:gd name="connsiteX404" fmla="*/ 2518860 w 24377650"/>
              <a:gd name="connsiteY404" fmla="*/ 5101673 h 8304597"/>
              <a:gd name="connsiteX405" fmla="*/ 2518045 w 24377650"/>
              <a:gd name="connsiteY405" fmla="*/ 5103499 h 8304597"/>
              <a:gd name="connsiteX406" fmla="*/ 2534975 w 24377650"/>
              <a:gd name="connsiteY406" fmla="*/ 5104101 h 8304597"/>
              <a:gd name="connsiteX407" fmla="*/ 2518860 w 24377650"/>
              <a:gd name="connsiteY407" fmla="*/ 5101673 h 8304597"/>
              <a:gd name="connsiteX408" fmla="*/ 2519926 w 24377650"/>
              <a:gd name="connsiteY408" fmla="*/ 5099286 h 8304597"/>
              <a:gd name="connsiteX409" fmla="*/ 2534975 w 24377650"/>
              <a:gd name="connsiteY409" fmla="*/ 5065579 h 8304597"/>
              <a:gd name="connsiteX410" fmla="*/ 2445386 w 24377650"/>
              <a:gd name="connsiteY410" fmla="*/ 5032427 h 8304597"/>
              <a:gd name="connsiteX411" fmla="*/ 2382478 w 24377650"/>
              <a:gd name="connsiteY411" fmla="*/ 5028663 h 8304597"/>
              <a:gd name="connsiteX412" fmla="*/ 2266901 w 24377650"/>
              <a:gd name="connsiteY412" fmla="*/ 5065579 h 8304597"/>
              <a:gd name="connsiteX413" fmla="*/ 2382478 w 24377650"/>
              <a:gd name="connsiteY413" fmla="*/ 5028663 h 8304597"/>
              <a:gd name="connsiteX414" fmla="*/ 1199421 w 24377650"/>
              <a:gd name="connsiteY414" fmla="*/ 4990141 h 8304597"/>
              <a:gd name="connsiteX415" fmla="*/ 1162501 w 24377650"/>
              <a:gd name="connsiteY415" fmla="*/ 5065579 h 8304597"/>
              <a:gd name="connsiteX416" fmla="*/ 1199421 w 24377650"/>
              <a:gd name="connsiteY416" fmla="*/ 4990141 h 8304597"/>
              <a:gd name="connsiteX417" fmla="*/ 1229636 w 24377650"/>
              <a:gd name="connsiteY417" fmla="*/ 4892919 h 8304597"/>
              <a:gd name="connsiteX418" fmla="*/ 1228516 w 24377650"/>
              <a:gd name="connsiteY418" fmla="*/ 4894641 h 8304597"/>
              <a:gd name="connsiteX419" fmla="*/ 1206118 w 24377650"/>
              <a:gd name="connsiteY419" fmla="*/ 4907331 h 8304597"/>
              <a:gd name="connsiteX420" fmla="*/ 1202128 w 24377650"/>
              <a:gd name="connsiteY420" fmla="*/ 4907858 h 8304597"/>
              <a:gd name="connsiteX421" fmla="*/ 1203083 w 24377650"/>
              <a:gd name="connsiteY421" fmla="*/ 4906804 h 8304597"/>
              <a:gd name="connsiteX422" fmla="*/ 1924986 w 24377650"/>
              <a:gd name="connsiteY422" fmla="*/ 4799139 h 8304597"/>
              <a:gd name="connsiteX423" fmla="*/ 1924986 w 24377650"/>
              <a:gd name="connsiteY423" fmla="*/ 4876182 h 8304597"/>
              <a:gd name="connsiteX424" fmla="*/ 1924986 w 24377650"/>
              <a:gd name="connsiteY424" fmla="*/ 4799139 h 8304597"/>
              <a:gd name="connsiteX425" fmla="*/ 1390444 w 24377650"/>
              <a:gd name="connsiteY425" fmla="*/ 4799139 h 8304597"/>
              <a:gd name="connsiteX426" fmla="*/ 1392627 w 24377650"/>
              <a:gd name="connsiteY426" fmla="*/ 4800068 h 8304597"/>
              <a:gd name="connsiteX427" fmla="*/ 1386280 w 24377650"/>
              <a:gd name="connsiteY427" fmla="*/ 4802197 h 8304597"/>
              <a:gd name="connsiteX428" fmla="*/ 1427364 w 24377650"/>
              <a:gd name="connsiteY428" fmla="*/ 4760617 h 8304597"/>
              <a:gd name="connsiteX429" fmla="*/ 1542941 w 24377650"/>
              <a:gd name="connsiteY429" fmla="*/ 4799139 h 8304597"/>
              <a:gd name="connsiteX430" fmla="*/ 1441360 w 24377650"/>
              <a:gd name="connsiteY430" fmla="*/ 4820808 h 8304597"/>
              <a:gd name="connsiteX431" fmla="*/ 1392627 w 24377650"/>
              <a:gd name="connsiteY431" fmla="*/ 4800068 h 8304597"/>
              <a:gd name="connsiteX432" fmla="*/ 1393604 w 24377650"/>
              <a:gd name="connsiteY432" fmla="*/ 4799741 h 8304597"/>
              <a:gd name="connsiteX433" fmla="*/ 1427364 w 24377650"/>
              <a:gd name="connsiteY433" fmla="*/ 4760617 h 8304597"/>
              <a:gd name="connsiteX434" fmla="*/ 1864966 w 24377650"/>
              <a:gd name="connsiteY434" fmla="*/ 4750460 h 8304597"/>
              <a:gd name="connsiteX435" fmla="*/ 1579861 w 24377650"/>
              <a:gd name="connsiteY435" fmla="*/ 4760617 h 8304597"/>
              <a:gd name="connsiteX436" fmla="*/ 1594910 w 24377650"/>
              <a:gd name="connsiteY436" fmla="*/ 4794324 h 8304597"/>
              <a:gd name="connsiteX437" fmla="*/ 1595503 w 24377650"/>
              <a:gd name="connsiteY437" fmla="*/ 4795652 h 8304597"/>
              <a:gd name="connsiteX438" fmla="*/ 1579861 w 24377650"/>
              <a:gd name="connsiteY438" fmla="*/ 4799139 h 8304597"/>
              <a:gd name="connsiteX439" fmla="*/ 1596791 w 24377650"/>
              <a:gd name="connsiteY439" fmla="*/ 4798537 h 8304597"/>
              <a:gd name="connsiteX440" fmla="*/ 1595503 w 24377650"/>
              <a:gd name="connsiteY440" fmla="*/ 4795652 h 8304597"/>
              <a:gd name="connsiteX441" fmla="*/ 1655458 w 24377650"/>
              <a:gd name="connsiteY441" fmla="*/ 4782286 h 8304597"/>
              <a:gd name="connsiteX442" fmla="*/ 1924986 w 24377650"/>
              <a:gd name="connsiteY442" fmla="*/ 4760617 h 8304597"/>
              <a:gd name="connsiteX443" fmla="*/ 1864966 w 24377650"/>
              <a:gd name="connsiteY443" fmla="*/ 4750460 h 8304597"/>
              <a:gd name="connsiteX444" fmla="*/ 1130316 w 24377650"/>
              <a:gd name="connsiteY444" fmla="*/ 4687298 h 8304597"/>
              <a:gd name="connsiteX445" fmla="*/ 1140428 w 24377650"/>
              <a:gd name="connsiteY445" fmla="*/ 4689994 h 8304597"/>
              <a:gd name="connsiteX446" fmla="*/ 1162296 w 24377650"/>
              <a:gd name="connsiteY446" fmla="*/ 4692645 h 8304597"/>
              <a:gd name="connsiteX447" fmla="*/ 1161873 w 24377650"/>
              <a:gd name="connsiteY447" fmla="*/ 4708026 h 8304597"/>
              <a:gd name="connsiteX448" fmla="*/ 1122370 w 24377650"/>
              <a:gd name="connsiteY448" fmla="*/ 4760617 h 8304597"/>
              <a:gd name="connsiteX449" fmla="*/ 1122370 w 24377650"/>
              <a:gd name="connsiteY449" fmla="*/ 4799139 h 8304597"/>
              <a:gd name="connsiteX450" fmla="*/ 818981 w 24377650"/>
              <a:gd name="connsiteY450" fmla="*/ 4837661 h 8304597"/>
              <a:gd name="connsiteX451" fmla="*/ 780455 w 24377650"/>
              <a:gd name="connsiteY451" fmla="*/ 4760617 h 8304597"/>
              <a:gd name="connsiteX452" fmla="*/ 1122370 w 24377650"/>
              <a:gd name="connsiteY452" fmla="*/ 4723701 h 8304597"/>
              <a:gd name="connsiteX453" fmla="*/ 1123574 w 24377650"/>
              <a:gd name="connsiteY453" fmla="*/ 4689994 h 8304597"/>
              <a:gd name="connsiteX454" fmla="*/ 2152929 w 24377650"/>
              <a:gd name="connsiteY454" fmla="*/ 4685179 h 8304597"/>
              <a:gd name="connsiteX455" fmla="*/ 2077483 w 24377650"/>
              <a:gd name="connsiteY455" fmla="*/ 4723701 h 8304597"/>
              <a:gd name="connsiteX456" fmla="*/ 2152929 w 24377650"/>
              <a:gd name="connsiteY456" fmla="*/ 4685179 h 8304597"/>
              <a:gd name="connsiteX457" fmla="*/ 1314997 w 24377650"/>
              <a:gd name="connsiteY457" fmla="*/ 4685179 h 8304597"/>
              <a:gd name="connsiteX458" fmla="*/ 1162501 w 24377650"/>
              <a:gd name="connsiteY458" fmla="*/ 4799139 h 8304597"/>
              <a:gd name="connsiteX459" fmla="*/ 1274867 w 24377650"/>
              <a:gd name="connsiteY459" fmla="*/ 4837661 h 8304597"/>
              <a:gd name="connsiteX460" fmla="*/ 1352319 w 24377650"/>
              <a:gd name="connsiteY460" fmla="*/ 4813585 h 8304597"/>
              <a:gd name="connsiteX461" fmla="*/ 1386280 w 24377650"/>
              <a:gd name="connsiteY461" fmla="*/ 4802197 h 8304597"/>
              <a:gd name="connsiteX462" fmla="*/ 1328191 w 24377650"/>
              <a:gd name="connsiteY462" fmla="*/ 4844858 h 8304597"/>
              <a:gd name="connsiteX463" fmla="*/ 1262025 w 24377650"/>
              <a:gd name="connsiteY463" fmla="*/ 4875981 h 8304597"/>
              <a:gd name="connsiteX464" fmla="*/ 1229636 w 24377650"/>
              <a:gd name="connsiteY464" fmla="*/ 4892919 h 8304597"/>
              <a:gd name="connsiteX465" fmla="*/ 1236768 w 24377650"/>
              <a:gd name="connsiteY465" fmla="*/ 4881950 h 8304597"/>
              <a:gd name="connsiteX466" fmla="*/ 1237947 w 24377650"/>
              <a:gd name="connsiteY466" fmla="*/ 4876182 h 8304597"/>
              <a:gd name="connsiteX467" fmla="*/ 1046923 w 24377650"/>
              <a:gd name="connsiteY467" fmla="*/ 4837661 h 8304597"/>
              <a:gd name="connsiteX468" fmla="*/ 1122370 w 24377650"/>
              <a:gd name="connsiteY468" fmla="*/ 4760617 h 8304597"/>
              <a:gd name="connsiteX469" fmla="*/ 1246976 w 24377650"/>
              <a:gd name="connsiteY469" fmla="*/ 4737344 h 8304597"/>
              <a:gd name="connsiteX470" fmla="*/ 1266289 w 24377650"/>
              <a:gd name="connsiteY470" fmla="*/ 4722533 h 8304597"/>
              <a:gd name="connsiteX471" fmla="*/ 1274867 w 24377650"/>
              <a:gd name="connsiteY471" fmla="*/ 4723701 h 8304597"/>
              <a:gd name="connsiteX472" fmla="*/ 1271720 w 24377650"/>
              <a:gd name="connsiteY472" fmla="*/ 4718367 h 8304597"/>
              <a:gd name="connsiteX473" fmla="*/ 1162501 w 24377650"/>
              <a:gd name="connsiteY473" fmla="*/ 4685179 h 8304597"/>
              <a:gd name="connsiteX474" fmla="*/ 1185024 w 24377650"/>
              <a:gd name="connsiteY474" fmla="*/ 4691198 h 8304597"/>
              <a:gd name="connsiteX475" fmla="*/ 1187634 w 24377650"/>
              <a:gd name="connsiteY475" fmla="*/ 4692997 h 8304597"/>
              <a:gd name="connsiteX476" fmla="*/ 1180158 w 24377650"/>
              <a:gd name="connsiteY476" fmla="*/ 4694809 h 8304597"/>
              <a:gd name="connsiteX477" fmla="*/ 1162296 w 24377650"/>
              <a:gd name="connsiteY477" fmla="*/ 4692645 h 8304597"/>
              <a:gd name="connsiteX478" fmla="*/ 1122370 w 24377650"/>
              <a:gd name="connsiteY478" fmla="*/ 4685179 h 8304597"/>
              <a:gd name="connsiteX479" fmla="*/ 1134108 w 24377650"/>
              <a:gd name="connsiteY479" fmla="*/ 4685781 h 8304597"/>
              <a:gd name="connsiteX480" fmla="*/ 1130316 w 24377650"/>
              <a:gd name="connsiteY480" fmla="*/ 4687298 h 8304597"/>
              <a:gd name="connsiteX481" fmla="*/ 2313578 w 24377650"/>
              <a:gd name="connsiteY481" fmla="*/ 4631083 h 8304597"/>
              <a:gd name="connsiteX482" fmla="*/ 2266901 w 24377650"/>
              <a:gd name="connsiteY482" fmla="*/ 4646657 h 8304597"/>
              <a:gd name="connsiteX483" fmla="*/ 2494844 w 24377650"/>
              <a:gd name="connsiteY483" fmla="*/ 4646657 h 8304597"/>
              <a:gd name="connsiteX484" fmla="*/ 2313578 w 24377650"/>
              <a:gd name="connsiteY484" fmla="*/ 4631083 h 8304597"/>
              <a:gd name="connsiteX485" fmla="*/ 2000433 w 24377650"/>
              <a:gd name="connsiteY485" fmla="*/ 4609741 h 8304597"/>
              <a:gd name="connsiteX486" fmla="*/ 1427364 w 24377650"/>
              <a:gd name="connsiteY486" fmla="*/ 4646657 h 8304597"/>
              <a:gd name="connsiteX487" fmla="*/ 1579861 w 24377650"/>
              <a:gd name="connsiteY487" fmla="*/ 4685179 h 8304597"/>
              <a:gd name="connsiteX488" fmla="*/ 1542941 w 24377650"/>
              <a:gd name="connsiteY488" fmla="*/ 4646657 h 8304597"/>
              <a:gd name="connsiteX489" fmla="*/ 1579861 w 24377650"/>
              <a:gd name="connsiteY489" fmla="*/ 4646657 h 8304597"/>
              <a:gd name="connsiteX490" fmla="*/ 1809410 w 24377650"/>
              <a:gd name="connsiteY490" fmla="*/ 4723701 h 8304597"/>
              <a:gd name="connsiteX491" fmla="*/ 1924986 w 24377650"/>
              <a:gd name="connsiteY491" fmla="*/ 4646657 h 8304597"/>
              <a:gd name="connsiteX492" fmla="*/ 2000433 w 24377650"/>
              <a:gd name="connsiteY492" fmla="*/ 4685179 h 8304597"/>
              <a:gd name="connsiteX493" fmla="*/ 2037353 w 24377650"/>
              <a:gd name="connsiteY493" fmla="*/ 4609741 h 8304597"/>
              <a:gd name="connsiteX494" fmla="*/ 24181548 w 24377650"/>
              <a:gd name="connsiteY494" fmla="*/ 4532698 h 8304597"/>
              <a:gd name="connsiteX495" fmla="*/ 24104496 w 24377650"/>
              <a:gd name="connsiteY495" fmla="*/ 4609741 h 8304597"/>
              <a:gd name="connsiteX496" fmla="*/ 24181548 w 24377650"/>
              <a:gd name="connsiteY496" fmla="*/ 4646657 h 8304597"/>
              <a:gd name="connsiteX497" fmla="*/ 24067576 w 24377650"/>
              <a:gd name="connsiteY497" fmla="*/ 4685179 h 8304597"/>
              <a:gd name="connsiteX498" fmla="*/ 24181548 w 24377650"/>
              <a:gd name="connsiteY498" fmla="*/ 4685179 h 8304597"/>
              <a:gd name="connsiteX499" fmla="*/ 24220074 w 24377650"/>
              <a:gd name="connsiteY499" fmla="*/ 4760617 h 8304597"/>
              <a:gd name="connsiteX500" fmla="*/ 24334046 w 24377650"/>
              <a:gd name="connsiteY500" fmla="*/ 4723701 h 8304597"/>
              <a:gd name="connsiteX501" fmla="*/ 24181548 w 24377650"/>
              <a:gd name="connsiteY501" fmla="*/ 4532698 h 8304597"/>
              <a:gd name="connsiteX502" fmla="*/ 56494 w 24377650"/>
              <a:gd name="connsiteY502" fmla="*/ 4532698 h 8304597"/>
              <a:gd name="connsiteX503" fmla="*/ 56494 w 24377650"/>
              <a:gd name="connsiteY503" fmla="*/ 4571219 h 8304597"/>
              <a:gd name="connsiteX504" fmla="*/ 170466 w 24377650"/>
              <a:gd name="connsiteY504" fmla="*/ 4609741 h 8304597"/>
              <a:gd name="connsiteX505" fmla="*/ 247517 w 24377650"/>
              <a:gd name="connsiteY505" fmla="*/ 4571219 h 8304597"/>
              <a:gd name="connsiteX506" fmla="*/ 247517 w 24377650"/>
              <a:gd name="connsiteY506" fmla="*/ 4532698 h 8304597"/>
              <a:gd name="connsiteX507" fmla="*/ 56494 w 24377650"/>
              <a:gd name="connsiteY507" fmla="*/ 4532698 h 8304597"/>
              <a:gd name="connsiteX508" fmla="*/ 1960709 w 24377650"/>
              <a:gd name="connsiteY508" fmla="*/ 4528074 h 8304597"/>
              <a:gd name="connsiteX509" fmla="*/ 1961907 w 24377650"/>
              <a:gd name="connsiteY509" fmla="*/ 4532698 h 8304597"/>
              <a:gd name="connsiteX510" fmla="*/ 1900381 w 24377650"/>
              <a:gd name="connsiteY510" fmla="*/ 4543532 h 8304597"/>
              <a:gd name="connsiteX511" fmla="*/ 1898065 w 24377650"/>
              <a:gd name="connsiteY511" fmla="*/ 4543095 h 8304597"/>
              <a:gd name="connsiteX512" fmla="*/ 689960 w 24377650"/>
              <a:gd name="connsiteY512" fmla="*/ 4523068 h 8304597"/>
              <a:gd name="connsiteX513" fmla="*/ 552512 w 24377650"/>
              <a:gd name="connsiteY513" fmla="*/ 4571219 h 8304597"/>
              <a:gd name="connsiteX514" fmla="*/ 857506 w 24377650"/>
              <a:gd name="connsiteY514" fmla="*/ 4532698 h 8304597"/>
              <a:gd name="connsiteX515" fmla="*/ 689960 w 24377650"/>
              <a:gd name="connsiteY515" fmla="*/ 4523068 h 8304597"/>
              <a:gd name="connsiteX516" fmla="*/ 23013122 w 24377650"/>
              <a:gd name="connsiteY516" fmla="*/ 4522255 h 8304597"/>
              <a:gd name="connsiteX517" fmla="*/ 23032322 w 24377650"/>
              <a:gd name="connsiteY517" fmla="*/ 4525468 h 8304597"/>
              <a:gd name="connsiteX518" fmla="*/ 23027460 w 24377650"/>
              <a:gd name="connsiteY518" fmla="*/ 4527281 h 8304597"/>
              <a:gd name="connsiteX519" fmla="*/ 23000096 w 24377650"/>
              <a:gd name="connsiteY519" fmla="*/ 4532698 h 8304597"/>
              <a:gd name="connsiteX520" fmla="*/ 1806826 w 24377650"/>
              <a:gd name="connsiteY520" fmla="*/ 4521864 h 8304597"/>
              <a:gd name="connsiteX521" fmla="*/ 1842919 w 24377650"/>
              <a:gd name="connsiteY521" fmla="*/ 4532698 h 8304597"/>
              <a:gd name="connsiteX522" fmla="*/ 1898065 w 24377650"/>
              <a:gd name="connsiteY522" fmla="*/ 4543095 h 8304597"/>
              <a:gd name="connsiteX523" fmla="*/ 1893734 w 24377650"/>
              <a:gd name="connsiteY523" fmla="*/ 4544134 h 8304597"/>
              <a:gd name="connsiteX524" fmla="*/ 1847935 w 24377650"/>
              <a:gd name="connsiteY524" fmla="*/ 4571219 h 8304597"/>
              <a:gd name="connsiteX525" fmla="*/ 1809410 w 24377650"/>
              <a:gd name="connsiteY525" fmla="*/ 4532698 h 8304597"/>
              <a:gd name="connsiteX526" fmla="*/ 1806826 w 24377650"/>
              <a:gd name="connsiteY526" fmla="*/ 4521864 h 8304597"/>
              <a:gd name="connsiteX527" fmla="*/ 23068946 w 24377650"/>
              <a:gd name="connsiteY527" fmla="*/ 4516447 h 8304597"/>
              <a:gd name="connsiteX528" fmla="*/ 23075542 w 24377650"/>
              <a:gd name="connsiteY528" fmla="*/ 4532698 h 8304597"/>
              <a:gd name="connsiteX529" fmla="*/ 23032322 w 24377650"/>
              <a:gd name="connsiteY529" fmla="*/ 4525468 h 8304597"/>
              <a:gd name="connsiteX530" fmla="*/ 23051664 w 24377650"/>
              <a:gd name="connsiteY530" fmla="*/ 4518253 h 8304597"/>
              <a:gd name="connsiteX531" fmla="*/ 23068946 w 24377650"/>
              <a:gd name="connsiteY531" fmla="*/ 4516447 h 8304597"/>
              <a:gd name="connsiteX532" fmla="*/ 4706856 w 24377650"/>
              <a:gd name="connsiteY532" fmla="*/ 4494177 h 8304597"/>
              <a:gd name="connsiteX533" fmla="*/ 4629805 w 24377650"/>
              <a:gd name="connsiteY533" fmla="*/ 4532698 h 8304597"/>
              <a:gd name="connsiteX534" fmla="*/ 4896274 w 24377650"/>
              <a:gd name="connsiteY534" fmla="*/ 4532698 h 8304597"/>
              <a:gd name="connsiteX535" fmla="*/ 4859354 w 24377650"/>
              <a:gd name="connsiteY535" fmla="*/ 4494177 h 8304597"/>
              <a:gd name="connsiteX536" fmla="*/ 4629805 w 24377650"/>
              <a:gd name="connsiteY536" fmla="*/ 4532698 h 8304597"/>
              <a:gd name="connsiteX537" fmla="*/ 4706856 w 24377650"/>
              <a:gd name="connsiteY537" fmla="*/ 4494177 h 8304597"/>
              <a:gd name="connsiteX538" fmla="*/ 4591280 w 24377650"/>
              <a:gd name="connsiteY538" fmla="*/ 4494177 h 8304597"/>
              <a:gd name="connsiteX539" fmla="*/ 4554359 w 24377650"/>
              <a:gd name="connsiteY539" fmla="*/ 4571219 h 8304597"/>
              <a:gd name="connsiteX540" fmla="*/ 4591280 w 24377650"/>
              <a:gd name="connsiteY540" fmla="*/ 4494177 h 8304597"/>
              <a:gd name="connsiteX541" fmla="*/ 1010004 w 24377650"/>
              <a:gd name="connsiteY541" fmla="*/ 4494177 h 8304597"/>
              <a:gd name="connsiteX542" fmla="*/ 857506 w 24377650"/>
              <a:gd name="connsiteY542" fmla="*/ 4571219 h 8304597"/>
              <a:gd name="connsiteX543" fmla="*/ 932952 w 24377650"/>
              <a:gd name="connsiteY543" fmla="*/ 4571219 h 8304597"/>
              <a:gd name="connsiteX544" fmla="*/ 1010004 w 24377650"/>
              <a:gd name="connsiteY544" fmla="*/ 4494177 h 8304597"/>
              <a:gd name="connsiteX545" fmla="*/ 276086 w 24377650"/>
              <a:gd name="connsiteY545" fmla="*/ 4478603 h 8304597"/>
              <a:gd name="connsiteX546" fmla="*/ 247517 w 24377650"/>
              <a:gd name="connsiteY546" fmla="*/ 4494177 h 8304597"/>
              <a:gd name="connsiteX547" fmla="*/ 322963 w 24377650"/>
              <a:gd name="connsiteY547" fmla="*/ 4532698 h 8304597"/>
              <a:gd name="connsiteX548" fmla="*/ 284438 w 24377650"/>
              <a:gd name="connsiteY548" fmla="*/ 4571219 h 8304597"/>
              <a:gd name="connsiteX549" fmla="*/ 392114 w 24377650"/>
              <a:gd name="connsiteY549" fmla="*/ 4549551 h 8304597"/>
              <a:gd name="connsiteX550" fmla="*/ 428650 w 24377650"/>
              <a:gd name="connsiteY550" fmla="*/ 4535813 h 8304597"/>
              <a:gd name="connsiteX551" fmla="*/ 437040 w 24377650"/>
              <a:gd name="connsiteY551" fmla="*/ 4536575 h 8304597"/>
              <a:gd name="connsiteX552" fmla="*/ 437537 w 24377650"/>
              <a:gd name="connsiteY552" fmla="*/ 4554968 h 8304597"/>
              <a:gd name="connsiteX553" fmla="*/ 475460 w 24377650"/>
              <a:gd name="connsiteY553" fmla="*/ 4571219 h 8304597"/>
              <a:gd name="connsiteX554" fmla="*/ 447369 w 24377650"/>
              <a:gd name="connsiteY554" fmla="*/ 4537513 h 8304597"/>
              <a:gd name="connsiteX555" fmla="*/ 437040 w 24377650"/>
              <a:gd name="connsiteY555" fmla="*/ 4536575 h 8304597"/>
              <a:gd name="connsiteX556" fmla="*/ 436935 w 24377650"/>
              <a:gd name="connsiteY556" fmla="*/ 4532698 h 8304597"/>
              <a:gd name="connsiteX557" fmla="*/ 428650 w 24377650"/>
              <a:gd name="connsiteY557" fmla="*/ 4535813 h 8304597"/>
              <a:gd name="connsiteX558" fmla="*/ 400968 w 24377650"/>
              <a:gd name="connsiteY558" fmla="*/ 4533300 h 8304597"/>
              <a:gd name="connsiteX559" fmla="*/ 361489 w 24377650"/>
              <a:gd name="connsiteY559" fmla="*/ 4532698 h 8304597"/>
              <a:gd name="connsiteX560" fmla="*/ 400015 w 24377650"/>
              <a:gd name="connsiteY560" fmla="*/ 4494177 h 8304597"/>
              <a:gd name="connsiteX561" fmla="*/ 276086 w 24377650"/>
              <a:gd name="connsiteY561" fmla="*/ 4478603 h 8304597"/>
              <a:gd name="connsiteX562" fmla="*/ 1609257 w 24377650"/>
              <a:gd name="connsiteY562" fmla="*/ 4462953 h 8304597"/>
              <a:gd name="connsiteX563" fmla="*/ 1695438 w 24377650"/>
              <a:gd name="connsiteY563" fmla="*/ 4494177 h 8304597"/>
              <a:gd name="connsiteX564" fmla="*/ 1619992 w 24377650"/>
              <a:gd name="connsiteY564" fmla="*/ 4532698 h 8304597"/>
              <a:gd name="connsiteX565" fmla="*/ 1424154 w 24377650"/>
              <a:gd name="connsiteY565" fmla="*/ 4532698 h 8304597"/>
              <a:gd name="connsiteX566" fmla="*/ 1351918 w 24377650"/>
              <a:gd name="connsiteY566" fmla="*/ 4532698 h 8304597"/>
              <a:gd name="connsiteX567" fmla="*/ 1609257 w 24377650"/>
              <a:gd name="connsiteY567" fmla="*/ 4462953 h 8304597"/>
              <a:gd name="connsiteX568" fmla="*/ 12975414 w 24377650"/>
              <a:gd name="connsiteY568" fmla="*/ 4457260 h 8304597"/>
              <a:gd name="connsiteX569" fmla="*/ 12936888 w 24377650"/>
              <a:gd name="connsiteY569" fmla="*/ 4532698 h 8304597"/>
              <a:gd name="connsiteX570" fmla="*/ 12975414 w 24377650"/>
              <a:gd name="connsiteY570" fmla="*/ 4457260 h 8304597"/>
              <a:gd name="connsiteX571" fmla="*/ 1963039 w 24377650"/>
              <a:gd name="connsiteY571" fmla="*/ 4456856 h 8304597"/>
              <a:gd name="connsiteX572" fmla="*/ 1961907 w 24377650"/>
              <a:gd name="connsiteY572" fmla="*/ 4457260 h 8304597"/>
              <a:gd name="connsiteX573" fmla="*/ 1961218 w 24377650"/>
              <a:gd name="connsiteY573" fmla="*/ 4457120 h 8304597"/>
              <a:gd name="connsiteX574" fmla="*/ 0 w 24377650"/>
              <a:gd name="connsiteY574" fmla="*/ 4422035 h 8304597"/>
              <a:gd name="connsiteX575" fmla="*/ 8739 w 24377650"/>
              <a:gd name="connsiteY575" fmla="*/ 4423554 h 8304597"/>
              <a:gd name="connsiteX576" fmla="*/ 1816 w 24377650"/>
              <a:gd name="connsiteY576" fmla="*/ 4434990 h 8304597"/>
              <a:gd name="connsiteX577" fmla="*/ 0 w 24377650"/>
              <a:gd name="connsiteY577" fmla="*/ 4436937 h 8304597"/>
              <a:gd name="connsiteX578" fmla="*/ 1427364 w 24377650"/>
              <a:gd name="connsiteY578" fmla="*/ 4418739 h 8304597"/>
              <a:gd name="connsiteX579" fmla="*/ 1447429 w 24377650"/>
              <a:gd name="connsiteY579" fmla="*/ 4423554 h 8304597"/>
              <a:gd name="connsiteX580" fmla="*/ 1447888 w 24377650"/>
              <a:gd name="connsiteY580" fmla="*/ 4423934 h 8304597"/>
              <a:gd name="connsiteX581" fmla="*/ 322963 w 24377650"/>
              <a:gd name="connsiteY581" fmla="*/ 4418739 h 8304597"/>
              <a:gd name="connsiteX582" fmla="*/ 284438 w 24377650"/>
              <a:gd name="connsiteY582" fmla="*/ 4457260 h 8304597"/>
              <a:gd name="connsiteX583" fmla="*/ 475460 w 24377650"/>
              <a:gd name="connsiteY583" fmla="*/ 4494177 h 8304597"/>
              <a:gd name="connsiteX584" fmla="*/ 480276 w 24377650"/>
              <a:gd name="connsiteY584" fmla="*/ 4494177 h 8304597"/>
              <a:gd name="connsiteX585" fmla="*/ 513986 w 24377650"/>
              <a:gd name="connsiteY585" fmla="*/ 4494177 h 8304597"/>
              <a:gd name="connsiteX586" fmla="*/ 322963 w 24377650"/>
              <a:gd name="connsiteY586" fmla="*/ 4418739 h 8304597"/>
              <a:gd name="connsiteX587" fmla="*/ 23859900 w 24377650"/>
              <a:gd name="connsiteY587" fmla="*/ 4407905 h 8304597"/>
              <a:gd name="connsiteX588" fmla="*/ 23533034 w 24377650"/>
              <a:gd name="connsiteY588" fmla="*/ 4418739 h 8304597"/>
              <a:gd name="connsiteX589" fmla="*/ 23610084 w 24377650"/>
              <a:gd name="connsiteY589" fmla="*/ 4494177 h 8304597"/>
              <a:gd name="connsiteX590" fmla="*/ 23533034 w 24377650"/>
              <a:gd name="connsiteY590" fmla="*/ 4494177 h 8304597"/>
              <a:gd name="connsiteX591" fmla="*/ 23494508 w 24377650"/>
              <a:gd name="connsiteY591" fmla="*/ 4532698 h 8304597"/>
              <a:gd name="connsiteX592" fmla="*/ 23457588 w 24377650"/>
              <a:gd name="connsiteY592" fmla="*/ 4457260 h 8304597"/>
              <a:gd name="connsiteX593" fmla="*/ 23043062 w 24377650"/>
              <a:gd name="connsiteY593" fmla="*/ 4498252 h 8304597"/>
              <a:gd name="connsiteX594" fmla="*/ 23013122 w 24377650"/>
              <a:gd name="connsiteY594" fmla="*/ 4522255 h 8304597"/>
              <a:gd name="connsiteX595" fmla="*/ 22978400 w 24377650"/>
              <a:gd name="connsiteY595" fmla="*/ 4516447 h 8304597"/>
              <a:gd name="connsiteX596" fmla="*/ 22695102 w 24377650"/>
              <a:gd name="connsiteY596" fmla="*/ 4532698 h 8304597"/>
              <a:gd name="connsiteX597" fmla="*/ 22847598 w 24377650"/>
              <a:gd name="connsiteY597" fmla="*/ 4609741 h 8304597"/>
              <a:gd name="connsiteX598" fmla="*/ 22847598 w 24377650"/>
              <a:gd name="connsiteY598" fmla="*/ 4571219 h 8304597"/>
              <a:gd name="connsiteX599" fmla="*/ 22961570 w 24377650"/>
              <a:gd name="connsiteY599" fmla="*/ 4571219 h 8304597"/>
              <a:gd name="connsiteX600" fmla="*/ 23610084 w 24377650"/>
              <a:gd name="connsiteY600" fmla="*/ 4609741 h 8304597"/>
              <a:gd name="connsiteX601" fmla="*/ 23533034 w 24377650"/>
              <a:gd name="connsiteY601" fmla="*/ 4494177 h 8304597"/>
              <a:gd name="connsiteX602" fmla="*/ 23647006 w 24377650"/>
              <a:gd name="connsiteY602" fmla="*/ 4494177 h 8304597"/>
              <a:gd name="connsiteX603" fmla="*/ 23724056 w 24377650"/>
              <a:gd name="connsiteY603" fmla="*/ 4571219 h 8304597"/>
              <a:gd name="connsiteX604" fmla="*/ 23952000 w 24377650"/>
              <a:gd name="connsiteY604" fmla="*/ 4532698 h 8304597"/>
              <a:gd name="connsiteX605" fmla="*/ 24067576 w 24377650"/>
              <a:gd name="connsiteY605" fmla="*/ 4609741 h 8304597"/>
              <a:gd name="connsiteX606" fmla="*/ 24029050 w 24377650"/>
              <a:gd name="connsiteY606" fmla="*/ 4494177 h 8304597"/>
              <a:gd name="connsiteX607" fmla="*/ 23952000 w 24377650"/>
              <a:gd name="connsiteY607" fmla="*/ 4418739 h 8304597"/>
              <a:gd name="connsiteX608" fmla="*/ 23859900 w 24377650"/>
              <a:gd name="connsiteY608" fmla="*/ 4407905 h 8304597"/>
              <a:gd name="connsiteX609" fmla="*/ 3944371 w 24377650"/>
              <a:gd name="connsiteY609" fmla="*/ 4341695 h 8304597"/>
              <a:gd name="connsiteX610" fmla="*/ 4096868 w 24377650"/>
              <a:gd name="connsiteY610" fmla="*/ 4341695 h 8304597"/>
              <a:gd name="connsiteX611" fmla="*/ 4058342 w 24377650"/>
              <a:gd name="connsiteY611" fmla="*/ 4380217 h 8304597"/>
              <a:gd name="connsiteX612" fmla="*/ 3944371 w 24377650"/>
              <a:gd name="connsiteY612" fmla="*/ 4341695 h 8304597"/>
              <a:gd name="connsiteX613" fmla="*/ 2037353 w 24377650"/>
              <a:gd name="connsiteY613" fmla="*/ 4341695 h 8304597"/>
              <a:gd name="connsiteX614" fmla="*/ 2000433 w 24377650"/>
              <a:gd name="connsiteY614" fmla="*/ 4418739 h 8304597"/>
              <a:gd name="connsiteX615" fmla="*/ 1924986 w 24377650"/>
              <a:gd name="connsiteY615" fmla="*/ 4418739 h 8304597"/>
              <a:gd name="connsiteX616" fmla="*/ 2037353 w 24377650"/>
              <a:gd name="connsiteY616" fmla="*/ 4341695 h 8304597"/>
              <a:gd name="connsiteX617" fmla="*/ 1772489 w 24377650"/>
              <a:gd name="connsiteY617" fmla="*/ 4341695 h 8304597"/>
              <a:gd name="connsiteX618" fmla="*/ 1899804 w 24377650"/>
              <a:gd name="connsiteY618" fmla="*/ 4444620 h 8304597"/>
              <a:gd name="connsiteX619" fmla="*/ 1961218 w 24377650"/>
              <a:gd name="connsiteY619" fmla="*/ 4457120 h 8304597"/>
              <a:gd name="connsiteX620" fmla="*/ 1886235 w 24377650"/>
              <a:gd name="connsiteY620" fmla="*/ 4467994 h 8304597"/>
              <a:gd name="connsiteX621" fmla="*/ 1772489 w 24377650"/>
              <a:gd name="connsiteY621" fmla="*/ 4494177 h 8304597"/>
              <a:gd name="connsiteX622" fmla="*/ 1695438 w 24377650"/>
              <a:gd name="connsiteY622" fmla="*/ 4457260 h 8304597"/>
              <a:gd name="connsiteX623" fmla="*/ 1884855 w 24377650"/>
              <a:gd name="connsiteY623" fmla="*/ 4457260 h 8304597"/>
              <a:gd name="connsiteX624" fmla="*/ 1772489 w 24377650"/>
              <a:gd name="connsiteY624" fmla="*/ 4341695 h 8304597"/>
              <a:gd name="connsiteX625" fmla="*/ 6878737 w 24377650"/>
              <a:gd name="connsiteY625" fmla="*/ 4266257 h 8304597"/>
              <a:gd name="connsiteX626" fmla="*/ 6803291 w 24377650"/>
              <a:gd name="connsiteY626" fmla="*/ 4341695 h 8304597"/>
              <a:gd name="connsiteX627" fmla="*/ 6878737 w 24377650"/>
              <a:gd name="connsiteY627" fmla="*/ 4266257 h 8304597"/>
              <a:gd name="connsiteX628" fmla="*/ 6535217 w 24377650"/>
              <a:gd name="connsiteY628" fmla="*/ 4266257 h 8304597"/>
              <a:gd name="connsiteX629" fmla="*/ 6650794 w 24377650"/>
              <a:gd name="connsiteY629" fmla="*/ 4341695 h 8304597"/>
              <a:gd name="connsiteX630" fmla="*/ 6535217 w 24377650"/>
              <a:gd name="connsiteY630" fmla="*/ 4266257 h 8304597"/>
              <a:gd name="connsiteX631" fmla="*/ 6382720 w 24377650"/>
              <a:gd name="connsiteY631" fmla="*/ 4266257 h 8304597"/>
              <a:gd name="connsiteX632" fmla="*/ 6421246 w 24377650"/>
              <a:gd name="connsiteY632" fmla="*/ 4304779 h 8304597"/>
              <a:gd name="connsiteX633" fmla="*/ 6498297 w 24377650"/>
              <a:gd name="connsiteY633" fmla="*/ 4266257 h 8304597"/>
              <a:gd name="connsiteX634" fmla="*/ 6382720 w 24377650"/>
              <a:gd name="connsiteY634" fmla="*/ 4266257 h 8304597"/>
              <a:gd name="connsiteX635" fmla="*/ 1376881 w 24377650"/>
              <a:gd name="connsiteY635" fmla="*/ 4255721 h 8304597"/>
              <a:gd name="connsiteX636" fmla="*/ 1390444 w 24377650"/>
              <a:gd name="connsiteY636" fmla="*/ 4266257 h 8304597"/>
              <a:gd name="connsiteX637" fmla="*/ 1367821 w 24377650"/>
              <a:gd name="connsiteY637" fmla="*/ 4266257 h 8304597"/>
              <a:gd name="connsiteX638" fmla="*/ 1370554 w 24377650"/>
              <a:gd name="connsiteY638" fmla="*/ 4259637 h 8304597"/>
              <a:gd name="connsiteX639" fmla="*/ 6687715 w 24377650"/>
              <a:gd name="connsiteY639" fmla="*/ 4227736 h 8304597"/>
              <a:gd name="connsiteX640" fmla="*/ 6677351 w 24377650"/>
              <a:gd name="connsiteY640" fmla="*/ 4231214 h 8304597"/>
              <a:gd name="connsiteX641" fmla="*/ 6671676 w 24377650"/>
              <a:gd name="connsiteY641" fmla="*/ 4230911 h 8304597"/>
              <a:gd name="connsiteX642" fmla="*/ 6612269 w 24377650"/>
              <a:gd name="connsiteY642" fmla="*/ 4227736 h 8304597"/>
              <a:gd name="connsiteX643" fmla="*/ 6671676 w 24377650"/>
              <a:gd name="connsiteY643" fmla="*/ 4230911 h 8304597"/>
              <a:gd name="connsiteX644" fmla="*/ 6660350 w 24377650"/>
              <a:gd name="connsiteY644" fmla="*/ 4233153 h 8304597"/>
              <a:gd name="connsiteX645" fmla="*/ 6612269 w 24377650"/>
              <a:gd name="connsiteY645" fmla="*/ 4227736 h 8304597"/>
              <a:gd name="connsiteX646" fmla="*/ 1464334 w 24377650"/>
              <a:gd name="connsiteY646" fmla="*/ 4180337 h 8304597"/>
              <a:gd name="connsiteX647" fmla="*/ 1504415 w 24377650"/>
              <a:gd name="connsiteY647" fmla="*/ 4189215 h 8304597"/>
              <a:gd name="connsiteX648" fmla="*/ 1414321 w 24377650"/>
              <a:gd name="connsiteY648" fmla="*/ 4232551 h 8304597"/>
              <a:gd name="connsiteX649" fmla="*/ 1376881 w 24377650"/>
              <a:gd name="connsiteY649" fmla="*/ 4255721 h 8304597"/>
              <a:gd name="connsiteX650" fmla="*/ 1361775 w 24377650"/>
              <a:gd name="connsiteY650" fmla="*/ 4243987 h 8304597"/>
              <a:gd name="connsiteX651" fmla="*/ 1274867 w 24377650"/>
              <a:gd name="connsiteY651" fmla="*/ 4227736 h 8304597"/>
              <a:gd name="connsiteX652" fmla="*/ 1351918 w 24377650"/>
              <a:gd name="connsiteY652" fmla="*/ 4189215 h 8304597"/>
              <a:gd name="connsiteX653" fmla="*/ 1351918 w 24377650"/>
              <a:gd name="connsiteY653" fmla="*/ 4227736 h 8304597"/>
              <a:gd name="connsiteX654" fmla="*/ 1464334 w 24377650"/>
              <a:gd name="connsiteY654" fmla="*/ 4180337 h 8304597"/>
              <a:gd name="connsiteX655" fmla="*/ 7220652 w 24377650"/>
              <a:gd name="connsiteY655" fmla="*/ 4115382 h 8304597"/>
              <a:gd name="connsiteX656" fmla="*/ 7145206 w 24377650"/>
              <a:gd name="connsiteY656" fmla="*/ 4153903 h 8304597"/>
              <a:gd name="connsiteX657" fmla="*/ 7220652 w 24377650"/>
              <a:gd name="connsiteY657" fmla="*/ 4153903 h 8304597"/>
              <a:gd name="connsiteX658" fmla="*/ 7220652 w 24377650"/>
              <a:gd name="connsiteY658" fmla="*/ 4115382 h 8304597"/>
              <a:gd name="connsiteX659" fmla="*/ 7979325 w 24377650"/>
              <a:gd name="connsiteY659" fmla="*/ 4092509 h 8304597"/>
              <a:gd name="connsiteX660" fmla="*/ 7907692 w 24377650"/>
              <a:gd name="connsiteY660" fmla="*/ 4115382 h 8304597"/>
              <a:gd name="connsiteX661" fmla="*/ 8023269 w 24377650"/>
              <a:gd name="connsiteY661" fmla="*/ 4153903 h 8304597"/>
              <a:gd name="connsiteX662" fmla="*/ 7979325 w 24377650"/>
              <a:gd name="connsiteY662" fmla="*/ 4092509 h 8304597"/>
              <a:gd name="connsiteX663" fmla="*/ 6815079 w 24377650"/>
              <a:gd name="connsiteY663" fmla="*/ 4022765 h 8304597"/>
              <a:gd name="connsiteX664" fmla="*/ 6803291 w 24377650"/>
              <a:gd name="connsiteY664" fmla="*/ 4038339 h 8304597"/>
              <a:gd name="connsiteX665" fmla="*/ 6840212 w 24377650"/>
              <a:gd name="connsiteY665" fmla="*/ 4078465 h 8304597"/>
              <a:gd name="connsiteX666" fmla="*/ 6878737 w 24377650"/>
              <a:gd name="connsiteY666" fmla="*/ 4038339 h 8304597"/>
              <a:gd name="connsiteX667" fmla="*/ 6815079 w 24377650"/>
              <a:gd name="connsiteY667" fmla="*/ 4022765 h 8304597"/>
              <a:gd name="connsiteX668" fmla="*/ 7031235 w 24377650"/>
              <a:gd name="connsiteY668" fmla="*/ 4001422 h 8304597"/>
              <a:gd name="connsiteX669" fmla="*/ 6955789 w 24377650"/>
              <a:gd name="connsiteY669" fmla="*/ 4038339 h 8304597"/>
              <a:gd name="connsiteX670" fmla="*/ 6992709 w 24377650"/>
              <a:gd name="connsiteY670" fmla="*/ 4078465 h 8304597"/>
              <a:gd name="connsiteX671" fmla="*/ 7220652 w 24377650"/>
              <a:gd name="connsiteY671" fmla="*/ 4038339 h 8304597"/>
              <a:gd name="connsiteX672" fmla="*/ 7031235 w 24377650"/>
              <a:gd name="connsiteY672" fmla="*/ 4001422 h 8304597"/>
              <a:gd name="connsiteX673" fmla="*/ 5742116 w 24377650"/>
              <a:gd name="connsiteY673" fmla="*/ 3953495 h 8304597"/>
              <a:gd name="connsiteX674" fmla="*/ 5737781 w 24377650"/>
              <a:gd name="connsiteY674" fmla="*/ 3956571 h 8304597"/>
              <a:gd name="connsiteX675" fmla="*/ 5740426 w 24377650"/>
              <a:gd name="connsiteY675" fmla="*/ 3953872 h 8304597"/>
              <a:gd name="connsiteX676" fmla="*/ 5811257 w 24377650"/>
              <a:gd name="connsiteY676" fmla="*/ 3925984 h 8304597"/>
              <a:gd name="connsiteX677" fmla="*/ 5811257 w 24377650"/>
              <a:gd name="connsiteY677" fmla="*/ 3962901 h 8304597"/>
              <a:gd name="connsiteX678" fmla="*/ 5767037 w 24377650"/>
              <a:gd name="connsiteY678" fmla="*/ 3947929 h 8304597"/>
              <a:gd name="connsiteX679" fmla="*/ 5742116 w 24377650"/>
              <a:gd name="connsiteY679" fmla="*/ 3953495 h 8304597"/>
              <a:gd name="connsiteX680" fmla="*/ 5754873 w 24377650"/>
              <a:gd name="connsiteY680" fmla="*/ 3944443 h 8304597"/>
              <a:gd name="connsiteX681" fmla="*/ 5811257 w 24377650"/>
              <a:gd name="connsiteY681" fmla="*/ 3925984 h 8304597"/>
              <a:gd name="connsiteX682" fmla="*/ 5839282 w 24377650"/>
              <a:gd name="connsiteY682" fmla="*/ 3911800 h 8304597"/>
              <a:gd name="connsiteX683" fmla="*/ 5844886 w 24377650"/>
              <a:gd name="connsiteY683" fmla="*/ 3914385 h 8304597"/>
              <a:gd name="connsiteX684" fmla="*/ 5849783 w 24377650"/>
              <a:gd name="connsiteY684" fmla="*/ 3925984 h 8304597"/>
              <a:gd name="connsiteX685" fmla="*/ 5998207 w 24377650"/>
              <a:gd name="connsiteY685" fmla="*/ 3888812 h 8304597"/>
              <a:gd name="connsiteX686" fmla="*/ 6001398 w 24377650"/>
              <a:gd name="connsiteY686" fmla="*/ 3889164 h 8304597"/>
              <a:gd name="connsiteX687" fmla="*/ 5996260 w 24377650"/>
              <a:gd name="connsiteY687" fmla="*/ 3908429 h 8304597"/>
              <a:gd name="connsiteX688" fmla="*/ 5969773 w 24377650"/>
              <a:gd name="connsiteY688" fmla="*/ 3908429 h 8304597"/>
              <a:gd name="connsiteX689" fmla="*/ 5968260 w 24377650"/>
              <a:gd name="connsiteY689" fmla="*/ 3902754 h 8304597"/>
              <a:gd name="connsiteX690" fmla="*/ 5968820 w 24377650"/>
              <a:gd name="connsiteY690" fmla="*/ 3902786 h 8304597"/>
              <a:gd name="connsiteX691" fmla="*/ 5986397 w 24377650"/>
              <a:gd name="connsiteY691" fmla="*/ 3897378 h 8304597"/>
              <a:gd name="connsiteX692" fmla="*/ 5963436 w 24377650"/>
              <a:gd name="connsiteY692" fmla="*/ 3886315 h 8304597"/>
              <a:gd name="connsiteX693" fmla="*/ 5963877 w 24377650"/>
              <a:gd name="connsiteY693" fmla="*/ 3886320 h 8304597"/>
              <a:gd name="connsiteX694" fmla="*/ 5968260 w 24377650"/>
              <a:gd name="connsiteY694" fmla="*/ 3902754 h 8304597"/>
              <a:gd name="connsiteX695" fmla="*/ 5952607 w 24377650"/>
              <a:gd name="connsiteY695" fmla="*/ 3901866 h 8304597"/>
              <a:gd name="connsiteX696" fmla="*/ 6246634 w 24377650"/>
              <a:gd name="connsiteY696" fmla="*/ 3839154 h 8304597"/>
              <a:gd name="connsiteX697" fmla="*/ 6231828 w 24377650"/>
              <a:gd name="connsiteY697" fmla="*/ 3848941 h 8304597"/>
              <a:gd name="connsiteX698" fmla="*/ 6243942 w 24377650"/>
              <a:gd name="connsiteY698" fmla="*/ 3839468 h 8304597"/>
              <a:gd name="connsiteX699" fmla="*/ 6402183 w 24377650"/>
              <a:gd name="connsiteY699" fmla="*/ 3820050 h 8304597"/>
              <a:gd name="connsiteX700" fmla="*/ 6345800 w 24377650"/>
              <a:gd name="connsiteY700" fmla="*/ 3848941 h 8304597"/>
              <a:gd name="connsiteX701" fmla="*/ 6459771 w 24377650"/>
              <a:gd name="connsiteY701" fmla="*/ 3848941 h 8304597"/>
              <a:gd name="connsiteX702" fmla="*/ 6402183 w 24377650"/>
              <a:gd name="connsiteY702" fmla="*/ 3820050 h 8304597"/>
              <a:gd name="connsiteX703" fmla="*/ 5506262 w 24377650"/>
              <a:gd name="connsiteY703" fmla="*/ 3810420 h 8304597"/>
              <a:gd name="connsiteX704" fmla="*/ 5544788 w 24377650"/>
              <a:gd name="connsiteY704" fmla="*/ 3885858 h 8304597"/>
              <a:gd name="connsiteX705" fmla="*/ 5658760 w 24377650"/>
              <a:gd name="connsiteY705" fmla="*/ 3885858 h 8304597"/>
              <a:gd name="connsiteX706" fmla="*/ 5583314 w 24377650"/>
              <a:gd name="connsiteY706" fmla="*/ 3810420 h 8304597"/>
              <a:gd name="connsiteX707" fmla="*/ 5621840 w 24377650"/>
              <a:gd name="connsiteY707" fmla="*/ 3810420 h 8304597"/>
              <a:gd name="connsiteX708" fmla="*/ 5832021 w 24377650"/>
              <a:gd name="connsiteY708" fmla="*/ 3901993 h 8304597"/>
              <a:gd name="connsiteX709" fmla="*/ 5839282 w 24377650"/>
              <a:gd name="connsiteY709" fmla="*/ 3911800 h 8304597"/>
              <a:gd name="connsiteX710" fmla="*/ 5831975 w 24377650"/>
              <a:gd name="connsiteY710" fmla="*/ 3908429 h 8304597"/>
              <a:gd name="connsiteX711" fmla="*/ 5735811 w 24377650"/>
              <a:gd name="connsiteY711" fmla="*/ 3885858 h 8304597"/>
              <a:gd name="connsiteX712" fmla="*/ 5621840 w 24377650"/>
              <a:gd name="connsiteY712" fmla="*/ 3925984 h 8304597"/>
              <a:gd name="connsiteX713" fmla="*/ 5697285 w 24377650"/>
              <a:gd name="connsiteY713" fmla="*/ 3962901 h 8304597"/>
              <a:gd name="connsiteX714" fmla="*/ 5736989 w 24377650"/>
              <a:gd name="connsiteY714" fmla="*/ 3957133 h 8304597"/>
              <a:gd name="connsiteX715" fmla="*/ 5737781 w 24377650"/>
              <a:gd name="connsiteY715" fmla="*/ 3956571 h 8304597"/>
              <a:gd name="connsiteX716" fmla="*/ 5720737 w 24377650"/>
              <a:gd name="connsiteY716" fmla="*/ 3973961 h 8304597"/>
              <a:gd name="connsiteX717" fmla="*/ 5697285 w 24377650"/>
              <a:gd name="connsiteY717" fmla="*/ 4001422 h 8304597"/>
              <a:gd name="connsiteX718" fmla="*/ 5506262 w 24377650"/>
              <a:gd name="connsiteY718" fmla="*/ 3848941 h 8304597"/>
              <a:gd name="connsiteX719" fmla="*/ 5316845 w 24377650"/>
              <a:gd name="connsiteY719" fmla="*/ 3848941 h 8304597"/>
              <a:gd name="connsiteX720" fmla="*/ 5506262 w 24377650"/>
              <a:gd name="connsiteY720" fmla="*/ 3810420 h 8304597"/>
              <a:gd name="connsiteX721" fmla="*/ 5780708 w 24377650"/>
              <a:gd name="connsiteY721" fmla="*/ 3756575 h 8304597"/>
              <a:gd name="connsiteX722" fmla="*/ 5849783 w 24377650"/>
              <a:gd name="connsiteY722" fmla="*/ 3773503 h 8304597"/>
              <a:gd name="connsiteX723" fmla="*/ 5774337 w 24377650"/>
              <a:gd name="connsiteY723" fmla="*/ 3773503 h 8304597"/>
              <a:gd name="connsiteX724" fmla="*/ 5780708 w 24377650"/>
              <a:gd name="connsiteY724" fmla="*/ 3756575 h 8304597"/>
              <a:gd name="connsiteX725" fmla="*/ 6345800 w 24377650"/>
              <a:gd name="connsiteY725" fmla="*/ 3733377 h 8304597"/>
              <a:gd name="connsiteX726" fmla="*/ 6360840 w 24377650"/>
              <a:gd name="connsiteY726" fmla="*/ 3739802 h 8304597"/>
              <a:gd name="connsiteX727" fmla="*/ 6344746 w 24377650"/>
              <a:gd name="connsiteY727" fmla="*/ 3741656 h 8304597"/>
              <a:gd name="connsiteX728" fmla="*/ 6337517 w 24377650"/>
              <a:gd name="connsiteY728" fmla="*/ 3740059 h 8304597"/>
              <a:gd name="connsiteX729" fmla="*/ 6193303 w 24377650"/>
              <a:gd name="connsiteY729" fmla="*/ 3733377 h 8304597"/>
              <a:gd name="connsiteX730" fmla="*/ 6268749 w 24377650"/>
              <a:gd name="connsiteY730" fmla="*/ 3773503 h 8304597"/>
              <a:gd name="connsiteX731" fmla="*/ 6307274 w 24377650"/>
              <a:gd name="connsiteY731" fmla="*/ 3733377 h 8304597"/>
              <a:gd name="connsiteX732" fmla="*/ 6337517 w 24377650"/>
              <a:gd name="connsiteY732" fmla="*/ 3740059 h 8304597"/>
              <a:gd name="connsiteX733" fmla="*/ 6316328 w 24377650"/>
              <a:gd name="connsiteY733" fmla="*/ 3757152 h 8304597"/>
              <a:gd name="connsiteX734" fmla="*/ 6193303 w 24377650"/>
              <a:gd name="connsiteY734" fmla="*/ 3810420 h 8304597"/>
              <a:gd name="connsiteX735" fmla="*/ 6193303 w 24377650"/>
              <a:gd name="connsiteY735" fmla="*/ 3733377 h 8304597"/>
              <a:gd name="connsiteX736" fmla="*/ 6706350 w 24377650"/>
              <a:gd name="connsiteY736" fmla="*/ 3717803 h 8304597"/>
              <a:gd name="connsiteX737" fmla="*/ 6687715 w 24377650"/>
              <a:gd name="connsiteY737" fmla="*/ 3733377 h 8304597"/>
              <a:gd name="connsiteX738" fmla="*/ 6840212 w 24377650"/>
              <a:gd name="connsiteY738" fmla="*/ 3733377 h 8304597"/>
              <a:gd name="connsiteX739" fmla="*/ 6706350 w 24377650"/>
              <a:gd name="connsiteY739" fmla="*/ 3717803 h 8304597"/>
              <a:gd name="connsiteX740" fmla="*/ 6580364 w 24377650"/>
              <a:gd name="connsiteY740" fmla="*/ 3717803 h 8304597"/>
              <a:gd name="connsiteX741" fmla="*/ 6535217 w 24377650"/>
              <a:gd name="connsiteY741" fmla="*/ 3733377 h 8304597"/>
              <a:gd name="connsiteX742" fmla="*/ 6573743 w 24377650"/>
              <a:gd name="connsiteY742" fmla="*/ 3773503 h 8304597"/>
              <a:gd name="connsiteX743" fmla="*/ 6650794 w 24377650"/>
              <a:gd name="connsiteY743" fmla="*/ 3733377 h 8304597"/>
              <a:gd name="connsiteX744" fmla="*/ 6580364 w 24377650"/>
              <a:gd name="connsiteY744" fmla="*/ 3717803 h 8304597"/>
              <a:gd name="connsiteX745" fmla="*/ 6141204 w 24377650"/>
              <a:gd name="connsiteY745" fmla="*/ 3686732 h 8304597"/>
              <a:gd name="connsiteX746" fmla="*/ 6135514 w 24377650"/>
              <a:gd name="connsiteY746" fmla="*/ 3691645 h 8304597"/>
              <a:gd name="connsiteX747" fmla="*/ 6116251 w 24377650"/>
              <a:gd name="connsiteY747" fmla="*/ 3696460 h 8304597"/>
              <a:gd name="connsiteX748" fmla="*/ 6138449 w 24377650"/>
              <a:gd name="connsiteY748" fmla="*/ 3686987 h 8304597"/>
              <a:gd name="connsiteX749" fmla="*/ 5388213 w 24377650"/>
              <a:gd name="connsiteY749" fmla="*/ 3613919 h 8304597"/>
              <a:gd name="connsiteX750" fmla="*/ 5387475 w 24377650"/>
              <a:gd name="connsiteY750" fmla="*/ 3616006 h 8304597"/>
              <a:gd name="connsiteX751" fmla="*/ 5381344 w 24377650"/>
              <a:gd name="connsiteY751" fmla="*/ 3618359 h 8304597"/>
              <a:gd name="connsiteX752" fmla="*/ 6154777 w 24377650"/>
              <a:gd name="connsiteY752" fmla="*/ 3580895 h 8304597"/>
              <a:gd name="connsiteX753" fmla="*/ 6231828 w 24377650"/>
              <a:gd name="connsiteY753" fmla="*/ 3621022 h 8304597"/>
              <a:gd name="connsiteX754" fmla="*/ 6269551 w 24377650"/>
              <a:gd name="connsiteY754" fmla="*/ 3605974 h 8304597"/>
              <a:gd name="connsiteX755" fmla="*/ 6293641 w 24377650"/>
              <a:gd name="connsiteY755" fmla="*/ 3614710 h 8304597"/>
              <a:gd name="connsiteX756" fmla="*/ 6307274 w 24377650"/>
              <a:gd name="connsiteY756" fmla="*/ 3621022 h 8304597"/>
              <a:gd name="connsiteX757" fmla="*/ 6295485 w 24377650"/>
              <a:gd name="connsiteY757" fmla="*/ 3615379 h 8304597"/>
              <a:gd name="connsiteX758" fmla="*/ 6293641 w 24377650"/>
              <a:gd name="connsiteY758" fmla="*/ 3614710 h 8304597"/>
              <a:gd name="connsiteX759" fmla="*/ 6282220 w 24377650"/>
              <a:gd name="connsiteY759" fmla="*/ 3609423 h 8304597"/>
              <a:gd name="connsiteX760" fmla="*/ 6154777 w 24377650"/>
              <a:gd name="connsiteY760" fmla="*/ 3580895 h 8304597"/>
              <a:gd name="connsiteX761" fmla="*/ 5811257 w 24377650"/>
              <a:gd name="connsiteY761" fmla="*/ 3580895 h 8304597"/>
              <a:gd name="connsiteX762" fmla="*/ 5811257 w 24377650"/>
              <a:gd name="connsiteY762" fmla="*/ 3621022 h 8304597"/>
              <a:gd name="connsiteX763" fmla="*/ 5888308 w 24377650"/>
              <a:gd name="connsiteY763" fmla="*/ 3580895 h 8304597"/>
              <a:gd name="connsiteX764" fmla="*/ 5811257 w 24377650"/>
              <a:gd name="connsiteY764" fmla="*/ 3580895 h 8304597"/>
              <a:gd name="connsiteX765" fmla="*/ 5430817 w 24377650"/>
              <a:gd name="connsiteY765" fmla="*/ 3580895 h 8304597"/>
              <a:gd name="connsiteX766" fmla="*/ 5445280 w 24377650"/>
              <a:gd name="connsiteY766" fmla="*/ 3595944 h 8304597"/>
              <a:gd name="connsiteX767" fmla="*/ 5445264 w 24377650"/>
              <a:gd name="connsiteY767" fmla="*/ 3595943 h 8304597"/>
              <a:gd name="connsiteX768" fmla="*/ 5423004 w 24377650"/>
              <a:gd name="connsiteY768" fmla="*/ 3587460 h 8304597"/>
              <a:gd name="connsiteX769" fmla="*/ 5392291 w 24377650"/>
              <a:gd name="connsiteY769" fmla="*/ 3580895 h 8304597"/>
              <a:gd name="connsiteX770" fmla="*/ 5420583 w 24377650"/>
              <a:gd name="connsiteY770" fmla="*/ 3586538 h 8304597"/>
              <a:gd name="connsiteX771" fmla="*/ 5423004 w 24377650"/>
              <a:gd name="connsiteY771" fmla="*/ 3587460 h 8304597"/>
              <a:gd name="connsiteX772" fmla="*/ 5402524 w 24377650"/>
              <a:gd name="connsiteY772" fmla="*/ 3604670 h 8304597"/>
              <a:gd name="connsiteX773" fmla="*/ 5388213 w 24377650"/>
              <a:gd name="connsiteY773" fmla="*/ 3613919 h 8304597"/>
              <a:gd name="connsiteX774" fmla="*/ 5391689 w 24377650"/>
              <a:gd name="connsiteY774" fmla="*/ 3604093 h 8304597"/>
              <a:gd name="connsiteX775" fmla="*/ 5392291 w 24377650"/>
              <a:gd name="connsiteY775" fmla="*/ 3580895 h 8304597"/>
              <a:gd name="connsiteX776" fmla="*/ 5239794 w 24377650"/>
              <a:gd name="connsiteY776" fmla="*/ 3580895 h 8304597"/>
              <a:gd name="connsiteX777" fmla="*/ 5353766 w 24377650"/>
              <a:gd name="connsiteY777" fmla="*/ 3621022 h 8304597"/>
              <a:gd name="connsiteX778" fmla="*/ 5376038 w 24377650"/>
              <a:gd name="connsiteY778" fmla="*/ 3620395 h 8304597"/>
              <a:gd name="connsiteX779" fmla="*/ 5381344 w 24377650"/>
              <a:gd name="connsiteY779" fmla="*/ 3618359 h 8304597"/>
              <a:gd name="connsiteX780" fmla="*/ 5377844 w 24377650"/>
              <a:gd name="connsiteY780" fmla="*/ 3620621 h 8304597"/>
              <a:gd name="connsiteX781" fmla="*/ 5353766 w 24377650"/>
              <a:gd name="connsiteY781" fmla="*/ 3657939 h 8304597"/>
              <a:gd name="connsiteX782" fmla="*/ 5239794 w 24377650"/>
              <a:gd name="connsiteY782" fmla="*/ 3580895 h 8304597"/>
              <a:gd name="connsiteX783" fmla="*/ 5491289 w 24377650"/>
              <a:gd name="connsiteY783" fmla="*/ 3565321 h 8304597"/>
              <a:gd name="connsiteX784" fmla="*/ 5544788 w 24377650"/>
              <a:gd name="connsiteY784" fmla="*/ 3580895 h 8304597"/>
              <a:gd name="connsiteX785" fmla="*/ 5506262 w 24377650"/>
              <a:gd name="connsiteY785" fmla="*/ 3657939 h 8304597"/>
              <a:gd name="connsiteX786" fmla="*/ 5453666 w 24377650"/>
              <a:gd name="connsiteY786" fmla="*/ 3604670 h 8304597"/>
              <a:gd name="connsiteX787" fmla="*/ 5445280 w 24377650"/>
              <a:gd name="connsiteY787" fmla="*/ 3595944 h 8304597"/>
              <a:gd name="connsiteX788" fmla="*/ 5462720 w 24377650"/>
              <a:gd name="connsiteY788" fmla="*/ 3597824 h 8304597"/>
              <a:gd name="connsiteX789" fmla="*/ 5469342 w 24377650"/>
              <a:gd name="connsiteY789" fmla="*/ 3580895 h 8304597"/>
              <a:gd name="connsiteX790" fmla="*/ 5491289 w 24377650"/>
              <a:gd name="connsiteY790" fmla="*/ 3565321 h 8304597"/>
              <a:gd name="connsiteX791" fmla="*/ 4204104 w 24377650"/>
              <a:gd name="connsiteY791" fmla="*/ 3471055 h 8304597"/>
              <a:gd name="connsiteX792" fmla="*/ 4187061 w 24377650"/>
              <a:gd name="connsiteY792" fmla="*/ 3477416 h 8304597"/>
              <a:gd name="connsiteX793" fmla="*/ 4181885 w 24377650"/>
              <a:gd name="connsiteY793" fmla="*/ 3477567 h 8304597"/>
              <a:gd name="connsiteX794" fmla="*/ 4191576 w 24377650"/>
              <a:gd name="connsiteY794" fmla="*/ 3473156 h 8304597"/>
              <a:gd name="connsiteX795" fmla="*/ 4210839 w 24377650"/>
              <a:gd name="connsiteY795" fmla="*/ 3468541 h 8304597"/>
              <a:gd name="connsiteX796" fmla="*/ 4215655 w 24377650"/>
              <a:gd name="connsiteY796" fmla="*/ 3469118 h 8304597"/>
              <a:gd name="connsiteX797" fmla="*/ 4204104 w 24377650"/>
              <a:gd name="connsiteY797" fmla="*/ 3471055 h 8304597"/>
              <a:gd name="connsiteX798" fmla="*/ 4058342 w 24377650"/>
              <a:gd name="connsiteY798" fmla="*/ 3468541 h 8304597"/>
              <a:gd name="connsiteX799" fmla="*/ 4058342 w 24377650"/>
              <a:gd name="connsiteY799" fmla="*/ 3543979 h 8304597"/>
              <a:gd name="connsiteX800" fmla="*/ 3905845 w 24377650"/>
              <a:gd name="connsiteY800" fmla="*/ 3505457 h 8304597"/>
              <a:gd name="connsiteX801" fmla="*/ 4058342 w 24377650"/>
              <a:gd name="connsiteY801" fmla="*/ 3468541 h 8304597"/>
              <a:gd name="connsiteX802" fmla="*/ 748886 w 24377650"/>
              <a:gd name="connsiteY802" fmla="*/ 3416083 h 8304597"/>
              <a:gd name="connsiteX803" fmla="*/ 756140 w 24377650"/>
              <a:gd name="connsiteY803" fmla="*/ 3428415 h 8304597"/>
              <a:gd name="connsiteX804" fmla="*/ 741929 w 24377650"/>
              <a:gd name="connsiteY804" fmla="*/ 3428415 h 8304597"/>
              <a:gd name="connsiteX805" fmla="*/ 4595903 w 24377650"/>
              <a:gd name="connsiteY805" fmla="*/ 3413698 h 8304597"/>
              <a:gd name="connsiteX806" fmla="*/ 4597594 w 24377650"/>
              <a:gd name="connsiteY806" fmla="*/ 3416154 h 8304597"/>
              <a:gd name="connsiteX807" fmla="*/ 4591280 w 24377650"/>
              <a:gd name="connsiteY807" fmla="*/ 3428415 h 8304597"/>
              <a:gd name="connsiteX808" fmla="*/ 4553789 w 24377650"/>
              <a:gd name="connsiteY808" fmla="*/ 3414570 h 8304597"/>
              <a:gd name="connsiteX809" fmla="*/ 5487150 w 24377650"/>
              <a:gd name="connsiteY809" fmla="*/ 3413467 h 8304597"/>
              <a:gd name="connsiteX810" fmla="*/ 5469342 w 24377650"/>
              <a:gd name="connsiteY810" fmla="*/ 3428415 h 8304597"/>
              <a:gd name="connsiteX811" fmla="*/ 5583314 w 24377650"/>
              <a:gd name="connsiteY811" fmla="*/ 3468541 h 8304597"/>
              <a:gd name="connsiteX812" fmla="*/ 5487150 w 24377650"/>
              <a:gd name="connsiteY812" fmla="*/ 3413467 h 8304597"/>
              <a:gd name="connsiteX813" fmla="*/ 4482123 w 24377650"/>
              <a:gd name="connsiteY813" fmla="*/ 3400727 h 8304597"/>
              <a:gd name="connsiteX814" fmla="*/ 4535046 w 24377650"/>
              <a:gd name="connsiteY814" fmla="*/ 3407649 h 8304597"/>
              <a:gd name="connsiteX815" fmla="*/ 4553789 w 24377650"/>
              <a:gd name="connsiteY815" fmla="*/ 3414570 h 8304597"/>
              <a:gd name="connsiteX816" fmla="*/ 4553757 w 24377650"/>
              <a:gd name="connsiteY816" fmla="*/ 3414571 h 8304597"/>
              <a:gd name="connsiteX817" fmla="*/ 4401862 w 24377650"/>
              <a:gd name="connsiteY817" fmla="*/ 3428415 h 8304597"/>
              <a:gd name="connsiteX818" fmla="*/ 4482123 w 24377650"/>
              <a:gd name="connsiteY818" fmla="*/ 3400727 h 8304597"/>
              <a:gd name="connsiteX819" fmla="*/ 2906687 w 24377650"/>
              <a:gd name="connsiteY819" fmla="*/ 3397943 h 8304597"/>
              <a:gd name="connsiteX820" fmla="*/ 2894322 w 24377650"/>
              <a:gd name="connsiteY820" fmla="*/ 3407072 h 8304597"/>
              <a:gd name="connsiteX821" fmla="*/ 2891136 w 24377650"/>
              <a:gd name="connsiteY821" fmla="*/ 3405342 h 8304597"/>
              <a:gd name="connsiteX822" fmla="*/ 2839970 w 24377650"/>
              <a:gd name="connsiteY822" fmla="*/ 3391498 h 8304597"/>
              <a:gd name="connsiteX823" fmla="*/ 2839970 w 24377650"/>
              <a:gd name="connsiteY823" fmla="*/ 3428415 h 8304597"/>
              <a:gd name="connsiteX824" fmla="*/ 2952336 w 24377650"/>
              <a:gd name="connsiteY824" fmla="*/ 3391498 h 8304597"/>
              <a:gd name="connsiteX825" fmla="*/ 2909321 w 24377650"/>
              <a:gd name="connsiteY825" fmla="*/ 3396689 h 8304597"/>
              <a:gd name="connsiteX826" fmla="*/ 2906687 w 24377650"/>
              <a:gd name="connsiteY826" fmla="*/ 3397943 h 8304597"/>
              <a:gd name="connsiteX827" fmla="*/ 2915416 w 24377650"/>
              <a:gd name="connsiteY827" fmla="*/ 3391498 h 8304597"/>
              <a:gd name="connsiteX828" fmla="*/ 2839970 w 24377650"/>
              <a:gd name="connsiteY828" fmla="*/ 3391498 h 8304597"/>
              <a:gd name="connsiteX829" fmla="*/ 2534975 w 24377650"/>
              <a:gd name="connsiteY829" fmla="*/ 3391498 h 8304597"/>
              <a:gd name="connsiteX830" fmla="*/ 2519728 w 24377650"/>
              <a:gd name="connsiteY830" fmla="*/ 3397269 h 8304597"/>
              <a:gd name="connsiteX831" fmla="*/ 2519926 w 24377650"/>
              <a:gd name="connsiteY831" fmla="*/ 3396113 h 8304597"/>
              <a:gd name="connsiteX832" fmla="*/ 2534975 w 24377650"/>
              <a:gd name="connsiteY832" fmla="*/ 3391498 h 8304597"/>
              <a:gd name="connsiteX833" fmla="*/ 741929 w 24377650"/>
              <a:gd name="connsiteY833" fmla="*/ 3391498 h 8304597"/>
              <a:gd name="connsiteX834" fmla="*/ 818981 w 24377650"/>
              <a:gd name="connsiteY834" fmla="*/ 3391498 h 8304597"/>
              <a:gd name="connsiteX835" fmla="*/ 753968 w 24377650"/>
              <a:gd name="connsiteY835" fmla="*/ 3407072 h 8304597"/>
              <a:gd name="connsiteX836" fmla="*/ 748886 w 24377650"/>
              <a:gd name="connsiteY836" fmla="*/ 3416083 h 8304597"/>
              <a:gd name="connsiteX837" fmla="*/ 747347 w 24377650"/>
              <a:gd name="connsiteY837" fmla="*/ 3413467 h 8304597"/>
              <a:gd name="connsiteX838" fmla="*/ 741929 w 24377650"/>
              <a:gd name="connsiteY838" fmla="*/ 3391498 h 8304597"/>
              <a:gd name="connsiteX839" fmla="*/ 5003540 w 24377650"/>
              <a:gd name="connsiteY839" fmla="*/ 3389314 h 8304597"/>
              <a:gd name="connsiteX840" fmla="*/ 5002736 w 24377650"/>
              <a:gd name="connsiteY840" fmla="*/ 3389843 h 8304597"/>
              <a:gd name="connsiteX841" fmla="*/ 4973325 w 24377650"/>
              <a:gd name="connsiteY841" fmla="*/ 3391498 h 8304597"/>
              <a:gd name="connsiteX842" fmla="*/ 6133707 w 24377650"/>
              <a:gd name="connsiteY842" fmla="*/ 3376451 h 8304597"/>
              <a:gd name="connsiteX843" fmla="*/ 6116251 w 24377650"/>
              <a:gd name="connsiteY843" fmla="*/ 3391498 h 8304597"/>
              <a:gd name="connsiteX844" fmla="*/ 6193303 w 24377650"/>
              <a:gd name="connsiteY844" fmla="*/ 3468541 h 8304597"/>
              <a:gd name="connsiteX845" fmla="*/ 6133707 w 24377650"/>
              <a:gd name="connsiteY845" fmla="*/ 3376451 h 8304597"/>
              <a:gd name="connsiteX846" fmla="*/ 4896274 w 24377650"/>
              <a:gd name="connsiteY846" fmla="*/ 3352977 h 8304597"/>
              <a:gd name="connsiteX847" fmla="*/ 4934800 w 24377650"/>
              <a:gd name="connsiteY847" fmla="*/ 3391498 h 8304597"/>
              <a:gd name="connsiteX848" fmla="*/ 4859354 w 24377650"/>
              <a:gd name="connsiteY848" fmla="*/ 3391498 h 8304597"/>
              <a:gd name="connsiteX849" fmla="*/ 4896274 w 24377650"/>
              <a:gd name="connsiteY849" fmla="*/ 3352977 h 8304597"/>
              <a:gd name="connsiteX850" fmla="*/ 4743777 w 24377650"/>
              <a:gd name="connsiteY850" fmla="*/ 3352977 h 8304597"/>
              <a:gd name="connsiteX851" fmla="*/ 4743777 w 24377650"/>
              <a:gd name="connsiteY851" fmla="*/ 3391498 h 8304597"/>
              <a:gd name="connsiteX852" fmla="*/ 4782302 w 24377650"/>
              <a:gd name="connsiteY852" fmla="*/ 3391498 h 8304597"/>
              <a:gd name="connsiteX853" fmla="*/ 4743777 w 24377650"/>
              <a:gd name="connsiteY853" fmla="*/ 3352977 h 8304597"/>
              <a:gd name="connsiteX854" fmla="*/ 3981290 w 24377650"/>
              <a:gd name="connsiteY854" fmla="*/ 3352977 h 8304597"/>
              <a:gd name="connsiteX855" fmla="*/ 4019817 w 24377650"/>
              <a:gd name="connsiteY855" fmla="*/ 3352977 h 8304597"/>
              <a:gd name="connsiteX856" fmla="*/ 3981290 w 24377650"/>
              <a:gd name="connsiteY856" fmla="*/ 3352977 h 8304597"/>
              <a:gd name="connsiteX857" fmla="*/ 1010004 w 24377650"/>
              <a:gd name="connsiteY857" fmla="*/ 3352977 h 8304597"/>
              <a:gd name="connsiteX858" fmla="*/ 1122370 w 24377650"/>
              <a:gd name="connsiteY858" fmla="*/ 3428415 h 8304597"/>
              <a:gd name="connsiteX859" fmla="*/ 1237947 w 24377650"/>
              <a:gd name="connsiteY859" fmla="*/ 3391498 h 8304597"/>
              <a:gd name="connsiteX860" fmla="*/ 1237947 w 24377650"/>
              <a:gd name="connsiteY860" fmla="*/ 3428415 h 8304597"/>
              <a:gd name="connsiteX861" fmla="*/ 1351918 w 24377650"/>
              <a:gd name="connsiteY861" fmla="*/ 3428415 h 8304597"/>
              <a:gd name="connsiteX862" fmla="*/ 1314997 w 24377650"/>
              <a:gd name="connsiteY862" fmla="*/ 3468541 h 8304597"/>
              <a:gd name="connsiteX863" fmla="*/ 1274867 w 24377650"/>
              <a:gd name="connsiteY863" fmla="*/ 3428415 h 8304597"/>
              <a:gd name="connsiteX864" fmla="*/ 741929 w 24377650"/>
              <a:gd name="connsiteY864" fmla="*/ 3468541 h 8304597"/>
              <a:gd name="connsiteX865" fmla="*/ 756376 w 24377650"/>
              <a:gd name="connsiteY865" fmla="*/ 3428816 h 8304597"/>
              <a:gd name="connsiteX866" fmla="*/ 756140 w 24377650"/>
              <a:gd name="connsiteY866" fmla="*/ 3428415 h 8304597"/>
              <a:gd name="connsiteX867" fmla="*/ 842658 w 24377650"/>
              <a:gd name="connsiteY867" fmla="*/ 3428415 h 8304597"/>
              <a:gd name="connsiteX868" fmla="*/ 969873 w 24377650"/>
              <a:gd name="connsiteY868" fmla="*/ 3428415 h 8304597"/>
              <a:gd name="connsiteX869" fmla="*/ 1010004 w 24377650"/>
              <a:gd name="connsiteY869" fmla="*/ 3352977 h 8304597"/>
              <a:gd name="connsiteX870" fmla="*/ 4863492 w 24377650"/>
              <a:gd name="connsiteY870" fmla="*/ 3337403 h 8304597"/>
              <a:gd name="connsiteX871" fmla="*/ 4820828 w 24377650"/>
              <a:gd name="connsiteY871" fmla="*/ 3352977 h 8304597"/>
              <a:gd name="connsiteX872" fmla="*/ 4820828 w 24377650"/>
              <a:gd name="connsiteY872" fmla="*/ 3428415 h 8304597"/>
              <a:gd name="connsiteX873" fmla="*/ 5087296 w 24377650"/>
              <a:gd name="connsiteY873" fmla="*/ 3468541 h 8304597"/>
              <a:gd name="connsiteX874" fmla="*/ 5125822 w 24377650"/>
              <a:gd name="connsiteY874" fmla="*/ 3352977 h 8304597"/>
              <a:gd name="connsiteX875" fmla="*/ 5048771 w 24377650"/>
              <a:gd name="connsiteY875" fmla="*/ 3352977 h 8304597"/>
              <a:gd name="connsiteX876" fmla="*/ 5039942 w 24377650"/>
              <a:gd name="connsiteY876" fmla="*/ 3386683 h 8304597"/>
              <a:gd name="connsiteX877" fmla="*/ 5003540 w 24377650"/>
              <a:gd name="connsiteY877" fmla="*/ 3389314 h 8304597"/>
              <a:gd name="connsiteX878" fmla="*/ 5009367 w 24377650"/>
              <a:gd name="connsiteY878" fmla="*/ 3385479 h 8304597"/>
              <a:gd name="connsiteX879" fmla="*/ 4896274 w 24377650"/>
              <a:gd name="connsiteY879" fmla="*/ 3352977 h 8304597"/>
              <a:gd name="connsiteX880" fmla="*/ 4863492 w 24377650"/>
              <a:gd name="connsiteY880" fmla="*/ 3337403 h 8304597"/>
              <a:gd name="connsiteX881" fmla="*/ 1892305 w 24377650"/>
              <a:gd name="connsiteY881" fmla="*/ 3337403 h 8304597"/>
              <a:gd name="connsiteX882" fmla="*/ 1884855 w 24377650"/>
              <a:gd name="connsiteY882" fmla="*/ 3352977 h 8304597"/>
              <a:gd name="connsiteX883" fmla="*/ 2000433 w 24377650"/>
              <a:gd name="connsiteY883" fmla="*/ 3352977 h 8304597"/>
              <a:gd name="connsiteX884" fmla="*/ 1892305 w 24377650"/>
              <a:gd name="connsiteY884" fmla="*/ 3337403 h 8304597"/>
              <a:gd name="connsiteX885" fmla="*/ 3676296 w 24377650"/>
              <a:gd name="connsiteY885" fmla="*/ 3316060 h 8304597"/>
              <a:gd name="connsiteX886" fmla="*/ 3600851 w 24377650"/>
              <a:gd name="connsiteY886" fmla="*/ 3352977 h 8304597"/>
              <a:gd name="connsiteX887" fmla="*/ 3562525 w 24377650"/>
              <a:gd name="connsiteY887" fmla="*/ 3352977 h 8304597"/>
              <a:gd name="connsiteX888" fmla="*/ 3562324 w 24377650"/>
              <a:gd name="connsiteY888" fmla="*/ 3352977 h 8304597"/>
              <a:gd name="connsiteX889" fmla="*/ 3525405 w 24377650"/>
              <a:gd name="connsiteY889" fmla="*/ 3352977 h 8304597"/>
              <a:gd name="connsiteX890" fmla="*/ 3525405 w 24377650"/>
              <a:gd name="connsiteY890" fmla="*/ 3391498 h 8304597"/>
              <a:gd name="connsiteX891" fmla="*/ 3562324 w 24377650"/>
              <a:gd name="connsiteY891" fmla="*/ 3428415 h 8304597"/>
              <a:gd name="connsiteX892" fmla="*/ 3676296 w 24377650"/>
              <a:gd name="connsiteY892" fmla="*/ 3428415 h 8304597"/>
              <a:gd name="connsiteX893" fmla="*/ 3791873 w 24377650"/>
              <a:gd name="connsiteY893" fmla="*/ 3391498 h 8304597"/>
              <a:gd name="connsiteX894" fmla="*/ 3867319 w 24377650"/>
              <a:gd name="connsiteY894" fmla="*/ 3391498 h 8304597"/>
              <a:gd name="connsiteX895" fmla="*/ 3905845 w 24377650"/>
              <a:gd name="connsiteY895" fmla="*/ 3352977 h 8304597"/>
              <a:gd name="connsiteX896" fmla="*/ 3676296 w 24377650"/>
              <a:gd name="connsiteY896" fmla="*/ 3316060 h 8304597"/>
              <a:gd name="connsiteX897" fmla="*/ 3181884 w 24377650"/>
              <a:gd name="connsiteY897" fmla="*/ 3316060 h 8304597"/>
              <a:gd name="connsiteX898" fmla="*/ 3184009 w 24377650"/>
              <a:gd name="connsiteY898" fmla="*/ 3318751 h 8304597"/>
              <a:gd name="connsiteX899" fmla="*/ 3179920 w 24377650"/>
              <a:gd name="connsiteY899" fmla="*/ 3318480 h 8304597"/>
              <a:gd name="connsiteX900" fmla="*/ 2839970 w 24377650"/>
              <a:gd name="connsiteY900" fmla="*/ 3316060 h 8304597"/>
              <a:gd name="connsiteX901" fmla="*/ 2799839 w 24377650"/>
              <a:gd name="connsiteY901" fmla="*/ 3352977 h 8304597"/>
              <a:gd name="connsiteX902" fmla="*/ 2952336 w 24377650"/>
              <a:gd name="connsiteY902" fmla="*/ 3352977 h 8304597"/>
              <a:gd name="connsiteX903" fmla="*/ 2915416 w 24377650"/>
              <a:gd name="connsiteY903" fmla="*/ 3352977 h 8304597"/>
              <a:gd name="connsiteX904" fmla="*/ 2839970 w 24377650"/>
              <a:gd name="connsiteY904" fmla="*/ 3316060 h 8304597"/>
              <a:gd name="connsiteX905" fmla="*/ 2692489 w 24377650"/>
              <a:gd name="connsiteY905" fmla="*/ 3299708 h 8304597"/>
              <a:gd name="connsiteX906" fmla="*/ 2647342 w 24377650"/>
              <a:gd name="connsiteY906" fmla="*/ 3316060 h 8304597"/>
              <a:gd name="connsiteX907" fmla="*/ 2610421 w 24377650"/>
              <a:gd name="connsiteY907" fmla="*/ 3391498 h 8304597"/>
              <a:gd name="connsiteX908" fmla="*/ 2687472 w 24377650"/>
              <a:gd name="connsiteY908" fmla="*/ 3391498 h 8304597"/>
              <a:gd name="connsiteX909" fmla="*/ 2762918 w 24377650"/>
              <a:gd name="connsiteY909" fmla="*/ 3352977 h 8304597"/>
              <a:gd name="connsiteX910" fmla="*/ 2692489 w 24377650"/>
              <a:gd name="connsiteY910" fmla="*/ 3299708 h 8304597"/>
              <a:gd name="connsiteX911" fmla="*/ 2354988 w 24377650"/>
              <a:gd name="connsiteY911" fmla="*/ 3299131 h 8304597"/>
              <a:gd name="connsiteX912" fmla="*/ 2342347 w 24377650"/>
              <a:gd name="connsiteY912" fmla="*/ 3316060 h 8304597"/>
              <a:gd name="connsiteX913" fmla="*/ 2457924 w 24377650"/>
              <a:gd name="connsiteY913" fmla="*/ 3391498 h 8304597"/>
              <a:gd name="connsiteX914" fmla="*/ 2382478 w 24377650"/>
              <a:gd name="connsiteY914" fmla="*/ 3428415 h 8304597"/>
              <a:gd name="connsiteX915" fmla="*/ 2504827 w 24377650"/>
              <a:gd name="connsiteY915" fmla="*/ 3402909 h 8304597"/>
              <a:gd name="connsiteX916" fmla="*/ 2519728 w 24377650"/>
              <a:gd name="connsiteY916" fmla="*/ 3397269 h 8304597"/>
              <a:gd name="connsiteX917" fmla="*/ 2518045 w 24377650"/>
              <a:gd name="connsiteY917" fmla="*/ 3407072 h 8304597"/>
              <a:gd name="connsiteX918" fmla="*/ 2534975 w 24377650"/>
              <a:gd name="connsiteY918" fmla="*/ 3428415 h 8304597"/>
              <a:gd name="connsiteX919" fmla="*/ 2610421 w 24377650"/>
              <a:gd name="connsiteY919" fmla="*/ 3428415 h 8304597"/>
              <a:gd name="connsiteX920" fmla="*/ 2610421 w 24377650"/>
              <a:gd name="connsiteY920" fmla="*/ 3316060 h 8304597"/>
              <a:gd name="connsiteX921" fmla="*/ 2494844 w 24377650"/>
              <a:gd name="connsiteY921" fmla="*/ 3352977 h 8304597"/>
              <a:gd name="connsiteX922" fmla="*/ 2457924 w 24377650"/>
              <a:gd name="connsiteY922" fmla="*/ 3316060 h 8304597"/>
              <a:gd name="connsiteX923" fmla="*/ 2354988 w 24377650"/>
              <a:gd name="connsiteY923" fmla="*/ 3299131 h 8304597"/>
              <a:gd name="connsiteX924" fmla="*/ 3409827 w 24377650"/>
              <a:gd name="connsiteY924" fmla="*/ 3275933 h 8304597"/>
              <a:gd name="connsiteX925" fmla="*/ 3143358 w 24377650"/>
              <a:gd name="connsiteY925" fmla="*/ 3316060 h 8304597"/>
              <a:gd name="connsiteX926" fmla="*/ 3179920 w 24377650"/>
              <a:gd name="connsiteY926" fmla="*/ 3318480 h 8304597"/>
              <a:gd name="connsiteX927" fmla="*/ 3164076 w 24377650"/>
              <a:gd name="connsiteY927" fmla="*/ 3338005 h 8304597"/>
              <a:gd name="connsiteX928" fmla="*/ 3067913 w 24377650"/>
              <a:gd name="connsiteY928" fmla="*/ 3391498 h 8304597"/>
              <a:gd name="connsiteX929" fmla="*/ 3372907 w 24377650"/>
              <a:gd name="connsiteY929" fmla="*/ 3352977 h 8304597"/>
              <a:gd name="connsiteX930" fmla="*/ 3220410 w 24377650"/>
              <a:gd name="connsiteY930" fmla="*/ 3352977 h 8304597"/>
              <a:gd name="connsiteX931" fmla="*/ 3198739 w 24377650"/>
              <a:gd name="connsiteY931" fmla="*/ 3337403 h 8304597"/>
              <a:gd name="connsiteX932" fmla="*/ 3184009 w 24377650"/>
              <a:gd name="connsiteY932" fmla="*/ 3318751 h 8304597"/>
              <a:gd name="connsiteX933" fmla="*/ 3212308 w 24377650"/>
              <a:gd name="connsiteY933" fmla="*/ 3320624 h 8304597"/>
              <a:gd name="connsiteX934" fmla="*/ 3409827 w 24377650"/>
              <a:gd name="connsiteY934" fmla="*/ 3275933 h 8304597"/>
              <a:gd name="connsiteX935" fmla="*/ 894426 w 24377650"/>
              <a:gd name="connsiteY935" fmla="*/ 3275933 h 8304597"/>
              <a:gd name="connsiteX936" fmla="*/ 1010004 w 24377650"/>
              <a:gd name="connsiteY936" fmla="*/ 3275933 h 8304597"/>
              <a:gd name="connsiteX937" fmla="*/ 894426 w 24377650"/>
              <a:gd name="connsiteY937" fmla="*/ 3275933 h 8304597"/>
              <a:gd name="connsiteX938" fmla="*/ 652036 w 24377650"/>
              <a:gd name="connsiteY938" fmla="*/ 3229186 h 8304597"/>
              <a:gd name="connsiteX939" fmla="*/ 552512 w 24377650"/>
              <a:gd name="connsiteY939" fmla="*/ 3275933 h 8304597"/>
              <a:gd name="connsiteX940" fmla="*/ 780455 w 24377650"/>
              <a:gd name="connsiteY940" fmla="*/ 3239017 h 8304597"/>
              <a:gd name="connsiteX941" fmla="*/ 652036 w 24377650"/>
              <a:gd name="connsiteY941" fmla="*/ 3229186 h 8304597"/>
              <a:gd name="connsiteX942" fmla="*/ 56494 w 24377650"/>
              <a:gd name="connsiteY942" fmla="*/ 3123453 h 8304597"/>
              <a:gd name="connsiteX943" fmla="*/ 95020 w 24377650"/>
              <a:gd name="connsiteY943" fmla="*/ 3163579 h 8304597"/>
              <a:gd name="connsiteX944" fmla="*/ 170466 w 24377650"/>
              <a:gd name="connsiteY944" fmla="*/ 3123453 h 8304597"/>
              <a:gd name="connsiteX945" fmla="*/ 133546 w 24377650"/>
              <a:gd name="connsiteY945" fmla="*/ 3200495 h 8304597"/>
              <a:gd name="connsiteX946" fmla="*/ 56494 w 24377650"/>
              <a:gd name="connsiteY946" fmla="*/ 3163579 h 8304597"/>
              <a:gd name="connsiteX947" fmla="*/ 18170 w 24377650"/>
              <a:gd name="connsiteY947" fmla="*/ 3186852 h 8304597"/>
              <a:gd name="connsiteX948" fmla="*/ 0 w 24377650"/>
              <a:gd name="connsiteY948" fmla="*/ 3212385 h 8304597"/>
              <a:gd name="connsiteX949" fmla="*/ 0 w 24377650"/>
              <a:gd name="connsiteY949" fmla="*/ 3145666 h 8304597"/>
              <a:gd name="connsiteX950" fmla="*/ 4324 w 24377650"/>
              <a:gd name="connsiteY950" fmla="*/ 3143516 h 8304597"/>
              <a:gd name="connsiteX951" fmla="*/ 56494 w 24377650"/>
              <a:gd name="connsiteY951" fmla="*/ 3123453 h 8304597"/>
              <a:gd name="connsiteX952" fmla="*/ 3104833 w 24377650"/>
              <a:gd name="connsiteY952" fmla="*/ 3086536 h 8304597"/>
              <a:gd name="connsiteX953" fmla="*/ 3067913 w 24377650"/>
              <a:gd name="connsiteY953" fmla="*/ 3163579 h 8304597"/>
              <a:gd name="connsiteX954" fmla="*/ 3104833 w 24377650"/>
              <a:gd name="connsiteY954" fmla="*/ 3086536 h 8304597"/>
              <a:gd name="connsiteX955" fmla="*/ 4015602 w 24377650"/>
              <a:gd name="connsiteY955" fmla="*/ 3076053 h 8304597"/>
              <a:gd name="connsiteX956" fmla="*/ 3981290 w 24377650"/>
              <a:gd name="connsiteY956" fmla="*/ 3086536 h 8304597"/>
              <a:gd name="connsiteX957" fmla="*/ 4096868 w 24377650"/>
              <a:gd name="connsiteY957" fmla="*/ 3123453 h 8304597"/>
              <a:gd name="connsiteX958" fmla="*/ 4015602 w 24377650"/>
              <a:gd name="connsiteY958" fmla="*/ 3076053 h 8304597"/>
              <a:gd name="connsiteX959" fmla="*/ 4205165 w 24377650"/>
              <a:gd name="connsiteY959" fmla="*/ 3074587 h 8304597"/>
              <a:gd name="connsiteX960" fmla="*/ 4210839 w 24377650"/>
              <a:gd name="connsiteY960" fmla="*/ 3076705 h 8304597"/>
              <a:gd name="connsiteX961" fmla="*/ 4214868 w 24377650"/>
              <a:gd name="connsiteY961" fmla="*/ 3081850 h 8304597"/>
              <a:gd name="connsiteX962" fmla="*/ 4207578 w 24377650"/>
              <a:gd name="connsiteY962" fmla="*/ 3080442 h 8304597"/>
              <a:gd name="connsiteX963" fmla="*/ 3562324 w 24377650"/>
              <a:gd name="connsiteY963" fmla="*/ 3048015 h 8304597"/>
              <a:gd name="connsiteX964" fmla="*/ 3639376 w 24377650"/>
              <a:gd name="connsiteY964" fmla="*/ 3048015 h 8304597"/>
              <a:gd name="connsiteX965" fmla="*/ 3562324 w 24377650"/>
              <a:gd name="connsiteY965" fmla="*/ 3086536 h 8304597"/>
              <a:gd name="connsiteX966" fmla="*/ 3557709 w 24377650"/>
              <a:gd name="connsiteY966" fmla="*/ 3086536 h 8304597"/>
              <a:gd name="connsiteX967" fmla="*/ 3534961 w 24377650"/>
              <a:gd name="connsiteY967" fmla="*/ 3086536 h 8304597"/>
              <a:gd name="connsiteX968" fmla="*/ 3525405 w 24377650"/>
              <a:gd name="connsiteY968" fmla="*/ 3086536 h 8304597"/>
              <a:gd name="connsiteX969" fmla="*/ 3562324 w 24377650"/>
              <a:gd name="connsiteY969" fmla="*/ 3048015 h 8304597"/>
              <a:gd name="connsiteX970" fmla="*/ 3409827 w 24377650"/>
              <a:gd name="connsiteY970" fmla="*/ 3048015 h 8304597"/>
              <a:gd name="connsiteX971" fmla="*/ 3486879 w 24377650"/>
              <a:gd name="connsiteY971" fmla="*/ 3048015 h 8304597"/>
              <a:gd name="connsiteX972" fmla="*/ 3486879 w 24377650"/>
              <a:gd name="connsiteY972" fmla="*/ 3086536 h 8304597"/>
              <a:gd name="connsiteX973" fmla="*/ 3448353 w 24377650"/>
              <a:gd name="connsiteY973" fmla="*/ 3123453 h 8304597"/>
              <a:gd name="connsiteX974" fmla="*/ 3409827 w 24377650"/>
              <a:gd name="connsiteY974" fmla="*/ 3086536 h 8304597"/>
              <a:gd name="connsiteX975" fmla="*/ 3409827 w 24377650"/>
              <a:gd name="connsiteY975" fmla="*/ 3048015 h 8304597"/>
              <a:gd name="connsiteX976" fmla="*/ 4629805 w 24377650"/>
              <a:gd name="connsiteY976" fmla="*/ 3009493 h 8304597"/>
              <a:gd name="connsiteX977" fmla="*/ 4629805 w 24377650"/>
              <a:gd name="connsiteY977" fmla="*/ 3048015 h 8304597"/>
              <a:gd name="connsiteX978" fmla="*/ 4706856 w 24377650"/>
              <a:gd name="connsiteY978" fmla="*/ 3009493 h 8304597"/>
              <a:gd name="connsiteX979" fmla="*/ 4629805 w 24377650"/>
              <a:gd name="connsiteY979" fmla="*/ 3009493 h 8304597"/>
              <a:gd name="connsiteX980" fmla="*/ 4401862 w 24377650"/>
              <a:gd name="connsiteY980" fmla="*/ 3009493 h 8304597"/>
              <a:gd name="connsiteX981" fmla="*/ 4438782 w 24377650"/>
              <a:gd name="connsiteY981" fmla="*/ 3123453 h 8304597"/>
              <a:gd name="connsiteX982" fmla="*/ 4515834 w 24377650"/>
              <a:gd name="connsiteY982" fmla="*/ 3086536 h 8304597"/>
              <a:gd name="connsiteX983" fmla="*/ 4554359 w 24377650"/>
              <a:gd name="connsiteY983" fmla="*/ 3048015 h 8304597"/>
              <a:gd name="connsiteX984" fmla="*/ 4401862 w 24377650"/>
              <a:gd name="connsiteY984" fmla="*/ 3009493 h 8304597"/>
              <a:gd name="connsiteX985" fmla="*/ 3334382 w 24377650"/>
              <a:gd name="connsiteY985" fmla="*/ 3009493 h 8304597"/>
              <a:gd name="connsiteX986" fmla="*/ 3372907 w 24377650"/>
              <a:gd name="connsiteY986" fmla="*/ 3086536 h 8304597"/>
              <a:gd name="connsiteX987" fmla="*/ 3257330 w 24377650"/>
              <a:gd name="connsiteY987" fmla="*/ 3086536 h 8304597"/>
              <a:gd name="connsiteX988" fmla="*/ 3257330 w 24377650"/>
              <a:gd name="connsiteY988" fmla="*/ 3123453 h 8304597"/>
              <a:gd name="connsiteX989" fmla="*/ 3295856 w 24377650"/>
              <a:gd name="connsiteY989" fmla="*/ 3123453 h 8304597"/>
              <a:gd name="connsiteX990" fmla="*/ 3372907 w 24377650"/>
              <a:gd name="connsiteY990" fmla="*/ 3123453 h 8304597"/>
              <a:gd name="connsiteX991" fmla="*/ 3181884 w 24377650"/>
              <a:gd name="connsiteY991" fmla="*/ 3163579 h 8304597"/>
              <a:gd name="connsiteX992" fmla="*/ 3104833 w 24377650"/>
              <a:gd name="connsiteY992" fmla="*/ 3123453 h 8304597"/>
              <a:gd name="connsiteX993" fmla="*/ 3220410 w 24377650"/>
              <a:gd name="connsiteY993" fmla="*/ 3123453 h 8304597"/>
              <a:gd name="connsiteX994" fmla="*/ 3143358 w 24377650"/>
              <a:gd name="connsiteY994" fmla="*/ 3086536 h 8304597"/>
              <a:gd name="connsiteX995" fmla="*/ 3334382 w 24377650"/>
              <a:gd name="connsiteY995" fmla="*/ 3009493 h 8304597"/>
              <a:gd name="connsiteX996" fmla="*/ 3828793 w 24377650"/>
              <a:gd name="connsiteY996" fmla="*/ 2934055 h 8304597"/>
              <a:gd name="connsiteX997" fmla="*/ 3714822 w 24377650"/>
              <a:gd name="connsiteY997" fmla="*/ 2970972 h 8304597"/>
              <a:gd name="connsiteX998" fmla="*/ 3828793 w 24377650"/>
              <a:gd name="connsiteY998" fmla="*/ 2934055 h 8304597"/>
              <a:gd name="connsiteX999" fmla="*/ 3639376 w 24377650"/>
              <a:gd name="connsiteY999" fmla="*/ 2934055 h 8304597"/>
              <a:gd name="connsiteX1000" fmla="*/ 3562324 w 24377650"/>
              <a:gd name="connsiteY1000" fmla="*/ 2970972 h 8304597"/>
              <a:gd name="connsiteX1001" fmla="*/ 3639376 w 24377650"/>
              <a:gd name="connsiteY1001" fmla="*/ 2934055 h 8304597"/>
              <a:gd name="connsiteX1002" fmla="*/ 3448353 w 24377650"/>
              <a:gd name="connsiteY1002" fmla="*/ 2934055 h 8304597"/>
              <a:gd name="connsiteX1003" fmla="*/ 3486879 w 24377650"/>
              <a:gd name="connsiteY1003" fmla="*/ 2934055 h 8304597"/>
              <a:gd name="connsiteX1004" fmla="*/ 3486879 w 24377650"/>
              <a:gd name="connsiteY1004" fmla="*/ 2970972 h 8304597"/>
              <a:gd name="connsiteX1005" fmla="*/ 3448353 w 24377650"/>
              <a:gd name="connsiteY1005" fmla="*/ 2934055 h 8304597"/>
              <a:gd name="connsiteX1006" fmla="*/ 3486879 w 24377650"/>
              <a:gd name="connsiteY1006" fmla="*/ 2858617 h 8304597"/>
              <a:gd name="connsiteX1007" fmla="*/ 3525405 w 24377650"/>
              <a:gd name="connsiteY1007" fmla="*/ 2858617 h 8304597"/>
              <a:gd name="connsiteX1008" fmla="*/ 3525405 w 24377650"/>
              <a:gd name="connsiteY1008" fmla="*/ 2895534 h 8304597"/>
              <a:gd name="connsiteX1009" fmla="*/ 3525405 w 24377650"/>
              <a:gd name="connsiteY1009" fmla="*/ 2934055 h 8304597"/>
              <a:gd name="connsiteX1010" fmla="*/ 3486879 w 24377650"/>
              <a:gd name="connsiteY1010" fmla="*/ 2895534 h 8304597"/>
              <a:gd name="connsiteX1011" fmla="*/ 3486879 w 24377650"/>
              <a:gd name="connsiteY1011" fmla="*/ 2890919 h 8304597"/>
              <a:gd name="connsiteX1012" fmla="*/ 3486879 w 24377650"/>
              <a:gd name="connsiteY1012" fmla="*/ 2879960 h 8304597"/>
              <a:gd name="connsiteX1013" fmla="*/ 3486879 w 24377650"/>
              <a:gd name="connsiteY1013" fmla="*/ 2874191 h 8304597"/>
              <a:gd name="connsiteX1014" fmla="*/ 3486879 w 24377650"/>
              <a:gd name="connsiteY1014" fmla="*/ 2863232 h 8304597"/>
              <a:gd name="connsiteX1015" fmla="*/ 3486879 w 24377650"/>
              <a:gd name="connsiteY1015" fmla="*/ 2858617 h 8304597"/>
              <a:gd name="connsiteX1016" fmla="*/ 1931357 w 24377650"/>
              <a:gd name="connsiteY1016" fmla="*/ 2841689 h 8304597"/>
              <a:gd name="connsiteX1017" fmla="*/ 1924986 w 24377650"/>
              <a:gd name="connsiteY1017" fmla="*/ 2858617 h 8304597"/>
              <a:gd name="connsiteX1018" fmla="*/ 1884855 w 24377650"/>
              <a:gd name="connsiteY1018" fmla="*/ 2895534 h 8304597"/>
              <a:gd name="connsiteX1019" fmla="*/ 2000433 w 24377650"/>
              <a:gd name="connsiteY1019" fmla="*/ 2858617 h 8304597"/>
              <a:gd name="connsiteX1020" fmla="*/ 1931357 w 24377650"/>
              <a:gd name="connsiteY1020" fmla="*/ 2841689 h 8304597"/>
              <a:gd name="connsiteX1021" fmla="*/ 3867319 w 24377650"/>
              <a:gd name="connsiteY1021" fmla="*/ 2781574 h 8304597"/>
              <a:gd name="connsiteX1022" fmla="*/ 3676296 w 24377650"/>
              <a:gd name="connsiteY1022" fmla="*/ 2818491 h 8304597"/>
              <a:gd name="connsiteX1023" fmla="*/ 3867319 w 24377650"/>
              <a:gd name="connsiteY1023" fmla="*/ 2781574 h 8304597"/>
              <a:gd name="connsiteX1024" fmla="*/ 1237947 w 24377650"/>
              <a:gd name="connsiteY1024" fmla="*/ 2781574 h 8304597"/>
              <a:gd name="connsiteX1025" fmla="*/ 1199421 w 24377650"/>
              <a:gd name="connsiteY1025" fmla="*/ 2818491 h 8304597"/>
              <a:gd name="connsiteX1026" fmla="*/ 1237947 w 24377650"/>
              <a:gd name="connsiteY1026" fmla="*/ 2818491 h 8304597"/>
              <a:gd name="connsiteX1027" fmla="*/ 1237947 w 24377650"/>
              <a:gd name="connsiteY1027" fmla="*/ 2781574 h 8304597"/>
              <a:gd name="connsiteX1028" fmla="*/ 24031208 w 24377650"/>
              <a:gd name="connsiteY1028" fmla="*/ 2765323 h 8304597"/>
              <a:gd name="connsiteX1029" fmla="*/ 23990526 w 24377650"/>
              <a:gd name="connsiteY1029" fmla="*/ 2781574 h 8304597"/>
              <a:gd name="connsiteX1030" fmla="*/ 23990526 w 24377650"/>
              <a:gd name="connsiteY1030" fmla="*/ 2818491 h 8304597"/>
              <a:gd name="connsiteX1031" fmla="*/ 23762582 w 24377650"/>
              <a:gd name="connsiteY1031" fmla="*/ 2858617 h 8304597"/>
              <a:gd name="connsiteX1032" fmla="*/ 24029050 w 24377650"/>
              <a:gd name="connsiteY1032" fmla="*/ 2858617 h 8304597"/>
              <a:gd name="connsiteX1033" fmla="*/ 23915080 w 24377650"/>
              <a:gd name="connsiteY1033" fmla="*/ 2895534 h 8304597"/>
              <a:gd name="connsiteX1034" fmla="*/ 23799502 w 24377650"/>
              <a:gd name="connsiteY1034" fmla="*/ 2858617 h 8304597"/>
              <a:gd name="connsiteX1035" fmla="*/ 23915080 w 24377650"/>
              <a:gd name="connsiteY1035" fmla="*/ 2895534 h 8304597"/>
              <a:gd name="connsiteX1036" fmla="*/ 24256994 w 24377650"/>
              <a:gd name="connsiteY1036" fmla="*/ 2934055 h 8304597"/>
              <a:gd name="connsiteX1037" fmla="*/ 24067576 w 24377650"/>
              <a:gd name="connsiteY1037" fmla="*/ 2858617 h 8304597"/>
              <a:gd name="connsiteX1038" fmla="*/ 24029050 w 24377650"/>
              <a:gd name="connsiteY1038" fmla="*/ 2818491 h 8304597"/>
              <a:gd name="connsiteX1039" fmla="*/ 24181548 w 24377650"/>
              <a:gd name="connsiteY1039" fmla="*/ 2781574 h 8304597"/>
              <a:gd name="connsiteX1040" fmla="*/ 24031208 w 24377650"/>
              <a:gd name="connsiteY1040" fmla="*/ 2765323 h 8304597"/>
              <a:gd name="connsiteX1041" fmla="*/ 1542941 w 24377650"/>
              <a:gd name="connsiteY1041" fmla="*/ 2706136 h 8304597"/>
              <a:gd name="connsiteX1042" fmla="*/ 1467495 w 24377650"/>
              <a:gd name="connsiteY1042" fmla="*/ 2743053 h 8304597"/>
              <a:gd name="connsiteX1043" fmla="*/ 1542941 w 24377650"/>
              <a:gd name="connsiteY1043" fmla="*/ 2706136 h 8304597"/>
              <a:gd name="connsiteX1044" fmla="*/ 1322091 w 24377650"/>
              <a:gd name="connsiteY1044" fmla="*/ 2691079 h 8304597"/>
              <a:gd name="connsiteX1045" fmla="*/ 1351918 w 24377650"/>
              <a:gd name="connsiteY1045" fmla="*/ 2706136 h 8304597"/>
              <a:gd name="connsiteX1046" fmla="*/ 1333458 w 24377650"/>
              <a:gd name="connsiteY1046" fmla="*/ 2701321 h 8304597"/>
              <a:gd name="connsiteX1047" fmla="*/ 23647006 w 24377650"/>
              <a:gd name="connsiteY1047" fmla="*/ 2667615 h 8304597"/>
              <a:gd name="connsiteX1048" fmla="*/ 23762582 w 24377650"/>
              <a:gd name="connsiteY1048" fmla="*/ 2706136 h 8304597"/>
              <a:gd name="connsiteX1049" fmla="*/ 23647006 w 24377650"/>
              <a:gd name="connsiteY1049" fmla="*/ 2667615 h 8304597"/>
              <a:gd name="connsiteX1050" fmla="*/ 1219311 w 24377650"/>
              <a:gd name="connsiteY1050" fmla="*/ 2651364 h 8304597"/>
              <a:gd name="connsiteX1051" fmla="*/ 1237947 w 24377650"/>
              <a:gd name="connsiteY1051" fmla="*/ 2667615 h 8304597"/>
              <a:gd name="connsiteX1052" fmla="*/ 1162501 w 24377650"/>
              <a:gd name="connsiteY1052" fmla="*/ 2667615 h 8304597"/>
              <a:gd name="connsiteX1053" fmla="*/ 1162501 w 24377650"/>
              <a:gd name="connsiteY1053" fmla="*/ 2706136 h 8304597"/>
              <a:gd name="connsiteX1054" fmla="*/ 1085449 w 24377650"/>
              <a:gd name="connsiteY1054" fmla="*/ 2667615 h 8304597"/>
              <a:gd name="connsiteX1055" fmla="*/ 1219311 w 24377650"/>
              <a:gd name="connsiteY1055" fmla="*/ 2651364 h 8304597"/>
              <a:gd name="connsiteX1056" fmla="*/ 4286718 w 24377650"/>
              <a:gd name="connsiteY1056" fmla="*/ 2633758 h 8304597"/>
              <a:gd name="connsiteX1057" fmla="*/ 4172314 w 24377650"/>
              <a:gd name="connsiteY1057" fmla="*/ 2667615 h 8304597"/>
              <a:gd name="connsiteX1058" fmla="*/ 4324811 w 24377650"/>
              <a:gd name="connsiteY1058" fmla="*/ 2667615 h 8304597"/>
              <a:gd name="connsiteX1059" fmla="*/ 4286718 w 24377650"/>
              <a:gd name="connsiteY1059" fmla="*/ 2633758 h 8304597"/>
              <a:gd name="connsiteX1060" fmla="*/ 21398074 w 24377650"/>
              <a:gd name="connsiteY1060" fmla="*/ 2629093 h 8304597"/>
              <a:gd name="connsiteX1061" fmla="*/ 21285706 w 24377650"/>
              <a:gd name="connsiteY1061" fmla="*/ 2667615 h 8304597"/>
              <a:gd name="connsiteX1062" fmla="*/ 21398074 w 24377650"/>
              <a:gd name="connsiteY1062" fmla="*/ 2629093 h 8304597"/>
              <a:gd name="connsiteX1063" fmla="*/ 4249365 w 24377650"/>
              <a:gd name="connsiteY1063" fmla="*/ 2629093 h 8304597"/>
              <a:gd name="connsiteX1064" fmla="*/ 3981290 w 24377650"/>
              <a:gd name="connsiteY1064" fmla="*/ 2667615 h 8304597"/>
              <a:gd name="connsiteX1065" fmla="*/ 4133788 w 24377650"/>
              <a:gd name="connsiteY1065" fmla="*/ 2667615 h 8304597"/>
              <a:gd name="connsiteX1066" fmla="*/ 4249365 w 24377650"/>
              <a:gd name="connsiteY1066" fmla="*/ 2629093 h 8304597"/>
              <a:gd name="connsiteX1067" fmla="*/ 22999294 w 24377650"/>
              <a:gd name="connsiteY1067" fmla="*/ 2600202 h 8304597"/>
              <a:gd name="connsiteX1068" fmla="*/ 22961570 w 24377650"/>
              <a:gd name="connsiteY1068" fmla="*/ 2629093 h 8304597"/>
              <a:gd name="connsiteX1069" fmla="*/ 23037016 w 24377650"/>
              <a:gd name="connsiteY1069" fmla="*/ 2629093 h 8304597"/>
              <a:gd name="connsiteX1070" fmla="*/ 22999294 w 24377650"/>
              <a:gd name="connsiteY1070" fmla="*/ 2600202 h 8304597"/>
              <a:gd name="connsiteX1071" fmla="*/ 23380536 w 24377650"/>
              <a:gd name="connsiteY1071" fmla="*/ 2590572 h 8304597"/>
              <a:gd name="connsiteX1072" fmla="*/ 23457588 w 24377650"/>
              <a:gd name="connsiteY1072" fmla="*/ 2590572 h 8304597"/>
              <a:gd name="connsiteX1073" fmla="*/ 23388988 w 24377650"/>
              <a:gd name="connsiteY1073" fmla="*/ 2596591 h 8304597"/>
              <a:gd name="connsiteX1074" fmla="*/ 23382648 w 24377650"/>
              <a:gd name="connsiteY1074" fmla="*/ 2598385 h 8304597"/>
              <a:gd name="connsiteX1075" fmla="*/ 22990060 w 24377650"/>
              <a:gd name="connsiteY1075" fmla="*/ 2574349 h 8304597"/>
              <a:gd name="connsiteX1076" fmla="*/ 22980230 w 24377650"/>
              <a:gd name="connsiteY1076" fmla="*/ 2576728 h 8304597"/>
              <a:gd name="connsiteX1077" fmla="*/ 22972490 w 24377650"/>
              <a:gd name="connsiteY1077" fmla="*/ 2578602 h 8304597"/>
              <a:gd name="connsiteX1078" fmla="*/ 22966828 w 24377650"/>
              <a:gd name="connsiteY1078" fmla="*/ 2579973 h 8304597"/>
              <a:gd name="connsiteX1079" fmla="*/ 22923044 w 24377650"/>
              <a:gd name="connsiteY1079" fmla="*/ 2590572 h 8304597"/>
              <a:gd name="connsiteX1080" fmla="*/ 22944490 w 24377650"/>
              <a:gd name="connsiteY1080" fmla="*/ 2585380 h 8304597"/>
              <a:gd name="connsiteX1081" fmla="*/ 22972490 w 24377650"/>
              <a:gd name="connsiteY1081" fmla="*/ 2578602 h 8304597"/>
              <a:gd name="connsiteX1082" fmla="*/ 22987380 w 24377650"/>
              <a:gd name="connsiteY1082" fmla="*/ 2574998 h 8304597"/>
              <a:gd name="connsiteX1083" fmla="*/ 22990060 w 24377650"/>
              <a:gd name="connsiteY1083" fmla="*/ 2574349 h 8304597"/>
              <a:gd name="connsiteX1084" fmla="*/ 22465554 w 24377650"/>
              <a:gd name="connsiteY1084" fmla="*/ 2553655 h 8304597"/>
              <a:gd name="connsiteX1085" fmla="*/ 22468260 w 24377650"/>
              <a:gd name="connsiteY1085" fmla="*/ 2556897 h 8304597"/>
              <a:gd name="connsiteX1086" fmla="*/ 22465554 w 24377650"/>
              <a:gd name="connsiteY1086" fmla="*/ 2558219 h 8304597"/>
              <a:gd name="connsiteX1087" fmla="*/ 22160558 w 24377650"/>
              <a:gd name="connsiteY1087" fmla="*/ 2553655 h 8304597"/>
              <a:gd name="connsiteX1088" fmla="*/ 22123638 w 24377650"/>
              <a:gd name="connsiteY1088" fmla="*/ 2590572 h 8304597"/>
              <a:gd name="connsiteX1089" fmla="*/ 22123638 w 24377650"/>
              <a:gd name="connsiteY1089" fmla="*/ 2629093 h 8304597"/>
              <a:gd name="connsiteX1090" fmla="*/ 22160558 w 24377650"/>
              <a:gd name="connsiteY1090" fmla="*/ 2553655 h 8304597"/>
              <a:gd name="connsiteX1091" fmla="*/ 1956891 w 24377650"/>
              <a:gd name="connsiteY1091" fmla="*/ 2505503 h 8304597"/>
              <a:gd name="connsiteX1092" fmla="*/ 1884855 w 24377650"/>
              <a:gd name="connsiteY1092" fmla="*/ 2553655 h 8304597"/>
              <a:gd name="connsiteX1093" fmla="*/ 2037353 w 24377650"/>
              <a:gd name="connsiteY1093" fmla="*/ 2553655 h 8304597"/>
              <a:gd name="connsiteX1094" fmla="*/ 2114404 w 24377650"/>
              <a:gd name="connsiteY1094" fmla="*/ 2515134 h 8304597"/>
              <a:gd name="connsiteX1095" fmla="*/ 1956891 w 24377650"/>
              <a:gd name="connsiteY1095" fmla="*/ 2505503 h 8304597"/>
              <a:gd name="connsiteX1096" fmla="*/ 23107446 w 24377650"/>
              <a:gd name="connsiteY1096" fmla="*/ 2466380 h 8304597"/>
              <a:gd name="connsiteX1097" fmla="*/ 23152594 w 24377650"/>
              <a:gd name="connsiteY1097" fmla="*/ 2476612 h 8304597"/>
              <a:gd name="connsiteX1098" fmla="*/ 23114068 w 24377650"/>
              <a:gd name="connsiteY1098" fmla="*/ 2476612 h 8304597"/>
              <a:gd name="connsiteX1099" fmla="*/ 23228040 w 24377650"/>
              <a:gd name="connsiteY1099" fmla="*/ 2515134 h 8304597"/>
              <a:gd name="connsiteX1100" fmla="*/ 23075542 w 24377650"/>
              <a:gd name="connsiteY1100" fmla="*/ 2590572 h 8304597"/>
              <a:gd name="connsiteX1101" fmla="*/ 23075542 w 24377650"/>
              <a:gd name="connsiteY1101" fmla="*/ 2515134 h 8304597"/>
              <a:gd name="connsiteX1102" fmla="*/ 23037016 w 24377650"/>
              <a:gd name="connsiteY1102" fmla="*/ 2515134 h 8304597"/>
              <a:gd name="connsiteX1103" fmla="*/ 23107446 w 24377650"/>
              <a:gd name="connsiteY1103" fmla="*/ 2466380 h 8304597"/>
              <a:gd name="connsiteX1104" fmla="*/ 2037353 w 24377650"/>
              <a:gd name="connsiteY1104" fmla="*/ 2438091 h 8304597"/>
              <a:gd name="connsiteX1105" fmla="*/ 1961907 w 24377650"/>
              <a:gd name="connsiteY1105" fmla="*/ 2476612 h 8304597"/>
              <a:gd name="connsiteX1106" fmla="*/ 1847935 w 24377650"/>
              <a:gd name="connsiteY1106" fmla="*/ 2476612 h 8304597"/>
              <a:gd name="connsiteX1107" fmla="*/ 1961907 w 24377650"/>
              <a:gd name="connsiteY1107" fmla="*/ 2476612 h 8304597"/>
              <a:gd name="connsiteX1108" fmla="*/ 2037353 w 24377650"/>
              <a:gd name="connsiteY1108" fmla="*/ 2438091 h 8304597"/>
              <a:gd name="connsiteX1109" fmla="*/ 1720144 w 24377650"/>
              <a:gd name="connsiteY1109" fmla="*/ 2346401 h 8304597"/>
              <a:gd name="connsiteX1110" fmla="*/ 1542941 w 24377650"/>
              <a:gd name="connsiteY1110" fmla="*/ 2362653 h 8304597"/>
              <a:gd name="connsiteX1111" fmla="*/ 1732358 w 24377650"/>
              <a:gd name="connsiteY1111" fmla="*/ 2399569 h 8304597"/>
              <a:gd name="connsiteX1112" fmla="*/ 1772489 w 24377650"/>
              <a:gd name="connsiteY1112" fmla="*/ 2362653 h 8304597"/>
              <a:gd name="connsiteX1113" fmla="*/ 1720144 w 24377650"/>
              <a:gd name="connsiteY1113" fmla="*/ 2346401 h 8304597"/>
              <a:gd name="connsiteX1114" fmla="*/ 2342347 w 24377650"/>
              <a:gd name="connsiteY1114" fmla="*/ 2324131 h 8304597"/>
              <a:gd name="connsiteX1115" fmla="*/ 2305426 w 24377650"/>
              <a:gd name="connsiteY1115" fmla="*/ 2399569 h 8304597"/>
              <a:gd name="connsiteX1116" fmla="*/ 2229981 w 24377650"/>
              <a:gd name="connsiteY1116" fmla="*/ 2399569 h 8304597"/>
              <a:gd name="connsiteX1117" fmla="*/ 2305426 w 24377650"/>
              <a:gd name="connsiteY1117" fmla="*/ 2362653 h 8304597"/>
              <a:gd name="connsiteX1118" fmla="*/ 2342347 w 24377650"/>
              <a:gd name="connsiteY1118" fmla="*/ 2324131 h 8304597"/>
              <a:gd name="connsiteX1119" fmla="*/ 2152929 w 24377650"/>
              <a:gd name="connsiteY1119" fmla="*/ 2324131 h 8304597"/>
              <a:gd name="connsiteX1120" fmla="*/ 2152929 w 24377650"/>
              <a:gd name="connsiteY1120" fmla="*/ 2362653 h 8304597"/>
              <a:gd name="connsiteX1121" fmla="*/ 2114404 w 24377650"/>
              <a:gd name="connsiteY1121" fmla="*/ 2362653 h 8304597"/>
              <a:gd name="connsiteX1122" fmla="*/ 2152929 w 24377650"/>
              <a:gd name="connsiteY1122" fmla="*/ 2324131 h 8304597"/>
              <a:gd name="connsiteX1123" fmla="*/ 21484756 w 24377650"/>
              <a:gd name="connsiteY1123" fmla="*/ 2307880 h 8304597"/>
              <a:gd name="connsiteX1124" fmla="*/ 21475124 w 24377650"/>
              <a:gd name="connsiteY1124" fmla="*/ 2324131 h 8304597"/>
              <a:gd name="connsiteX1125" fmla="*/ 21405372 w 24377650"/>
              <a:gd name="connsiteY1125" fmla="*/ 2324131 h 8304597"/>
              <a:gd name="connsiteX1126" fmla="*/ 21398074 w 24377650"/>
              <a:gd name="connsiteY1126" fmla="*/ 2324131 h 8304597"/>
              <a:gd name="connsiteX1127" fmla="*/ 21484756 w 24377650"/>
              <a:gd name="connsiteY1127" fmla="*/ 2307880 h 8304597"/>
              <a:gd name="connsiteX1128" fmla="*/ 21688832 w 24377650"/>
              <a:gd name="connsiteY1128" fmla="*/ 2282416 h 8304597"/>
              <a:gd name="connsiteX1129" fmla="*/ 21741594 w 24377650"/>
              <a:gd name="connsiteY1129" fmla="*/ 2285609 h 8304597"/>
              <a:gd name="connsiteX1130" fmla="*/ 21742676 w 24377650"/>
              <a:gd name="connsiteY1130" fmla="*/ 2300513 h 8304597"/>
              <a:gd name="connsiteX1131" fmla="*/ 21741594 w 24377650"/>
              <a:gd name="connsiteY1131" fmla="*/ 2300256 h 8304597"/>
              <a:gd name="connsiteX1132" fmla="*/ 21932616 w 24377650"/>
              <a:gd name="connsiteY1132" fmla="*/ 2248693 h 8304597"/>
              <a:gd name="connsiteX1133" fmla="*/ 22008062 w 24377650"/>
              <a:gd name="connsiteY1133" fmla="*/ 2285609 h 8304597"/>
              <a:gd name="connsiteX1134" fmla="*/ 22008062 w 24377650"/>
              <a:gd name="connsiteY1134" fmla="*/ 2248693 h 8304597"/>
              <a:gd name="connsiteX1135" fmla="*/ 21932616 w 24377650"/>
              <a:gd name="connsiteY1135" fmla="*/ 2248693 h 8304597"/>
              <a:gd name="connsiteX1136" fmla="*/ 21589096 w 24377650"/>
              <a:gd name="connsiteY1136" fmla="*/ 2248693 h 8304597"/>
              <a:gd name="connsiteX1137" fmla="*/ 21688832 w 24377650"/>
              <a:gd name="connsiteY1137" fmla="*/ 2282416 h 8304597"/>
              <a:gd name="connsiteX1138" fmla="*/ 21665346 w 24377650"/>
              <a:gd name="connsiteY1138" fmla="*/ 2280995 h 8304597"/>
              <a:gd name="connsiteX1139" fmla="*/ 21589096 w 24377650"/>
              <a:gd name="connsiteY1139" fmla="*/ 2248693 h 8304597"/>
              <a:gd name="connsiteX1140" fmla="*/ 1579861 w 24377650"/>
              <a:gd name="connsiteY1140" fmla="*/ 2248693 h 8304597"/>
              <a:gd name="connsiteX1141" fmla="*/ 1619992 w 24377650"/>
              <a:gd name="connsiteY1141" fmla="*/ 2324131 h 8304597"/>
              <a:gd name="connsiteX1142" fmla="*/ 1732358 w 24377650"/>
              <a:gd name="connsiteY1142" fmla="*/ 2324131 h 8304597"/>
              <a:gd name="connsiteX1143" fmla="*/ 1772489 w 24377650"/>
              <a:gd name="connsiteY1143" fmla="*/ 2285609 h 8304597"/>
              <a:gd name="connsiteX1144" fmla="*/ 1961907 w 24377650"/>
              <a:gd name="connsiteY1144" fmla="*/ 2324131 h 8304597"/>
              <a:gd name="connsiteX1145" fmla="*/ 1884855 w 24377650"/>
              <a:gd name="connsiteY1145" fmla="*/ 2324131 h 8304597"/>
              <a:gd name="connsiteX1146" fmla="*/ 2077483 w 24377650"/>
              <a:gd name="connsiteY1146" fmla="*/ 2324131 h 8304597"/>
              <a:gd name="connsiteX1147" fmla="*/ 2000433 w 24377650"/>
              <a:gd name="connsiteY1147" fmla="*/ 2362653 h 8304597"/>
              <a:gd name="connsiteX1148" fmla="*/ 2114404 w 24377650"/>
              <a:gd name="connsiteY1148" fmla="*/ 2399569 h 8304597"/>
              <a:gd name="connsiteX1149" fmla="*/ 2152929 w 24377650"/>
              <a:gd name="connsiteY1149" fmla="*/ 2362653 h 8304597"/>
              <a:gd name="connsiteX1150" fmla="*/ 2189850 w 24377650"/>
              <a:gd name="connsiteY1150" fmla="*/ 2438091 h 8304597"/>
              <a:gd name="connsiteX1151" fmla="*/ 2114404 w 24377650"/>
              <a:gd name="connsiteY1151" fmla="*/ 2438091 h 8304597"/>
              <a:gd name="connsiteX1152" fmla="*/ 2077483 w 24377650"/>
              <a:gd name="connsiteY1152" fmla="*/ 2476612 h 8304597"/>
              <a:gd name="connsiteX1153" fmla="*/ 2189850 w 24377650"/>
              <a:gd name="connsiteY1153" fmla="*/ 2515134 h 8304597"/>
              <a:gd name="connsiteX1154" fmla="*/ 2189850 w 24377650"/>
              <a:gd name="connsiteY1154" fmla="*/ 2590572 h 8304597"/>
              <a:gd name="connsiteX1155" fmla="*/ 2266901 w 24377650"/>
              <a:gd name="connsiteY1155" fmla="*/ 2590572 h 8304597"/>
              <a:gd name="connsiteX1156" fmla="*/ 2382478 w 24377650"/>
              <a:gd name="connsiteY1156" fmla="*/ 2553655 h 8304597"/>
              <a:gd name="connsiteX1157" fmla="*/ 2534975 w 24377650"/>
              <a:gd name="connsiteY1157" fmla="*/ 2590572 h 8304597"/>
              <a:gd name="connsiteX1158" fmla="*/ 2494844 w 24377650"/>
              <a:gd name="connsiteY1158" fmla="*/ 2553655 h 8304597"/>
              <a:gd name="connsiteX1159" fmla="*/ 2571895 w 24377650"/>
              <a:gd name="connsiteY1159" fmla="*/ 2629093 h 8304597"/>
              <a:gd name="connsiteX1160" fmla="*/ 2419399 w 24377650"/>
              <a:gd name="connsiteY1160" fmla="*/ 2629093 h 8304597"/>
              <a:gd name="connsiteX1161" fmla="*/ 2457924 w 24377650"/>
              <a:gd name="connsiteY1161" fmla="*/ 2667615 h 8304597"/>
              <a:gd name="connsiteX1162" fmla="*/ 2382478 w 24377650"/>
              <a:gd name="connsiteY1162" fmla="*/ 2706136 h 8304597"/>
              <a:gd name="connsiteX1163" fmla="*/ 2419399 w 24377650"/>
              <a:gd name="connsiteY1163" fmla="*/ 2667615 h 8304597"/>
              <a:gd name="connsiteX1164" fmla="*/ 2305426 w 24377650"/>
              <a:gd name="connsiteY1164" fmla="*/ 2706136 h 8304597"/>
              <a:gd name="connsiteX1165" fmla="*/ 2266901 w 24377650"/>
              <a:gd name="connsiteY1165" fmla="*/ 2667615 h 8304597"/>
              <a:gd name="connsiteX1166" fmla="*/ 2077483 w 24377650"/>
              <a:gd name="connsiteY1166" fmla="*/ 2667615 h 8304597"/>
              <a:gd name="connsiteX1167" fmla="*/ 1695438 w 24377650"/>
              <a:gd name="connsiteY1167" fmla="*/ 2706136 h 8304597"/>
              <a:gd name="connsiteX1168" fmla="*/ 1314997 w 24377650"/>
              <a:gd name="connsiteY1168" fmla="*/ 2667615 h 8304597"/>
              <a:gd name="connsiteX1169" fmla="*/ 1320766 w 24377650"/>
              <a:gd name="connsiteY1169" fmla="*/ 2689885 h 8304597"/>
              <a:gd name="connsiteX1170" fmla="*/ 1322091 w 24377650"/>
              <a:gd name="connsiteY1170" fmla="*/ 2691079 h 8304597"/>
              <a:gd name="connsiteX1171" fmla="*/ 1318534 w 24377650"/>
              <a:gd name="connsiteY1171" fmla="*/ 2689283 h 8304597"/>
              <a:gd name="connsiteX1172" fmla="*/ 1237947 w 24377650"/>
              <a:gd name="connsiteY1172" fmla="*/ 2667615 h 8304597"/>
              <a:gd name="connsiteX1173" fmla="*/ 1427364 w 24377650"/>
              <a:gd name="connsiteY1173" fmla="*/ 2629093 h 8304597"/>
              <a:gd name="connsiteX1174" fmla="*/ 1467495 w 24377650"/>
              <a:gd name="connsiteY1174" fmla="*/ 2667615 h 8304597"/>
              <a:gd name="connsiteX1175" fmla="*/ 1809410 w 24377650"/>
              <a:gd name="connsiteY1175" fmla="*/ 2590572 h 8304597"/>
              <a:gd name="connsiteX1176" fmla="*/ 1542941 w 24377650"/>
              <a:gd name="connsiteY1176" fmla="*/ 2590572 h 8304597"/>
              <a:gd name="connsiteX1177" fmla="*/ 1732358 w 24377650"/>
              <a:gd name="connsiteY1177" fmla="*/ 2553655 h 8304597"/>
              <a:gd name="connsiteX1178" fmla="*/ 1656913 w 24377650"/>
              <a:gd name="connsiteY1178" fmla="*/ 2515134 h 8304597"/>
              <a:gd name="connsiteX1179" fmla="*/ 1542941 w 24377650"/>
              <a:gd name="connsiteY1179" fmla="*/ 2515134 h 8304597"/>
              <a:gd name="connsiteX1180" fmla="*/ 1619992 w 24377650"/>
              <a:gd name="connsiteY1180" fmla="*/ 2399569 h 8304597"/>
              <a:gd name="connsiteX1181" fmla="*/ 1579861 w 24377650"/>
              <a:gd name="connsiteY1181" fmla="*/ 2476612 h 8304597"/>
              <a:gd name="connsiteX1182" fmla="*/ 1542941 w 24377650"/>
              <a:gd name="connsiteY1182" fmla="*/ 2438091 h 8304597"/>
              <a:gd name="connsiteX1183" fmla="*/ 1427364 w 24377650"/>
              <a:gd name="connsiteY1183" fmla="*/ 2438091 h 8304597"/>
              <a:gd name="connsiteX1184" fmla="*/ 1390444 w 24377650"/>
              <a:gd name="connsiteY1184" fmla="*/ 2362653 h 8304597"/>
              <a:gd name="connsiteX1185" fmla="*/ 1504415 w 24377650"/>
              <a:gd name="connsiteY1185" fmla="*/ 2399569 h 8304597"/>
              <a:gd name="connsiteX1186" fmla="*/ 1504415 w 24377650"/>
              <a:gd name="connsiteY1186" fmla="*/ 2362653 h 8304597"/>
              <a:gd name="connsiteX1187" fmla="*/ 1427364 w 24377650"/>
              <a:gd name="connsiteY1187" fmla="*/ 2324131 h 8304597"/>
              <a:gd name="connsiteX1188" fmla="*/ 1542941 w 24377650"/>
              <a:gd name="connsiteY1188" fmla="*/ 2324131 h 8304597"/>
              <a:gd name="connsiteX1189" fmla="*/ 1504415 w 24377650"/>
              <a:gd name="connsiteY1189" fmla="*/ 2285609 h 8304597"/>
              <a:gd name="connsiteX1190" fmla="*/ 1579861 w 24377650"/>
              <a:gd name="connsiteY1190" fmla="*/ 2248693 h 8304597"/>
              <a:gd name="connsiteX1191" fmla="*/ 21398074 w 24377650"/>
              <a:gd name="connsiteY1191" fmla="*/ 2134734 h 8304597"/>
              <a:gd name="connsiteX1192" fmla="*/ 21322628 w 24377650"/>
              <a:gd name="connsiteY1192" fmla="*/ 2171650 h 8304597"/>
              <a:gd name="connsiteX1193" fmla="*/ 21475124 w 24377650"/>
              <a:gd name="connsiteY1193" fmla="*/ 2248693 h 8304597"/>
              <a:gd name="connsiteX1194" fmla="*/ 21398074 w 24377650"/>
              <a:gd name="connsiteY1194" fmla="*/ 2248693 h 8304597"/>
              <a:gd name="connsiteX1195" fmla="*/ 21398074 w 24377650"/>
              <a:gd name="connsiteY1195" fmla="*/ 2324131 h 8304597"/>
              <a:gd name="connsiteX1196" fmla="*/ 21361152 w 24377650"/>
              <a:gd name="connsiteY1196" fmla="*/ 2324131 h 8304597"/>
              <a:gd name="connsiteX1197" fmla="*/ 21285706 w 24377650"/>
              <a:gd name="connsiteY1197" fmla="*/ 2399569 h 8304597"/>
              <a:gd name="connsiteX1198" fmla="*/ 21361152 w 24377650"/>
              <a:gd name="connsiteY1198" fmla="*/ 2399569 h 8304597"/>
              <a:gd name="connsiteX1199" fmla="*/ 21322628 w 24377650"/>
              <a:gd name="connsiteY1199" fmla="*/ 2438091 h 8304597"/>
              <a:gd name="connsiteX1200" fmla="*/ 21398074 w 24377650"/>
              <a:gd name="connsiteY1200" fmla="*/ 2438091 h 8304597"/>
              <a:gd name="connsiteX1201" fmla="*/ 21436598 w 24377650"/>
              <a:gd name="connsiteY1201" fmla="*/ 2476612 h 8304597"/>
              <a:gd name="connsiteX1202" fmla="*/ 21361152 w 24377650"/>
              <a:gd name="connsiteY1202" fmla="*/ 2476612 h 8304597"/>
              <a:gd name="connsiteX1203" fmla="*/ 21245576 w 24377650"/>
              <a:gd name="connsiteY1203" fmla="*/ 2438091 h 8304597"/>
              <a:gd name="connsiteX1204" fmla="*/ 21285706 w 24377650"/>
              <a:gd name="connsiteY1204" fmla="*/ 2515134 h 8304597"/>
              <a:gd name="connsiteX1205" fmla="*/ 21436598 w 24377650"/>
              <a:gd name="connsiteY1205" fmla="*/ 2515134 h 8304597"/>
              <a:gd name="connsiteX1206" fmla="*/ 21436598 w 24377650"/>
              <a:gd name="connsiteY1206" fmla="*/ 2553655 h 8304597"/>
              <a:gd name="connsiteX1207" fmla="*/ 21689198 w 24377650"/>
              <a:gd name="connsiteY1207" fmla="*/ 2574421 h 8304597"/>
              <a:gd name="connsiteX1208" fmla="*/ 21793776 w 24377650"/>
              <a:gd name="connsiteY1208" fmla="*/ 2587469 h 8304597"/>
              <a:gd name="connsiteX1209" fmla="*/ 21780118 w 24377650"/>
              <a:gd name="connsiteY1209" fmla="*/ 2590572 h 8304597"/>
              <a:gd name="connsiteX1210" fmla="*/ 21818644 w 24377650"/>
              <a:gd name="connsiteY1210" fmla="*/ 2590572 h 8304597"/>
              <a:gd name="connsiteX1211" fmla="*/ 21793776 w 24377650"/>
              <a:gd name="connsiteY1211" fmla="*/ 2587469 h 8304597"/>
              <a:gd name="connsiteX1212" fmla="*/ 21808160 w 24377650"/>
              <a:gd name="connsiteY1212" fmla="*/ 2584202 h 8304597"/>
              <a:gd name="connsiteX1213" fmla="*/ 21855564 w 24377650"/>
              <a:gd name="connsiteY1213" fmla="*/ 2515134 h 8304597"/>
              <a:gd name="connsiteX1214" fmla="*/ 21780118 w 24377650"/>
              <a:gd name="connsiteY1214" fmla="*/ 2515134 h 8304597"/>
              <a:gd name="connsiteX1215" fmla="*/ 21550570 w 24377650"/>
              <a:gd name="connsiteY1215" fmla="*/ 2515134 h 8304597"/>
              <a:gd name="connsiteX1216" fmla="*/ 21780118 w 24377650"/>
              <a:gd name="connsiteY1216" fmla="*/ 2438091 h 8304597"/>
              <a:gd name="connsiteX1217" fmla="*/ 21818644 w 24377650"/>
              <a:gd name="connsiteY1217" fmla="*/ 2515134 h 8304597"/>
              <a:gd name="connsiteX1218" fmla="*/ 21971142 w 24377650"/>
              <a:gd name="connsiteY1218" fmla="*/ 2438091 h 8304597"/>
              <a:gd name="connsiteX1219" fmla="*/ 21855564 w 24377650"/>
              <a:gd name="connsiteY1219" fmla="*/ 2476612 h 8304597"/>
              <a:gd name="connsiteX1220" fmla="*/ 21894090 w 24377650"/>
              <a:gd name="connsiteY1220" fmla="*/ 2399569 h 8304597"/>
              <a:gd name="connsiteX1221" fmla="*/ 21589096 w 24377650"/>
              <a:gd name="connsiteY1221" fmla="*/ 2399569 h 8304597"/>
              <a:gd name="connsiteX1222" fmla="*/ 21818644 w 24377650"/>
              <a:gd name="connsiteY1222" fmla="*/ 2362653 h 8304597"/>
              <a:gd name="connsiteX1223" fmla="*/ 21743324 w 24377650"/>
              <a:gd name="connsiteY1223" fmla="*/ 2309460 h 8304597"/>
              <a:gd name="connsiteX1224" fmla="*/ 21742676 w 24377650"/>
              <a:gd name="connsiteY1224" fmla="*/ 2300513 h 8304597"/>
              <a:gd name="connsiteX1225" fmla="*/ 21814380 w 24377650"/>
              <a:gd name="connsiteY1225" fmla="*/ 2317535 h 8304597"/>
              <a:gd name="connsiteX1226" fmla="*/ 21894090 w 24377650"/>
              <a:gd name="connsiteY1226" fmla="*/ 2324131 h 8304597"/>
              <a:gd name="connsiteX1227" fmla="*/ 21855564 w 24377650"/>
              <a:gd name="connsiteY1227" fmla="*/ 2210172 h 8304597"/>
              <a:gd name="connsiteX1228" fmla="*/ 21818644 w 24377650"/>
              <a:gd name="connsiteY1228" fmla="*/ 2248693 h 8304597"/>
              <a:gd name="connsiteX1229" fmla="*/ 21550570 w 24377650"/>
              <a:gd name="connsiteY1229" fmla="*/ 2248693 h 8304597"/>
              <a:gd name="connsiteX1230" fmla="*/ 21560272 w 24377650"/>
              <a:gd name="connsiteY1230" fmla="*/ 2238992 h 8304597"/>
              <a:gd name="connsiteX1231" fmla="*/ 21565018 w 24377650"/>
              <a:gd name="connsiteY1231" fmla="*/ 2234248 h 8304597"/>
              <a:gd name="connsiteX1232" fmla="*/ 21566824 w 24377650"/>
              <a:gd name="connsiteY1232" fmla="*/ 2232442 h 8304597"/>
              <a:gd name="connsiteX1233" fmla="*/ 21560272 w 24377650"/>
              <a:gd name="connsiteY1233" fmla="*/ 2238992 h 8304597"/>
              <a:gd name="connsiteX1234" fmla="*/ 21555988 w 24377650"/>
              <a:gd name="connsiteY1234" fmla="*/ 2243276 h 8304597"/>
              <a:gd name="connsiteX1235" fmla="*/ 21550570 w 24377650"/>
              <a:gd name="connsiteY1235" fmla="*/ 2248693 h 8304597"/>
              <a:gd name="connsiteX1236" fmla="*/ 21489370 w 24377650"/>
              <a:gd name="connsiteY1236" fmla="*/ 2248693 h 8304597"/>
              <a:gd name="connsiteX1237" fmla="*/ 21475124 w 24377650"/>
              <a:gd name="connsiteY1237" fmla="*/ 2248693 h 8304597"/>
              <a:gd name="connsiteX1238" fmla="*/ 21627622 w 24377650"/>
              <a:gd name="connsiteY1238" fmla="*/ 2210172 h 8304597"/>
              <a:gd name="connsiteX1239" fmla="*/ 21513650 w 24377650"/>
              <a:gd name="connsiteY1239" fmla="*/ 2134734 h 8304597"/>
              <a:gd name="connsiteX1240" fmla="*/ 21398074 w 24377650"/>
              <a:gd name="connsiteY1240" fmla="*/ 2134734 h 8304597"/>
              <a:gd name="connsiteX1241" fmla="*/ 21703068 w 24377650"/>
              <a:gd name="connsiteY1241" fmla="*/ 2057691 h 8304597"/>
              <a:gd name="connsiteX1242" fmla="*/ 21550570 w 24377650"/>
              <a:gd name="connsiteY1242" fmla="*/ 2134734 h 8304597"/>
              <a:gd name="connsiteX1243" fmla="*/ 21855564 w 24377650"/>
              <a:gd name="connsiteY1243" fmla="*/ 2134734 h 8304597"/>
              <a:gd name="connsiteX1244" fmla="*/ 21666148 w 24377650"/>
              <a:gd name="connsiteY1244" fmla="*/ 2210172 h 8304597"/>
              <a:gd name="connsiteX1245" fmla="*/ 21932616 w 24377650"/>
              <a:gd name="connsiteY1245" fmla="*/ 2171650 h 8304597"/>
              <a:gd name="connsiteX1246" fmla="*/ 21894090 w 24377650"/>
              <a:gd name="connsiteY1246" fmla="*/ 2210172 h 8304597"/>
              <a:gd name="connsiteX1247" fmla="*/ 22008062 w 24377650"/>
              <a:gd name="connsiteY1247" fmla="*/ 2210172 h 8304597"/>
              <a:gd name="connsiteX1248" fmla="*/ 22046588 w 24377650"/>
              <a:gd name="connsiteY1248" fmla="*/ 2134734 h 8304597"/>
              <a:gd name="connsiteX1249" fmla="*/ 21855564 w 24377650"/>
              <a:gd name="connsiteY1249" fmla="*/ 2096212 h 8304597"/>
              <a:gd name="connsiteX1250" fmla="*/ 21932616 w 24377650"/>
              <a:gd name="connsiteY1250" fmla="*/ 2096212 h 8304597"/>
              <a:gd name="connsiteX1251" fmla="*/ 21891934 w 24377650"/>
              <a:gd name="connsiteY1251" fmla="*/ 2096212 h 8304597"/>
              <a:gd name="connsiteX1252" fmla="*/ 21855564 w 24377650"/>
              <a:gd name="connsiteY1252" fmla="*/ 2096212 h 8304597"/>
              <a:gd name="connsiteX1253" fmla="*/ 21837104 w 24377650"/>
              <a:gd name="connsiteY1253" fmla="*/ 2096212 h 8304597"/>
              <a:gd name="connsiteX1254" fmla="*/ 21741594 w 24377650"/>
              <a:gd name="connsiteY1254" fmla="*/ 2096212 h 8304597"/>
              <a:gd name="connsiteX1255" fmla="*/ 21703068 w 24377650"/>
              <a:gd name="connsiteY1255" fmla="*/ 2057691 h 8304597"/>
              <a:gd name="connsiteX1256" fmla="*/ 2114404 w 24377650"/>
              <a:gd name="connsiteY1256" fmla="*/ 1905210 h 8304597"/>
              <a:gd name="connsiteX1257" fmla="*/ 2037353 w 24377650"/>
              <a:gd name="connsiteY1257" fmla="*/ 1943731 h 8304597"/>
              <a:gd name="connsiteX1258" fmla="*/ 2000433 w 24377650"/>
              <a:gd name="connsiteY1258" fmla="*/ 1982253 h 8304597"/>
              <a:gd name="connsiteX1259" fmla="*/ 2077483 w 24377650"/>
              <a:gd name="connsiteY1259" fmla="*/ 1982253 h 8304597"/>
              <a:gd name="connsiteX1260" fmla="*/ 2114404 w 24377650"/>
              <a:gd name="connsiteY1260" fmla="*/ 1943731 h 8304597"/>
              <a:gd name="connsiteX1261" fmla="*/ 2114404 w 24377650"/>
              <a:gd name="connsiteY1261" fmla="*/ 1905210 h 8304597"/>
              <a:gd name="connsiteX1262" fmla="*/ 22199084 w 24377650"/>
              <a:gd name="connsiteY1262" fmla="*/ 1876319 h 8304597"/>
              <a:gd name="connsiteX1263" fmla="*/ 22160558 w 24377650"/>
              <a:gd name="connsiteY1263" fmla="*/ 1905210 h 8304597"/>
              <a:gd name="connsiteX1264" fmla="*/ 22237610 w 24377650"/>
              <a:gd name="connsiteY1264" fmla="*/ 1905210 h 8304597"/>
              <a:gd name="connsiteX1265" fmla="*/ 22199084 w 24377650"/>
              <a:gd name="connsiteY1265" fmla="*/ 1876319 h 8304597"/>
              <a:gd name="connsiteX1266" fmla="*/ 1732358 w 24377650"/>
              <a:gd name="connsiteY1266" fmla="*/ 1866688 h 8304597"/>
              <a:gd name="connsiteX1267" fmla="*/ 1656913 w 24377650"/>
              <a:gd name="connsiteY1267" fmla="*/ 1905210 h 8304597"/>
              <a:gd name="connsiteX1268" fmla="*/ 1656913 w 24377650"/>
              <a:gd name="connsiteY1268" fmla="*/ 1943731 h 8304597"/>
              <a:gd name="connsiteX1269" fmla="*/ 1772489 w 24377650"/>
              <a:gd name="connsiteY1269" fmla="*/ 1943731 h 8304597"/>
              <a:gd name="connsiteX1270" fmla="*/ 1961907 w 24377650"/>
              <a:gd name="connsiteY1270" fmla="*/ 1943731 h 8304597"/>
              <a:gd name="connsiteX1271" fmla="*/ 1884855 w 24377650"/>
              <a:gd name="connsiteY1271" fmla="*/ 1943731 h 8304597"/>
              <a:gd name="connsiteX1272" fmla="*/ 2000433 w 24377650"/>
              <a:gd name="connsiteY1272" fmla="*/ 1905210 h 8304597"/>
              <a:gd name="connsiteX1273" fmla="*/ 1884855 w 24377650"/>
              <a:gd name="connsiteY1273" fmla="*/ 1905210 h 8304597"/>
              <a:gd name="connsiteX1274" fmla="*/ 1884855 w 24377650"/>
              <a:gd name="connsiteY1274" fmla="*/ 1866688 h 8304597"/>
              <a:gd name="connsiteX1275" fmla="*/ 1847935 w 24377650"/>
              <a:gd name="connsiteY1275" fmla="*/ 1866688 h 8304597"/>
              <a:gd name="connsiteX1276" fmla="*/ 1809410 w 24377650"/>
              <a:gd name="connsiteY1276" fmla="*/ 1905210 h 8304597"/>
              <a:gd name="connsiteX1277" fmla="*/ 1732358 w 24377650"/>
              <a:gd name="connsiteY1277" fmla="*/ 1866688 h 8304597"/>
              <a:gd name="connsiteX1278" fmla="*/ 1579861 w 24377650"/>
              <a:gd name="connsiteY1278" fmla="*/ 1866688 h 8304597"/>
              <a:gd name="connsiteX1279" fmla="*/ 1467495 w 24377650"/>
              <a:gd name="connsiteY1279" fmla="*/ 1943731 h 8304597"/>
              <a:gd name="connsiteX1280" fmla="*/ 1579861 w 24377650"/>
              <a:gd name="connsiteY1280" fmla="*/ 1943731 h 8304597"/>
              <a:gd name="connsiteX1281" fmla="*/ 1579861 w 24377650"/>
              <a:gd name="connsiteY1281" fmla="*/ 1866688 h 8304597"/>
              <a:gd name="connsiteX1282" fmla="*/ 22366030 w 24377650"/>
              <a:gd name="connsiteY1282" fmla="*/ 1839001 h 8304597"/>
              <a:gd name="connsiteX1283" fmla="*/ 22313056 w 24377650"/>
              <a:gd name="connsiteY1283" fmla="*/ 1866688 h 8304597"/>
              <a:gd name="connsiteX1284" fmla="*/ 22351582 w 24377650"/>
              <a:gd name="connsiteY1284" fmla="*/ 1905210 h 8304597"/>
              <a:gd name="connsiteX1285" fmla="*/ 22390108 w 24377650"/>
              <a:gd name="connsiteY1285" fmla="*/ 1866688 h 8304597"/>
              <a:gd name="connsiteX1286" fmla="*/ 22366030 w 24377650"/>
              <a:gd name="connsiteY1286" fmla="*/ 1839001 h 8304597"/>
              <a:gd name="connsiteX1287" fmla="*/ 1162501 w 24377650"/>
              <a:gd name="connsiteY1287" fmla="*/ 1829772 h 8304597"/>
              <a:gd name="connsiteX1288" fmla="*/ 1085449 w 24377650"/>
              <a:gd name="connsiteY1288" fmla="*/ 1866688 h 8304597"/>
              <a:gd name="connsiteX1289" fmla="*/ 1046923 w 24377650"/>
              <a:gd name="connsiteY1289" fmla="*/ 1866688 h 8304597"/>
              <a:gd name="connsiteX1290" fmla="*/ 1122370 w 24377650"/>
              <a:gd name="connsiteY1290" fmla="*/ 1866688 h 8304597"/>
              <a:gd name="connsiteX1291" fmla="*/ 1162501 w 24377650"/>
              <a:gd name="connsiteY1291" fmla="*/ 1829772 h 8304597"/>
              <a:gd name="connsiteX1292" fmla="*/ 2896780 w 24377650"/>
              <a:gd name="connsiteY1292" fmla="*/ 1774071 h 8304597"/>
              <a:gd name="connsiteX1293" fmla="*/ 2762918 w 24377650"/>
              <a:gd name="connsiteY1293" fmla="*/ 1789645 h 8304597"/>
              <a:gd name="connsiteX1294" fmla="*/ 2724392 w 24377650"/>
              <a:gd name="connsiteY1294" fmla="*/ 1866688 h 8304597"/>
              <a:gd name="connsiteX1295" fmla="*/ 2915416 w 24377650"/>
              <a:gd name="connsiteY1295" fmla="*/ 1789645 h 8304597"/>
              <a:gd name="connsiteX1296" fmla="*/ 2896780 w 24377650"/>
              <a:gd name="connsiteY1296" fmla="*/ 1774071 h 8304597"/>
              <a:gd name="connsiteX1297" fmla="*/ 21780118 w 24377650"/>
              <a:gd name="connsiteY1297" fmla="*/ 1752728 h 8304597"/>
              <a:gd name="connsiteX1298" fmla="*/ 21855564 w 24377650"/>
              <a:gd name="connsiteY1298" fmla="*/ 1789645 h 8304597"/>
              <a:gd name="connsiteX1299" fmla="*/ 21780118 w 24377650"/>
              <a:gd name="connsiteY1299" fmla="*/ 1752728 h 8304597"/>
              <a:gd name="connsiteX1300" fmla="*/ 2990861 w 24377650"/>
              <a:gd name="connsiteY1300" fmla="*/ 1752728 h 8304597"/>
              <a:gd name="connsiteX1301" fmla="*/ 3067913 w 24377650"/>
              <a:gd name="connsiteY1301" fmla="*/ 1789645 h 8304597"/>
              <a:gd name="connsiteX1302" fmla="*/ 2990861 w 24377650"/>
              <a:gd name="connsiteY1302" fmla="*/ 1752728 h 8304597"/>
              <a:gd name="connsiteX1303" fmla="*/ 19808766 w 24377650"/>
              <a:gd name="connsiteY1303" fmla="*/ 1498075 h 8304597"/>
              <a:gd name="connsiteX1304" fmla="*/ 19720604 w 24377650"/>
              <a:gd name="connsiteY1304" fmla="*/ 1524809 h 8304597"/>
              <a:gd name="connsiteX1305" fmla="*/ 19720604 w 24377650"/>
              <a:gd name="connsiteY1305" fmla="*/ 1561726 h 8304597"/>
              <a:gd name="connsiteX1306" fmla="*/ 19828280 w 24377650"/>
              <a:gd name="connsiteY1306" fmla="*/ 1594228 h 8304597"/>
              <a:gd name="connsiteX1307" fmla="*/ 19853680 w 24377650"/>
              <a:gd name="connsiteY1307" fmla="*/ 1597639 h 8304597"/>
              <a:gd name="connsiteX1308" fmla="*/ 19836180 w 24377650"/>
              <a:gd name="connsiteY1308" fmla="*/ 1600247 h 8304597"/>
              <a:gd name="connsiteX1309" fmla="*/ 19873102 w 24377650"/>
              <a:gd name="connsiteY1309" fmla="*/ 1600247 h 8304597"/>
              <a:gd name="connsiteX1310" fmla="*/ 19853680 w 24377650"/>
              <a:gd name="connsiteY1310" fmla="*/ 1597639 h 8304597"/>
              <a:gd name="connsiteX1311" fmla="*/ 19868486 w 24377650"/>
              <a:gd name="connsiteY1311" fmla="*/ 1595432 h 8304597"/>
              <a:gd name="connsiteX1312" fmla="*/ 19873102 w 24377650"/>
              <a:gd name="connsiteY1312" fmla="*/ 1561726 h 8304597"/>
              <a:gd name="connsiteX1313" fmla="*/ 19808766 w 24377650"/>
              <a:gd name="connsiteY1313" fmla="*/ 1498075 h 8304597"/>
              <a:gd name="connsiteX1314" fmla="*/ 21703068 w 24377650"/>
              <a:gd name="connsiteY1314" fmla="*/ 1447767 h 8304597"/>
              <a:gd name="connsiteX1315" fmla="*/ 21780118 w 24377650"/>
              <a:gd name="connsiteY1315" fmla="*/ 1486288 h 8304597"/>
              <a:gd name="connsiteX1316" fmla="*/ 21787092 w 24377650"/>
              <a:gd name="connsiteY1316" fmla="*/ 1485687 h 8304597"/>
              <a:gd name="connsiteX1317" fmla="*/ 21816878 w 24377650"/>
              <a:gd name="connsiteY1317" fmla="*/ 1483177 h 8304597"/>
              <a:gd name="connsiteX1318" fmla="*/ 21818644 w 24377650"/>
              <a:gd name="connsiteY1318" fmla="*/ 1486288 h 8304597"/>
              <a:gd name="connsiteX1319" fmla="*/ 21818644 w 24377650"/>
              <a:gd name="connsiteY1319" fmla="*/ 1483028 h 8304597"/>
              <a:gd name="connsiteX1320" fmla="*/ 21837104 w 24377650"/>
              <a:gd name="connsiteY1320" fmla="*/ 1481473 h 8304597"/>
              <a:gd name="connsiteX1321" fmla="*/ 21894090 w 24377650"/>
              <a:gd name="connsiteY1321" fmla="*/ 1447767 h 8304597"/>
              <a:gd name="connsiteX1322" fmla="*/ 21818644 w 24377650"/>
              <a:gd name="connsiteY1322" fmla="*/ 1447767 h 8304597"/>
              <a:gd name="connsiteX1323" fmla="*/ 21818644 w 24377650"/>
              <a:gd name="connsiteY1323" fmla="*/ 1464018 h 8304597"/>
              <a:gd name="connsiteX1324" fmla="*/ 21818644 w 24377650"/>
              <a:gd name="connsiteY1324" fmla="*/ 1483028 h 8304597"/>
              <a:gd name="connsiteX1325" fmla="*/ 21816878 w 24377650"/>
              <a:gd name="connsiteY1325" fmla="*/ 1483177 h 8304597"/>
              <a:gd name="connsiteX1326" fmla="*/ 21806002 w 24377650"/>
              <a:gd name="connsiteY1326" fmla="*/ 1464018 h 8304597"/>
              <a:gd name="connsiteX1327" fmla="*/ 21703068 w 24377650"/>
              <a:gd name="connsiteY1327" fmla="*/ 1447767 h 8304597"/>
              <a:gd name="connsiteX1328" fmla="*/ 21491378 w 24377650"/>
              <a:gd name="connsiteY1328" fmla="*/ 1393671 h 8304597"/>
              <a:gd name="connsiteX1329" fmla="*/ 21475124 w 24377650"/>
              <a:gd name="connsiteY1329" fmla="*/ 1409245 h 8304597"/>
              <a:gd name="connsiteX1330" fmla="*/ 21491378 w 24377650"/>
              <a:gd name="connsiteY1330" fmla="*/ 1393671 h 8304597"/>
              <a:gd name="connsiteX1331" fmla="*/ 21703068 w 24377650"/>
              <a:gd name="connsiteY1331" fmla="*/ 1372328 h 8304597"/>
              <a:gd name="connsiteX1332" fmla="*/ 21714720 w 24377650"/>
              <a:gd name="connsiteY1332" fmla="*/ 1383201 h 8304597"/>
              <a:gd name="connsiteX1333" fmla="*/ 21707884 w 24377650"/>
              <a:gd name="connsiteY1333" fmla="*/ 1390787 h 8304597"/>
              <a:gd name="connsiteX1334" fmla="*/ 21703068 w 24377650"/>
              <a:gd name="connsiteY1334" fmla="*/ 1409245 h 8304597"/>
              <a:gd name="connsiteX1335" fmla="*/ 21780118 w 24377650"/>
              <a:gd name="connsiteY1335" fmla="*/ 1409245 h 8304597"/>
              <a:gd name="connsiteX1336" fmla="*/ 21725942 w 24377650"/>
              <a:gd name="connsiteY1336" fmla="*/ 1393671 h 8304597"/>
              <a:gd name="connsiteX1337" fmla="*/ 21714720 w 24377650"/>
              <a:gd name="connsiteY1337" fmla="*/ 1383201 h 8304597"/>
              <a:gd name="connsiteX1338" fmla="*/ 21719322 w 24377650"/>
              <a:gd name="connsiteY1338" fmla="*/ 1378097 h 8304597"/>
              <a:gd name="connsiteX1339" fmla="*/ 21741594 w 24377650"/>
              <a:gd name="connsiteY1339" fmla="*/ 1372328 h 8304597"/>
              <a:gd name="connsiteX1340" fmla="*/ 19608238 w 24377650"/>
              <a:gd name="connsiteY1340" fmla="*/ 1372328 h 8304597"/>
              <a:gd name="connsiteX1341" fmla="*/ 19618170 w 24377650"/>
              <a:gd name="connsiteY1341" fmla="*/ 1393671 h 8304597"/>
              <a:gd name="connsiteX1342" fmla="*/ 19611948 w 24377650"/>
              <a:gd name="connsiteY1342" fmla="*/ 1399795 h 8304597"/>
              <a:gd name="connsiteX1343" fmla="*/ 19609972 w 24377650"/>
              <a:gd name="connsiteY1343" fmla="*/ 1400226 h 8304597"/>
              <a:gd name="connsiteX1344" fmla="*/ 19609612 w 24377650"/>
              <a:gd name="connsiteY1344" fmla="*/ 1402092 h 8304597"/>
              <a:gd name="connsiteX1345" fmla="*/ 19607034 w 24377650"/>
              <a:gd name="connsiteY1345" fmla="*/ 1404631 h 8304597"/>
              <a:gd name="connsiteX1346" fmla="*/ 19608238 w 24377650"/>
              <a:gd name="connsiteY1346" fmla="*/ 1409245 h 8304597"/>
              <a:gd name="connsiteX1347" fmla="*/ 19609612 w 24377650"/>
              <a:gd name="connsiteY1347" fmla="*/ 1402092 h 8304597"/>
              <a:gd name="connsiteX1348" fmla="*/ 19611948 w 24377650"/>
              <a:gd name="connsiteY1348" fmla="*/ 1399795 h 8304597"/>
              <a:gd name="connsiteX1349" fmla="*/ 19615186 w 24377650"/>
              <a:gd name="connsiteY1349" fmla="*/ 1399088 h 8304597"/>
              <a:gd name="connsiteX1350" fmla="*/ 19720604 w 24377650"/>
              <a:gd name="connsiteY1350" fmla="*/ 1409245 h 8304597"/>
              <a:gd name="connsiteX1351" fmla="*/ 19608238 w 24377650"/>
              <a:gd name="connsiteY1351" fmla="*/ 1372328 h 8304597"/>
              <a:gd name="connsiteX1352" fmla="*/ 21841870 w 24377650"/>
              <a:gd name="connsiteY1352" fmla="*/ 1323575 h 8304597"/>
              <a:gd name="connsiteX1353" fmla="*/ 21818644 w 24377650"/>
              <a:gd name="connsiteY1353" fmla="*/ 1333808 h 8304597"/>
              <a:gd name="connsiteX1354" fmla="*/ 21932616 w 24377650"/>
              <a:gd name="connsiteY1354" fmla="*/ 1372328 h 8304597"/>
              <a:gd name="connsiteX1355" fmla="*/ 21841870 w 24377650"/>
              <a:gd name="connsiteY1355" fmla="*/ 1323575 h 8304597"/>
              <a:gd name="connsiteX1356" fmla="*/ 21550570 w 24377650"/>
              <a:gd name="connsiteY1356" fmla="*/ 1256764 h 8304597"/>
              <a:gd name="connsiteX1357" fmla="*/ 21590074 w 24377650"/>
              <a:gd name="connsiteY1357" fmla="*/ 1257366 h 8304597"/>
              <a:gd name="connsiteX1358" fmla="*/ 21603366 w 24377650"/>
              <a:gd name="connsiteY1358" fmla="*/ 1258569 h 8304597"/>
              <a:gd name="connsiteX1359" fmla="*/ 21554724 w 24377650"/>
              <a:gd name="connsiteY1359" fmla="*/ 1259967 h 8304597"/>
              <a:gd name="connsiteX1360" fmla="*/ 19831966 w 24377650"/>
              <a:gd name="connsiteY1360" fmla="*/ 1189753 h 8304597"/>
              <a:gd name="connsiteX1361" fmla="*/ 19760734 w 24377650"/>
              <a:gd name="connsiteY1361" fmla="*/ 1219848 h 8304597"/>
              <a:gd name="connsiteX1362" fmla="*/ 19873102 w 24377650"/>
              <a:gd name="connsiteY1362" fmla="*/ 1219848 h 8304597"/>
              <a:gd name="connsiteX1363" fmla="*/ 19831966 w 24377650"/>
              <a:gd name="connsiteY1363" fmla="*/ 1189753 h 8304597"/>
              <a:gd name="connsiteX1364" fmla="*/ 20218226 w 24377650"/>
              <a:gd name="connsiteY1364" fmla="*/ 914885 h 8304597"/>
              <a:gd name="connsiteX1365" fmla="*/ 20218226 w 24377650"/>
              <a:gd name="connsiteY1365" fmla="*/ 1028845 h 8304597"/>
              <a:gd name="connsiteX1366" fmla="*/ 20330592 w 24377650"/>
              <a:gd name="connsiteY1366" fmla="*/ 990324 h 8304597"/>
              <a:gd name="connsiteX1367" fmla="*/ 20218226 w 24377650"/>
              <a:gd name="connsiteY1367" fmla="*/ 914885 h 8304597"/>
              <a:gd name="connsiteX1368" fmla="*/ 5970575 w 24377650"/>
              <a:gd name="connsiteY1368" fmla="*/ 763334 h 8304597"/>
              <a:gd name="connsiteX1369" fmla="*/ 5963954 w 24377650"/>
              <a:gd name="connsiteY1369" fmla="*/ 766417 h 8304597"/>
              <a:gd name="connsiteX1370" fmla="*/ 5888308 w 24377650"/>
              <a:gd name="connsiteY1370" fmla="*/ 799321 h 8304597"/>
              <a:gd name="connsiteX1371" fmla="*/ 5955439 w 24377650"/>
              <a:gd name="connsiteY1371" fmla="*/ 766379 h 8304597"/>
              <a:gd name="connsiteX1372" fmla="*/ 5995081 w 24377650"/>
              <a:gd name="connsiteY1372" fmla="*/ 751921 h 8304597"/>
              <a:gd name="connsiteX1373" fmla="*/ 6015225 w 24377650"/>
              <a:gd name="connsiteY1373" fmla="*/ 752931 h 8304597"/>
              <a:gd name="connsiteX1374" fmla="*/ 6017705 w 24377650"/>
              <a:gd name="connsiteY1374" fmla="*/ 753849 h 8304597"/>
              <a:gd name="connsiteX1375" fmla="*/ 5970575 w 24377650"/>
              <a:gd name="connsiteY1375" fmla="*/ 763334 h 8304597"/>
              <a:gd name="connsiteX1376" fmla="*/ 10384567 w 24377650"/>
              <a:gd name="connsiteY1376" fmla="*/ 646840 h 8304597"/>
              <a:gd name="connsiteX1377" fmla="*/ 10369487 w 24377650"/>
              <a:gd name="connsiteY1377" fmla="*/ 648650 h 8304597"/>
              <a:gd name="connsiteX1378" fmla="*/ 10368991 w 24377650"/>
              <a:gd name="connsiteY1378" fmla="*/ 647442 h 8304597"/>
              <a:gd name="connsiteX1379" fmla="*/ 10384567 w 24377650"/>
              <a:gd name="connsiteY1379" fmla="*/ 646840 h 8304597"/>
              <a:gd name="connsiteX1380" fmla="*/ 13166210 w 24377650"/>
              <a:gd name="connsiteY1380" fmla="*/ 601561 h 8304597"/>
              <a:gd name="connsiteX1381" fmla="*/ 13171252 w 24377650"/>
              <a:gd name="connsiteY1381" fmla="*/ 605108 h 8304597"/>
              <a:gd name="connsiteX1382" fmla="*/ 13166408 w 24377650"/>
              <a:gd name="connsiteY1382" fmla="*/ 608875 h 8304597"/>
              <a:gd name="connsiteX1383" fmla="*/ 20025598 w 24377650"/>
              <a:gd name="connsiteY1383" fmla="*/ 571402 h 8304597"/>
              <a:gd name="connsiteX1384" fmla="*/ 19950152 w 24377650"/>
              <a:gd name="connsiteY1384" fmla="*/ 609923 h 8304597"/>
              <a:gd name="connsiteX1385" fmla="*/ 20025598 w 24377650"/>
              <a:gd name="connsiteY1385" fmla="*/ 609923 h 8304597"/>
              <a:gd name="connsiteX1386" fmla="*/ 13127910 w 24377650"/>
              <a:gd name="connsiteY1386" fmla="*/ 571402 h 8304597"/>
              <a:gd name="connsiteX1387" fmla="*/ 13165834 w 24377650"/>
              <a:gd name="connsiteY1387" fmla="*/ 587653 h 8304597"/>
              <a:gd name="connsiteX1388" fmla="*/ 13166210 w 24377650"/>
              <a:gd name="connsiteY1388" fmla="*/ 601561 h 8304597"/>
              <a:gd name="connsiteX1389" fmla="*/ 13154998 w 24377650"/>
              <a:gd name="connsiteY1389" fmla="*/ 593672 h 8304597"/>
              <a:gd name="connsiteX1390" fmla="*/ 13127910 w 24377650"/>
              <a:gd name="connsiteY1390" fmla="*/ 571402 h 8304597"/>
              <a:gd name="connsiteX1391" fmla="*/ 20434214 w 24377650"/>
              <a:gd name="connsiteY1391" fmla="*/ 433534 h 8304597"/>
              <a:gd name="connsiteX1392" fmla="*/ 20439574 w 24377650"/>
              <a:gd name="connsiteY1392" fmla="*/ 435774 h 8304597"/>
              <a:gd name="connsiteX1393" fmla="*/ 20446170 w 24377650"/>
              <a:gd name="connsiteY1393" fmla="*/ 457443 h 8304597"/>
              <a:gd name="connsiteX1394" fmla="*/ 20178096 w 24377650"/>
              <a:gd name="connsiteY1394" fmla="*/ 380399 h 8304597"/>
              <a:gd name="connsiteX1395" fmla="*/ 20178096 w 24377650"/>
              <a:gd name="connsiteY1395" fmla="*/ 418921 h 8304597"/>
              <a:gd name="connsiteX1396" fmla="*/ 20025598 w 24377650"/>
              <a:gd name="connsiteY1396" fmla="*/ 418921 h 8304597"/>
              <a:gd name="connsiteX1397" fmla="*/ 20178096 w 24377650"/>
              <a:gd name="connsiteY1397" fmla="*/ 571402 h 8304597"/>
              <a:gd name="connsiteX1398" fmla="*/ 20255146 w 24377650"/>
              <a:gd name="connsiteY1398" fmla="*/ 380399 h 8304597"/>
              <a:gd name="connsiteX1399" fmla="*/ 20202776 w 24377650"/>
              <a:gd name="connsiteY1399" fmla="*/ 380399 h 8304597"/>
              <a:gd name="connsiteX1400" fmla="*/ 18121792 w 24377650"/>
              <a:gd name="connsiteY1400" fmla="*/ 380399 h 8304597"/>
              <a:gd name="connsiteX1401" fmla="*/ 17778272 w 24377650"/>
              <a:gd name="connsiteY1401" fmla="*/ 418921 h 8304597"/>
              <a:gd name="connsiteX1402" fmla="*/ 18121792 w 24377650"/>
              <a:gd name="connsiteY1402" fmla="*/ 380399 h 8304597"/>
              <a:gd name="connsiteX1403" fmla="*/ 19950152 w 24377650"/>
              <a:gd name="connsiteY1403" fmla="*/ 341878 h 8304597"/>
              <a:gd name="connsiteX1404" fmla="*/ 19873102 w 24377650"/>
              <a:gd name="connsiteY1404" fmla="*/ 457443 h 8304597"/>
              <a:gd name="connsiteX1405" fmla="*/ 19950152 w 24377650"/>
              <a:gd name="connsiteY1405" fmla="*/ 341878 h 8304597"/>
              <a:gd name="connsiteX1406" fmla="*/ 19720604 w 24377650"/>
              <a:gd name="connsiteY1406" fmla="*/ 341878 h 8304597"/>
              <a:gd name="connsiteX1407" fmla="*/ 19226192 w 24377650"/>
              <a:gd name="connsiteY1407" fmla="*/ 457443 h 8304597"/>
              <a:gd name="connsiteX1408" fmla="*/ 19417214 w 24377650"/>
              <a:gd name="connsiteY1408" fmla="*/ 494359 h 8304597"/>
              <a:gd name="connsiteX1409" fmla="*/ 19303244 w 24377650"/>
              <a:gd name="connsiteY1409" fmla="*/ 532881 h 8304597"/>
              <a:gd name="connsiteX1410" fmla="*/ 19455740 w 24377650"/>
              <a:gd name="connsiteY1410" fmla="*/ 571402 h 8304597"/>
              <a:gd name="connsiteX1411" fmla="*/ 19720604 w 24377650"/>
              <a:gd name="connsiteY1411" fmla="*/ 532881 h 8304597"/>
              <a:gd name="connsiteX1412" fmla="*/ 19797656 w 24377650"/>
              <a:gd name="connsiteY1412" fmla="*/ 380399 h 8304597"/>
              <a:gd name="connsiteX1413" fmla="*/ 19720604 w 24377650"/>
              <a:gd name="connsiteY1413" fmla="*/ 341878 h 8304597"/>
              <a:gd name="connsiteX1414" fmla="*/ 19760734 w 24377650"/>
              <a:gd name="connsiteY1414" fmla="*/ 266440 h 8304597"/>
              <a:gd name="connsiteX1415" fmla="*/ 19608238 w 24377650"/>
              <a:gd name="connsiteY1415" fmla="*/ 304961 h 8304597"/>
              <a:gd name="connsiteX1416" fmla="*/ 19760734 w 24377650"/>
              <a:gd name="connsiteY1416" fmla="*/ 266440 h 8304597"/>
              <a:gd name="connsiteX1417" fmla="*/ 19492660 w 24377650"/>
              <a:gd name="connsiteY1417" fmla="*/ 266440 h 8304597"/>
              <a:gd name="connsiteX1418" fmla="*/ 19417214 w 24377650"/>
              <a:gd name="connsiteY1418" fmla="*/ 304961 h 8304597"/>
              <a:gd name="connsiteX1419" fmla="*/ 19492660 w 24377650"/>
              <a:gd name="connsiteY1419" fmla="*/ 266440 h 8304597"/>
              <a:gd name="connsiteX1420" fmla="*/ 18426786 w 24377650"/>
              <a:gd name="connsiteY1420" fmla="*/ 266440 h 8304597"/>
              <a:gd name="connsiteX1421" fmla="*/ 18502232 w 24377650"/>
              <a:gd name="connsiteY1421" fmla="*/ 266440 h 8304597"/>
              <a:gd name="connsiteX1422" fmla="*/ 18426786 w 24377650"/>
              <a:gd name="connsiteY1422" fmla="*/ 266440 h 8304597"/>
              <a:gd name="connsiteX1423" fmla="*/ 18283118 w 24377650"/>
              <a:gd name="connsiteY1423" fmla="*/ 218890 h 8304597"/>
              <a:gd name="connsiteX1424" fmla="*/ 18235764 w 24377650"/>
              <a:gd name="connsiteY1424" fmla="*/ 266440 h 8304597"/>
              <a:gd name="connsiteX1425" fmla="*/ 18388260 w 24377650"/>
              <a:gd name="connsiteY1425" fmla="*/ 227918 h 8304597"/>
              <a:gd name="connsiteX1426" fmla="*/ 18283118 w 24377650"/>
              <a:gd name="connsiteY1426" fmla="*/ 218890 h 8304597"/>
              <a:gd name="connsiteX1427" fmla="*/ 20255146 w 24377650"/>
              <a:gd name="connsiteY1427" fmla="*/ 191002 h 8304597"/>
              <a:gd name="connsiteX1428" fmla="*/ 20255146 w 24377650"/>
              <a:gd name="connsiteY1428" fmla="*/ 266440 h 8304597"/>
              <a:gd name="connsiteX1429" fmla="*/ 20141176 w 24377650"/>
              <a:gd name="connsiteY1429" fmla="*/ 266440 h 8304597"/>
              <a:gd name="connsiteX1430" fmla="*/ 20141176 w 24377650"/>
              <a:gd name="connsiteY1430" fmla="*/ 341878 h 8304597"/>
              <a:gd name="connsiteX1431" fmla="*/ 20255146 w 24377650"/>
              <a:gd name="connsiteY1431" fmla="*/ 266440 h 8304597"/>
              <a:gd name="connsiteX1432" fmla="*/ 20330592 w 24377650"/>
              <a:gd name="connsiteY1432" fmla="*/ 227918 h 8304597"/>
              <a:gd name="connsiteX1433" fmla="*/ 20293672 w 24377650"/>
              <a:gd name="connsiteY1433" fmla="*/ 191002 h 8304597"/>
              <a:gd name="connsiteX1434" fmla="*/ 20255146 w 24377650"/>
              <a:gd name="connsiteY1434" fmla="*/ 191002 h 8304597"/>
              <a:gd name="connsiteX1435" fmla="*/ 16558294 w 24377650"/>
              <a:gd name="connsiteY1435" fmla="*/ 191002 h 8304597"/>
              <a:gd name="connsiteX1436" fmla="*/ 16214774 w 24377650"/>
              <a:gd name="connsiteY1436" fmla="*/ 227918 h 8304597"/>
              <a:gd name="connsiteX1437" fmla="*/ 16558294 w 24377650"/>
              <a:gd name="connsiteY1437" fmla="*/ 191002 h 8304597"/>
              <a:gd name="connsiteX1438" fmla="*/ 15986832 w 24377650"/>
              <a:gd name="connsiteY1438" fmla="*/ 191002 h 8304597"/>
              <a:gd name="connsiteX1439" fmla="*/ 15834334 w 24377650"/>
              <a:gd name="connsiteY1439" fmla="*/ 266440 h 8304597"/>
              <a:gd name="connsiteX1440" fmla="*/ 16023752 w 24377650"/>
              <a:gd name="connsiteY1440" fmla="*/ 266440 h 8304597"/>
              <a:gd name="connsiteX1441" fmla="*/ 16008176 w 24377650"/>
              <a:gd name="connsiteY1441" fmla="*/ 244170 h 8304597"/>
              <a:gd name="connsiteX1442" fmla="*/ 16009193 w 24377650"/>
              <a:gd name="connsiteY1442" fmla="*/ 237454 h 8304597"/>
              <a:gd name="connsiteX1443" fmla="*/ 16009985 w 24377650"/>
              <a:gd name="connsiteY1443" fmla="*/ 237392 h 8304597"/>
              <a:gd name="connsiteX1444" fmla="*/ 16023752 w 24377650"/>
              <a:gd name="connsiteY1444" fmla="*/ 227918 h 8304597"/>
              <a:gd name="connsiteX1445" fmla="*/ 16009907 w 24377650"/>
              <a:gd name="connsiteY1445" fmla="*/ 232734 h 8304597"/>
              <a:gd name="connsiteX1446" fmla="*/ 16009193 w 24377650"/>
              <a:gd name="connsiteY1446" fmla="*/ 237454 h 8304597"/>
              <a:gd name="connsiteX1447" fmla="*/ 15996990 w 24377650"/>
              <a:gd name="connsiteY1447" fmla="*/ 238402 h 8304597"/>
              <a:gd name="connsiteX1448" fmla="*/ 15986832 w 24377650"/>
              <a:gd name="connsiteY1448" fmla="*/ 191002 h 8304597"/>
              <a:gd name="connsiteX1449" fmla="*/ 19126066 w 24377650"/>
              <a:gd name="connsiteY1449" fmla="*/ 162111 h 8304597"/>
              <a:gd name="connsiteX1450" fmla="*/ 19073694 w 24377650"/>
              <a:gd name="connsiteY1450" fmla="*/ 191002 h 8304597"/>
              <a:gd name="connsiteX1451" fmla="*/ 19150746 w 24377650"/>
              <a:gd name="connsiteY1451" fmla="*/ 191002 h 8304597"/>
              <a:gd name="connsiteX1452" fmla="*/ 19126066 w 24377650"/>
              <a:gd name="connsiteY1452" fmla="*/ 162111 h 8304597"/>
              <a:gd name="connsiteX1453" fmla="*/ 19378690 w 24377650"/>
              <a:gd name="connsiteY1453" fmla="*/ 152480 h 8304597"/>
              <a:gd name="connsiteX1454" fmla="*/ 19417214 w 24377650"/>
              <a:gd name="connsiteY1454" fmla="*/ 191002 h 8304597"/>
              <a:gd name="connsiteX1455" fmla="*/ 19378690 w 24377650"/>
              <a:gd name="connsiteY1455" fmla="*/ 191002 h 8304597"/>
              <a:gd name="connsiteX1456" fmla="*/ 19378690 w 24377650"/>
              <a:gd name="connsiteY1456" fmla="*/ 152480 h 8304597"/>
              <a:gd name="connsiteX1457" fmla="*/ 16824762 w 24377650"/>
              <a:gd name="connsiteY1457" fmla="*/ 152480 h 8304597"/>
              <a:gd name="connsiteX1458" fmla="*/ 16749316 w 24377650"/>
              <a:gd name="connsiteY1458" fmla="*/ 191002 h 8304597"/>
              <a:gd name="connsiteX1459" fmla="*/ 16824762 w 24377650"/>
              <a:gd name="connsiteY1459" fmla="*/ 152480 h 8304597"/>
              <a:gd name="connsiteX1460" fmla="*/ 20044430 w 24377650"/>
              <a:gd name="connsiteY1460" fmla="*/ 88187 h 8304597"/>
              <a:gd name="connsiteX1461" fmla="*/ 20063370 w 24377650"/>
              <a:gd name="connsiteY1461" fmla="*/ 111103 h 8304597"/>
              <a:gd name="connsiteX1462" fmla="*/ 20055790 w 24377650"/>
              <a:gd name="connsiteY1462" fmla="*/ 110551 h 8304597"/>
              <a:gd name="connsiteX1463" fmla="*/ 20048172 w 24377650"/>
              <a:gd name="connsiteY1463" fmla="*/ 107940 h 8304597"/>
              <a:gd name="connsiteX1464" fmla="*/ 20045664 w 24377650"/>
              <a:gd name="connsiteY1464" fmla="*/ 94698 h 8304597"/>
              <a:gd name="connsiteX1465" fmla="*/ 20037174 w 24377650"/>
              <a:gd name="connsiteY1465" fmla="*/ 79406 h 8304597"/>
              <a:gd name="connsiteX1466" fmla="*/ 20043156 w 24377650"/>
              <a:gd name="connsiteY1466" fmla="*/ 81456 h 8304597"/>
              <a:gd name="connsiteX1467" fmla="*/ 20044430 w 24377650"/>
              <a:gd name="connsiteY1467" fmla="*/ 88187 h 8304597"/>
              <a:gd name="connsiteX1468" fmla="*/ 20293672 w 24377650"/>
              <a:gd name="connsiteY1468" fmla="*/ 75437 h 8304597"/>
              <a:gd name="connsiteX1469" fmla="*/ 20230014 w 24377650"/>
              <a:gd name="connsiteY1469" fmla="*/ 97106 h 8304597"/>
              <a:gd name="connsiteX1470" fmla="*/ 20219992 w 24377650"/>
              <a:gd name="connsiteY1470" fmla="*/ 78682 h 8304597"/>
              <a:gd name="connsiteX1471" fmla="*/ 20218226 w 24377650"/>
              <a:gd name="connsiteY1471" fmla="*/ 75437 h 8304597"/>
              <a:gd name="connsiteX1472" fmla="*/ 20219992 w 24377650"/>
              <a:gd name="connsiteY1472" fmla="*/ 78682 h 8304597"/>
              <a:gd name="connsiteX1473" fmla="*/ 20217350 w 24377650"/>
              <a:gd name="connsiteY1473" fmla="*/ 78798 h 8304597"/>
              <a:gd name="connsiteX1474" fmla="*/ 19988678 w 24377650"/>
              <a:gd name="connsiteY1474" fmla="*/ 75437 h 8304597"/>
              <a:gd name="connsiteX1475" fmla="*/ 19836180 w 24377650"/>
              <a:gd name="connsiteY1475" fmla="*/ 113959 h 8304597"/>
              <a:gd name="connsiteX1476" fmla="*/ 19797656 w 24377650"/>
              <a:gd name="connsiteY1476" fmla="*/ 152480 h 8304597"/>
              <a:gd name="connsiteX1477" fmla="*/ 19988678 w 24377650"/>
              <a:gd name="connsiteY1477" fmla="*/ 75437 h 8304597"/>
              <a:gd name="connsiteX1478" fmla="*/ 18730176 w 24377650"/>
              <a:gd name="connsiteY1478" fmla="*/ 38521 h 8304597"/>
              <a:gd name="connsiteX1479" fmla="*/ 18807226 w 24377650"/>
              <a:gd name="connsiteY1479" fmla="*/ 38521 h 8304597"/>
              <a:gd name="connsiteX1480" fmla="*/ 18730176 w 24377650"/>
              <a:gd name="connsiteY1480" fmla="*/ 38521 h 8304597"/>
              <a:gd name="connsiteX1481" fmla="*/ 17892244 w 24377650"/>
              <a:gd name="connsiteY1481" fmla="*/ 38521 h 8304597"/>
              <a:gd name="connsiteX1482" fmla="*/ 17911506 w 24377650"/>
              <a:gd name="connsiteY1482" fmla="*/ 43136 h 8304597"/>
              <a:gd name="connsiteX1483" fmla="*/ 17924568 w 24377650"/>
              <a:gd name="connsiteY1483" fmla="*/ 53945 h 8304597"/>
              <a:gd name="connsiteX1484" fmla="*/ 17921714 w 24377650"/>
              <a:gd name="connsiteY1484" fmla="*/ 54095 h 8304597"/>
              <a:gd name="connsiteX1485" fmla="*/ 17892244 w 24377650"/>
              <a:gd name="connsiteY1485" fmla="*/ 38521 h 8304597"/>
              <a:gd name="connsiteX1486" fmla="*/ 19836180 w 24377650"/>
              <a:gd name="connsiteY1486" fmla="*/ 0 h 8304597"/>
              <a:gd name="connsiteX1487" fmla="*/ 19913232 w 24377650"/>
              <a:gd name="connsiteY1487" fmla="*/ 75437 h 8304597"/>
              <a:gd name="connsiteX1488" fmla="*/ 20030164 w 24377650"/>
              <a:gd name="connsiteY1488" fmla="*/ 70923 h 8304597"/>
              <a:gd name="connsiteX1489" fmla="*/ 20037174 w 24377650"/>
              <a:gd name="connsiteY1489" fmla="*/ 79406 h 8304597"/>
              <a:gd name="connsiteX1490" fmla="*/ 20025598 w 24377650"/>
              <a:gd name="connsiteY1490" fmla="*/ 75437 h 8304597"/>
              <a:gd name="connsiteX1491" fmla="*/ 20036434 w 24377650"/>
              <a:gd name="connsiteY1491" fmla="*/ 109144 h 8304597"/>
              <a:gd name="connsiteX1492" fmla="*/ 20055790 w 24377650"/>
              <a:gd name="connsiteY1492" fmla="*/ 110551 h 8304597"/>
              <a:gd name="connsiteX1493" fmla="*/ 20065730 w 24377650"/>
              <a:gd name="connsiteY1493" fmla="*/ 113959 h 8304597"/>
              <a:gd name="connsiteX1494" fmla="*/ 20025598 w 24377650"/>
              <a:gd name="connsiteY1494" fmla="*/ 191002 h 8304597"/>
              <a:gd name="connsiteX1495" fmla="*/ 20141176 w 24377650"/>
              <a:gd name="connsiteY1495" fmla="*/ 152480 h 8304597"/>
              <a:gd name="connsiteX1496" fmla="*/ 20065730 w 24377650"/>
              <a:gd name="connsiteY1496" fmla="*/ 113959 h 8304597"/>
              <a:gd name="connsiteX1497" fmla="*/ 20063370 w 24377650"/>
              <a:gd name="connsiteY1497" fmla="*/ 111103 h 8304597"/>
              <a:gd name="connsiteX1498" fmla="*/ 20102650 w 24377650"/>
              <a:gd name="connsiteY1498" fmla="*/ 113959 h 8304597"/>
              <a:gd name="connsiteX1499" fmla="*/ 20184316 w 24377650"/>
              <a:gd name="connsiteY1499" fmla="*/ 80253 h 8304597"/>
              <a:gd name="connsiteX1500" fmla="*/ 20217350 w 24377650"/>
              <a:gd name="connsiteY1500" fmla="*/ 78798 h 8304597"/>
              <a:gd name="connsiteX1501" fmla="*/ 20203178 w 24377650"/>
              <a:gd name="connsiteY1501" fmla="*/ 133220 h 8304597"/>
              <a:gd name="connsiteX1502" fmla="*/ 20218226 w 24377650"/>
              <a:gd name="connsiteY1502" fmla="*/ 191002 h 8304597"/>
              <a:gd name="connsiteX1503" fmla="*/ 20330592 w 24377650"/>
              <a:gd name="connsiteY1503" fmla="*/ 152480 h 8304597"/>
              <a:gd name="connsiteX1504" fmla="*/ 20370724 w 24377650"/>
              <a:gd name="connsiteY1504" fmla="*/ 191002 h 8304597"/>
              <a:gd name="connsiteX1505" fmla="*/ 20255146 w 24377650"/>
              <a:gd name="connsiteY1505" fmla="*/ 304961 h 8304597"/>
              <a:gd name="connsiteX1506" fmla="*/ 20293672 w 24377650"/>
              <a:gd name="connsiteY1506" fmla="*/ 341878 h 8304597"/>
              <a:gd name="connsiteX1507" fmla="*/ 20370724 w 24377650"/>
              <a:gd name="connsiteY1507" fmla="*/ 341878 h 8304597"/>
              <a:gd name="connsiteX1508" fmla="*/ 20446170 w 24377650"/>
              <a:gd name="connsiteY1508" fmla="*/ 341878 h 8304597"/>
              <a:gd name="connsiteX1509" fmla="*/ 20417276 w 24377650"/>
              <a:gd name="connsiteY1509" fmla="*/ 399660 h 8304597"/>
              <a:gd name="connsiteX1510" fmla="*/ 20434214 w 24377650"/>
              <a:gd name="connsiteY1510" fmla="*/ 433534 h 8304597"/>
              <a:gd name="connsiteX1511" fmla="*/ 20422292 w 24377650"/>
              <a:gd name="connsiteY1511" fmla="*/ 428551 h 8304597"/>
              <a:gd name="connsiteX1512" fmla="*/ 20370724 w 24377650"/>
              <a:gd name="connsiteY1512" fmla="*/ 457443 h 8304597"/>
              <a:gd name="connsiteX1513" fmla="*/ 20330592 w 24377650"/>
              <a:gd name="connsiteY1513" fmla="*/ 532881 h 8304597"/>
              <a:gd name="connsiteX1514" fmla="*/ 20446170 w 24377650"/>
              <a:gd name="connsiteY1514" fmla="*/ 532881 h 8304597"/>
              <a:gd name="connsiteX1515" fmla="*/ 20446170 w 24377650"/>
              <a:gd name="connsiteY1515" fmla="*/ 609923 h 8304597"/>
              <a:gd name="connsiteX1516" fmla="*/ 20293672 w 24377650"/>
              <a:gd name="connsiteY1516" fmla="*/ 646840 h 8304597"/>
              <a:gd name="connsiteX1517" fmla="*/ 20218226 w 24377650"/>
              <a:gd name="connsiteY1517" fmla="*/ 685361 h 8304597"/>
              <a:gd name="connsiteX1518" fmla="*/ 20102650 w 24377650"/>
              <a:gd name="connsiteY1518" fmla="*/ 723883 h 8304597"/>
              <a:gd name="connsiteX1519" fmla="*/ 19950152 w 24377650"/>
              <a:gd name="connsiteY1519" fmla="*/ 685361 h 8304597"/>
              <a:gd name="connsiteX1520" fmla="*/ 20025598 w 24377650"/>
              <a:gd name="connsiteY1520" fmla="*/ 723883 h 8304597"/>
              <a:gd name="connsiteX1521" fmla="*/ 20141176 w 24377650"/>
              <a:gd name="connsiteY1521" fmla="*/ 799321 h 8304597"/>
              <a:gd name="connsiteX1522" fmla="*/ 20178096 w 24377650"/>
              <a:gd name="connsiteY1522" fmla="*/ 762404 h 8304597"/>
              <a:gd name="connsiteX1523" fmla="*/ 20446170 w 24377650"/>
              <a:gd name="connsiteY1523" fmla="*/ 837842 h 8304597"/>
              <a:gd name="connsiteX1524" fmla="*/ 20483090 w 24377650"/>
              <a:gd name="connsiteY1524" fmla="*/ 723883 h 8304597"/>
              <a:gd name="connsiteX1525" fmla="*/ 20635588 w 24377650"/>
              <a:gd name="connsiteY1525" fmla="*/ 723883 h 8304597"/>
              <a:gd name="connsiteX1526" fmla="*/ 20560142 w 24377650"/>
              <a:gd name="connsiteY1526" fmla="*/ 762404 h 8304597"/>
              <a:gd name="connsiteX1527" fmla="*/ 20560142 w 24377650"/>
              <a:gd name="connsiteY1527" fmla="*/ 837842 h 8304597"/>
              <a:gd name="connsiteX1528" fmla="*/ 20675718 w 24377650"/>
              <a:gd name="connsiteY1528" fmla="*/ 837842 h 8304597"/>
              <a:gd name="connsiteX1529" fmla="*/ 20675718 w 24377650"/>
              <a:gd name="connsiteY1529" fmla="*/ 876364 h 8304597"/>
              <a:gd name="connsiteX1530" fmla="*/ 20598666 w 24377650"/>
              <a:gd name="connsiteY1530" fmla="*/ 951802 h 8304597"/>
              <a:gd name="connsiteX1531" fmla="*/ 20479678 w 24377650"/>
              <a:gd name="connsiteY1531" fmla="*/ 951802 h 8304597"/>
              <a:gd name="connsiteX1532" fmla="*/ 20446170 w 24377650"/>
              <a:gd name="connsiteY1532" fmla="*/ 951802 h 8304597"/>
              <a:gd name="connsiteX1533" fmla="*/ 20330592 w 24377650"/>
              <a:gd name="connsiteY1533" fmla="*/ 951802 h 8304597"/>
              <a:gd name="connsiteX1534" fmla="*/ 20446170 w 24377650"/>
              <a:gd name="connsiteY1534" fmla="*/ 951802 h 8304597"/>
              <a:gd name="connsiteX1535" fmla="*/ 20483090 w 24377650"/>
              <a:gd name="connsiteY1535" fmla="*/ 1028845 h 8304597"/>
              <a:gd name="connsiteX1536" fmla="*/ 20370724 w 24377650"/>
              <a:gd name="connsiteY1536" fmla="*/ 1104283 h 8304597"/>
              <a:gd name="connsiteX1537" fmla="*/ 20178096 w 24377650"/>
              <a:gd name="connsiteY1537" fmla="*/ 1067366 h 8304597"/>
              <a:gd name="connsiteX1538" fmla="*/ 19913232 w 24377650"/>
              <a:gd name="connsiteY1538" fmla="*/ 1179721 h 8304597"/>
              <a:gd name="connsiteX1539" fmla="*/ 20102650 w 24377650"/>
              <a:gd name="connsiteY1539" fmla="*/ 1179721 h 8304597"/>
              <a:gd name="connsiteX1540" fmla="*/ 20025598 w 24377650"/>
              <a:gd name="connsiteY1540" fmla="*/ 1219848 h 8304597"/>
              <a:gd name="connsiteX1541" fmla="*/ 20025598 w 24377650"/>
              <a:gd name="connsiteY1541" fmla="*/ 1256764 h 8304597"/>
              <a:gd name="connsiteX1542" fmla="*/ 19988678 w 24377650"/>
              <a:gd name="connsiteY1542" fmla="*/ 1219848 h 8304597"/>
              <a:gd name="connsiteX1543" fmla="*/ 19836180 w 24377650"/>
              <a:gd name="connsiteY1543" fmla="*/ 1295285 h 8304597"/>
              <a:gd name="connsiteX1544" fmla="*/ 19645158 w 24377650"/>
              <a:gd name="connsiteY1544" fmla="*/ 1333808 h 8304597"/>
              <a:gd name="connsiteX1545" fmla="*/ 19913232 w 24377650"/>
              <a:gd name="connsiteY1545" fmla="*/ 1409245 h 8304597"/>
              <a:gd name="connsiteX1546" fmla="*/ 19873102 w 24377650"/>
              <a:gd name="connsiteY1546" fmla="*/ 1486288 h 8304597"/>
              <a:gd name="connsiteX1547" fmla="*/ 19988678 w 24377650"/>
              <a:gd name="connsiteY1547" fmla="*/ 1561726 h 8304597"/>
              <a:gd name="connsiteX1548" fmla="*/ 20102650 w 24377650"/>
              <a:gd name="connsiteY1548" fmla="*/ 1561726 h 8304597"/>
              <a:gd name="connsiteX1549" fmla="*/ 20065730 w 24377650"/>
              <a:gd name="connsiteY1549" fmla="*/ 1524809 h 8304597"/>
              <a:gd name="connsiteX1550" fmla="*/ 20218226 w 24377650"/>
              <a:gd name="connsiteY1550" fmla="*/ 1561726 h 8304597"/>
              <a:gd name="connsiteX1551" fmla="*/ 20635588 w 24377650"/>
              <a:gd name="connsiteY1551" fmla="*/ 1447767 h 8304597"/>
              <a:gd name="connsiteX1552" fmla="*/ 20751164 w 24377650"/>
              <a:gd name="connsiteY1552" fmla="*/ 1486288 h 8304597"/>
              <a:gd name="connsiteX1553" fmla="*/ 20788084 w 24377650"/>
              <a:gd name="connsiteY1553" fmla="*/ 1447767 h 8304597"/>
              <a:gd name="connsiteX1554" fmla="*/ 20751164 w 24377650"/>
              <a:gd name="connsiteY1554" fmla="*/ 1409245 h 8304597"/>
              <a:gd name="connsiteX1555" fmla="*/ 20828216 w 24377650"/>
              <a:gd name="connsiteY1555" fmla="*/ 1409245 h 8304597"/>
              <a:gd name="connsiteX1556" fmla="*/ 21245576 w 24377650"/>
              <a:gd name="connsiteY1556" fmla="*/ 1409245 h 8304597"/>
              <a:gd name="connsiteX1557" fmla="*/ 21475124 w 24377650"/>
              <a:gd name="connsiteY1557" fmla="*/ 1409245 h 8304597"/>
              <a:gd name="connsiteX1558" fmla="*/ 21627622 w 24377650"/>
              <a:gd name="connsiteY1558" fmla="*/ 1409245 h 8304597"/>
              <a:gd name="connsiteX1559" fmla="*/ 21475124 w 24377650"/>
              <a:gd name="connsiteY1559" fmla="*/ 1295285 h 8304597"/>
              <a:gd name="connsiteX1560" fmla="*/ 21361152 w 24377650"/>
              <a:gd name="connsiteY1560" fmla="*/ 1295285 h 8304597"/>
              <a:gd name="connsiteX1561" fmla="*/ 21498600 w 24377650"/>
              <a:gd name="connsiteY1561" fmla="*/ 1261580 h 8304597"/>
              <a:gd name="connsiteX1562" fmla="*/ 21554724 w 24377650"/>
              <a:gd name="connsiteY1562" fmla="*/ 1259967 h 8304597"/>
              <a:gd name="connsiteX1563" fmla="*/ 21579464 w 24377650"/>
              <a:gd name="connsiteY1563" fmla="*/ 1279034 h 8304597"/>
              <a:gd name="connsiteX1564" fmla="*/ 21666148 w 24377650"/>
              <a:gd name="connsiteY1564" fmla="*/ 1295285 h 8304597"/>
              <a:gd name="connsiteX1565" fmla="*/ 21636652 w 24377650"/>
              <a:gd name="connsiteY1565" fmla="*/ 1261580 h 8304597"/>
              <a:gd name="connsiteX1566" fmla="*/ 21603366 w 24377650"/>
              <a:gd name="connsiteY1566" fmla="*/ 1258569 h 8304597"/>
              <a:gd name="connsiteX1567" fmla="*/ 21666148 w 24377650"/>
              <a:gd name="connsiteY1567" fmla="*/ 1256764 h 8304597"/>
              <a:gd name="connsiteX1568" fmla="*/ 21703068 w 24377650"/>
              <a:gd name="connsiteY1568" fmla="*/ 1333808 h 8304597"/>
              <a:gd name="connsiteX1569" fmla="*/ 21741594 w 24377650"/>
              <a:gd name="connsiteY1569" fmla="*/ 1256764 h 8304597"/>
              <a:gd name="connsiteX1570" fmla="*/ 21818644 w 24377650"/>
              <a:gd name="connsiteY1570" fmla="*/ 1295285 h 8304597"/>
              <a:gd name="connsiteX1571" fmla="*/ 21894090 w 24377650"/>
              <a:gd name="connsiteY1571" fmla="*/ 1295285 h 8304597"/>
              <a:gd name="connsiteX1572" fmla="*/ 22123638 w 24377650"/>
              <a:gd name="connsiteY1572" fmla="*/ 1409245 h 8304597"/>
              <a:gd name="connsiteX1573" fmla="*/ 21818644 w 24377650"/>
              <a:gd name="connsiteY1573" fmla="*/ 1409245 h 8304597"/>
              <a:gd name="connsiteX1574" fmla="*/ 22008062 w 24377650"/>
              <a:gd name="connsiteY1574" fmla="*/ 1447767 h 8304597"/>
              <a:gd name="connsiteX1575" fmla="*/ 21855564 w 24377650"/>
              <a:gd name="connsiteY1575" fmla="*/ 1486288 h 8304597"/>
              <a:gd name="connsiteX1576" fmla="*/ 22046588 w 24377650"/>
              <a:gd name="connsiteY1576" fmla="*/ 1561726 h 8304597"/>
              <a:gd name="connsiteX1577" fmla="*/ 21855564 w 24377650"/>
              <a:gd name="connsiteY1577" fmla="*/ 1524809 h 8304597"/>
              <a:gd name="connsiteX1578" fmla="*/ 21703068 w 24377650"/>
              <a:gd name="connsiteY1578" fmla="*/ 1600247 h 8304597"/>
              <a:gd name="connsiteX1579" fmla="*/ 21855564 w 24377650"/>
              <a:gd name="connsiteY1579" fmla="*/ 1638769 h 8304597"/>
              <a:gd name="connsiteX1580" fmla="*/ 21855564 w 24377650"/>
              <a:gd name="connsiteY1580" fmla="*/ 1677291 h 8304597"/>
              <a:gd name="connsiteX1581" fmla="*/ 21780118 w 24377650"/>
              <a:gd name="connsiteY1581" fmla="*/ 1714207 h 8304597"/>
              <a:gd name="connsiteX1582" fmla="*/ 21894090 w 24377650"/>
              <a:gd name="connsiteY1582" fmla="*/ 1789645 h 8304597"/>
              <a:gd name="connsiteX1583" fmla="*/ 22351582 w 24377650"/>
              <a:gd name="connsiteY1583" fmla="*/ 1789645 h 8304597"/>
              <a:gd name="connsiteX1584" fmla="*/ 22427028 w 24377650"/>
              <a:gd name="connsiteY1584" fmla="*/ 1829772 h 8304597"/>
              <a:gd name="connsiteX1585" fmla="*/ 22427028 w 24377650"/>
              <a:gd name="connsiteY1585" fmla="*/ 1752728 h 8304597"/>
              <a:gd name="connsiteX1586" fmla="*/ 22542604 w 24377650"/>
              <a:gd name="connsiteY1586" fmla="*/ 1789645 h 8304597"/>
              <a:gd name="connsiteX1587" fmla="*/ 22542604 w 24377650"/>
              <a:gd name="connsiteY1587" fmla="*/ 1866688 h 8304597"/>
              <a:gd name="connsiteX1588" fmla="*/ 22504078 w 24377650"/>
              <a:gd name="connsiteY1588" fmla="*/ 1866688 h 8304597"/>
              <a:gd name="connsiteX1589" fmla="*/ 22579524 w 24377650"/>
              <a:gd name="connsiteY1589" fmla="*/ 1905210 h 8304597"/>
              <a:gd name="connsiteX1590" fmla="*/ 22504078 w 24377650"/>
              <a:gd name="connsiteY1590" fmla="*/ 1943731 h 8304597"/>
              <a:gd name="connsiteX1591" fmla="*/ 22427028 w 24377650"/>
              <a:gd name="connsiteY1591" fmla="*/ 2057691 h 8304597"/>
              <a:gd name="connsiteX1592" fmla="*/ 22390108 w 24377650"/>
              <a:gd name="connsiteY1592" fmla="*/ 1982253 h 8304597"/>
              <a:gd name="connsiteX1593" fmla="*/ 22370242 w 24377650"/>
              <a:gd name="connsiteY1593" fmla="*/ 2038631 h 8304597"/>
              <a:gd name="connsiteX1594" fmla="*/ 22378400 w 24377650"/>
              <a:gd name="connsiteY1594" fmla="*/ 2066673 h 8304597"/>
              <a:gd name="connsiteX1595" fmla="*/ 22361012 w 24377650"/>
              <a:gd name="connsiteY1595" fmla="*/ 2076952 h 8304597"/>
              <a:gd name="connsiteX1596" fmla="*/ 22351582 w 24377650"/>
              <a:gd name="connsiteY1596" fmla="*/ 2096212 h 8304597"/>
              <a:gd name="connsiteX1597" fmla="*/ 22378594 w 24377650"/>
              <a:gd name="connsiteY1597" fmla="*/ 2067346 h 8304597"/>
              <a:gd name="connsiteX1598" fmla="*/ 22378400 w 24377650"/>
              <a:gd name="connsiteY1598" fmla="*/ 2066673 h 8304597"/>
              <a:gd name="connsiteX1599" fmla="*/ 22383410 w 24377650"/>
              <a:gd name="connsiteY1599" fmla="*/ 2063710 h 8304597"/>
              <a:gd name="connsiteX1600" fmla="*/ 22427028 w 24377650"/>
              <a:gd name="connsiteY1600" fmla="*/ 2057691 h 8304597"/>
              <a:gd name="connsiteX1601" fmla="*/ 22274530 w 24377650"/>
              <a:gd name="connsiteY1601" fmla="*/ 2134734 h 8304597"/>
              <a:gd name="connsiteX1602" fmla="*/ 22427028 w 24377650"/>
              <a:gd name="connsiteY1602" fmla="*/ 2171650 h 8304597"/>
              <a:gd name="connsiteX1603" fmla="*/ 22618050 w 24377650"/>
              <a:gd name="connsiteY1603" fmla="*/ 2324131 h 8304597"/>
              <a:gd name="connsiteX1604" fmla="*/ 22542604 w 24377650"/>
              <a:gd name="connsiteY1604" fmla="*/ 2285609 h 8304597"/>
              <a:gd name="connsiteX1605" fmla="*/ 22732022 w 24377650"/>
              <a:gd name="connsiteY1605" fmla="*/ 2285609 h 8304597"/>
              <a:gd name="connsiteX1606" fmla="*/ 22695102 w 24377650"/>
              <a:gd name="connsiteY1606" fmla="*/ 2399569 h 8304597"/>
              <a:gd name="connsiteX1607" fmla="*/ 22579524 w 24377650"/>
              <a:gd name="connsiteY1607" fmla="*/ 2362653 h 8304597"/>
              <a:gd name="connsiteX1608" fmla="*/ 22465554 w 24377650"/>
              <a:gd name="connsiteY1608" fmla="*/ 2399569 h 8304597"/>
              <a:gd name="connsiteX1609" fmla="*/ 22695102 w 24377650"/>
              <a:gd name="connsiteY1609" fmla="*/ 2438091 h 8304597"/>
              <a:gd name="connsiteX1610" fmla="*/ 22427028 w 24377650"/>
              <a:gd name="connsiteY1610" fmla="*/ 2438091 h 8304597"/>
              <a:gd name="connsiteX1611" fmla="*/ 22465554 w 24377650"/>
              <a:gd name="connsiteY1611" fmla="*/ 2476612 h 8304597"/>
              <a:gd name="connsiteX1612" fmla="*/ 22313056 w 24377650"/>
              <a:gd name="connsiteY1612" fmla="*/ 2399569 h 8304597"/>
              <a:gd name="connsiteX1613" fmla="*/ 22237610 w 24377650"/>
              <a:gd name="connsiteY1613" fmla="*/ 2515134 h 8304597"/>
              <a:gd name="connsiteX1614" fmla="*/ 22390108 w 24377650"/>
              <a:gd name="connsiteY1614" fmla="*/ 2553655 h 8304597"/>
              <a:gd name="connsiteX1615" fmla="*/ 22237610 w 24377650"/>
              <a:gd name="connsiteY1615" fmla="*/ 2553655 h 8304597"/>
              <a:gd name="connsiteX1616" fmla="*/ 22199084 w 24377650"/>
              <a:gd name="connsiteY1616" fmla="*/ 2629093 h 8304597"/>
              <a:gd name="connsiteX1617" fmla="*/ 22450780 w 24377650"/>
              <a:gd name="connsiteY1617" fmla="*/ 2565442 h 8304597"/>
              <a:gd name="connsiteX1618" fmla="*/ 22465554 w 24377650"/>
              <a:gd name="connsiteY1618" fmla="*/ 2558219 h 8304597"/>
              <a:gd name="connsiteX1619" fmla="*/ 22465554 w 24377650"/>
              <a:gd name="connsiteY1619" fmla="*/ 2574998 h 8304597"/>
              <a:gd name="connsiteX1620" fmla="*/ 22465554 w 24377650"/>
              <a:gd name="connsiteY1620" fmla="*/ 2590572 h 8304597"/>
              <a:gd name="connsiteX1621" fmla="*/ 22656576 w 24377650"/>
              <a:gd name="connsiteY1621" fmla="*/ 2553655 h 8304597"/>
              <a:gd name="connsiteX1622" fmla="*/ 22618050 w 24377650"/>
              <a:gd name="connsiteY1622" fmla="*/ 2629093 h 8304597"/>
              <a:gd name="connsiteX1623" fmla="*/ 22656576 w 24377650"/>
              <a:gd name="connsiteY1623" fmla="*/ 2629093 h 8304597"/>
              <a:gd name="connsiteX1624" fmla="*/ 22703254 w 24377650"/>
              <a:gd name="connsiteY1624" fmla="*/ 2612240 h 8304597"/>
              <a:gd name="connsiteX1625" fmla="*/ 22752892 w 24377650"/>
              <a:gd name="connsiteY1625" fmla="*/ 2610480 h 8304597"/>
              <a:gd name="connsiteX1626" fmla="*/ 22754972 w 24377650"/>
              <a:gd name="connsiteY1626" fmla="*/ 2617306 h 8304597"/>
              <a:gd name="connsiteX1627" fmla="*/ 22809074 w 24377650"/>
              <a:gd name="connsiteY1627" fmla="*/ 2629093 h 8304597"/>
              <a:gd name="connsiteX1628" fmla="*/ 22801216 w 24377650"/>
              <a:gd name="connsiteY1628" fmla="*/ 2608762 h 8304597"/>
              <a:gd name="connsiteX1629" fmla="*/ 22838744 w 24377650"/>
              <a:gd name="connsiteY1629" fmla="*/ 2607425 h 8304597"/>
              <a:gd name="connsiteX1630" fmla="*/ 22884520 w 24377650"/>
              <a:gd name="connsiteY1630" fmla="*/ 2590572 h 8304597"/>
              <a:gd name="connsiteX1631" fmla="*/ 22809074 w 24377650"/>
              <a:gd name="connsiteY1631" fmla="*/ 2553655 h 8304597"/>
              <a:gd name="connsiteX1632" fmla="*/ 22798238 w 24377650"/>
              <a:gd name="connsiteY1632" fmla="*/ 2601055 h 8304597"/>
              <a:gd name="connsiteX1633" fmla="*/ 22801216 w 24377650"/>
              <a:gd name="connsiteY1633" fmla="*/ 2608762 h 8304597"/>
              <a:gd name="connsiteX1634" fmla="*/ 22771150 w 24377650"/>
              <a:gd name="connsiteY1634" fmla="*/ 2609832 h 8304597"/>
              <a:gd name="connsiteX1635" fmla="*/ 22752892 w 24377650"/>
              <a:gd name="connsiteY1635" fmla="*/ 2610480 h 8304597"/>
              <a:gd name="connsiteX1636" fmla="*/ 22747072 w 24377650"/>
              <a:gd name="connsiteY1636" fmla="*/ 2591374 h 8304597"/>
              <a:gd name="connsiteX1637" fmla="*/ 22770548 w 24377650"/>
              <a:gd name="connsiteY1637" fmla="*/ 2553655 h 8304597"/>
              <a:gd name="connsiteX1638" fmla="*/ 22809074 w 24377650"/>
              <a:gd name="connsiteY1638" fmla="*/ 2515134 h 8304597"/>
              <a:gd name="connsiteX1639" fmla="*/ 22884520 w 24377650"/>
              <a:gd name="connsiteY1639" fmla="*/ 2553655 h 8304597"/>
              <a:gd name="connsiteX1640" fmla="*/ 22923044 w 24377650"/>
              <a:gd name="connsiteY1640" fmla="*/ 2476612 h 8304597"/>
              <a:gd name="connsiteX1641" fmla="*/ 22923044 w 24377650"/>
              <a:gd name="connsiteY1641" fmla="*/ 2515134 h 8304597"/>
              <a:gd name="connsiteX1642" fmla="*/ 23037016 w 24377650"/>
              <a:gd name="connsiteY1642" fmla="*/ 2515134 h 8304597"/>
              <a:gd name="connsiteX1643" fmla="*/ 23037016 w 24377650"/>
              <a:gd name="connsiteY1643" fmla="*/ 2553655 h 8304597"/>
              <a:gd name="connsiteX1644" fmla="*/ 23000096 w 24377650"/>
              <a:gd name="connsiteY1644" fmla="*/ 2590572 h 8304597"/>
              <a:gd name="connsiteX1645" fmla="*/ 23075542 w 24377650"/>
              <a:gd name="connsiteY1645" fmla="*/ 2590572 h 8304597"/>
              <a:gd name="connsiteX1646" fmla="*/ 23189514 w 24377650"/>
              <a:gd name="connsiteY1646" fmla="*/ 2629093 h 8304597"/>
              <a:gd name="connsiteX1647" fmla="*/ 23228040 w 24377650"/>
              <a:gd name="connsiteY1647" fmla="*/ 2629093 h 8304597"/>
              <a:gd name="connsiteX1648" fmla="*/ 23342210 w 24377650"/>
              <a:gd name="connsiteY1648" fmla="*/ 2609832 h 8304597"/>
              <a:gd name="connsiteX1649" fmla="*/ 23382648 w 24377650"/>
              <a:gd name="connsiteY1649" fmla="*/ 2598385 h 8304597"/>
              <a:gd name="connsiteX1650" fmla="*/ 23386556 w 24377650"/>
              <a:gd name="connsiteY1650" fmla="*/ 2612842 h 8304597"/>
              <a:gd name="connsiteX1651" fmla="*/ 23419062 w 24377650"/>
              <a:gd name="connsiteY1651" fmla="*/ 2629093 h 8304597"/>
              <a:gd name="connsiteX1652" fmla="*/ 23799502 w 24377650"/>
              <a:gd name="connsiteY1652" fmla="*/ 2553655 h 8304597"/>
              <a:gd name="connsiteX1653" fmla="*/ 23915080 w 24377650"/>
              <a:gd name="connsiteY1653" fmla="*/ 2590572 h 8304597"/>
              <a:gd name="connsiteX1654" fmla="*/ 23838028 w 24377650"/>
              <a:gd name="connsiteY1654" fmla="*/ 2629093 h 8304597"/>
              <a:gd name="connsiteX1655" fmla="*/ 23915080 w 24377650"/>
              <a:gd name="connsiteY1655" fmla="*/ 2667615 h 8304597"/>
              <a:gd name="connsiteX1656" fmla="*/ 23890400 w 24377650"/>
              <a:gd name="connsiteY1656" fmla="*/ 2667615 h 8304597"/>
              <a:gd name="connsiteX1657" fmla="*/ 23838028 w 24377650"/>
              <a:gd name="connsiteY1657" fmla="*/ 2667615 h 8304597"/>
              <a:gd name="connsiteX1658" fmla="*/ 24029050 w 24377650"/>
              <a:gd name="connsiteY1658" fmla="*/ 2590572 h 8304597"/>
              <a:gd name="connsiteX1659" fmla="*/ 24104496 w 24377650"/>
              <a:gd name="connsiteY1659" fmla="*/ 2590572 h 8304597"/>
              <a:gd name="connsiteX1660" fmla="*/ 24029050 w 24377650"/>
              <a:gd name="connsiteY1660" fmla="*/ 2553655 h 8304597"/>
              <a:gd name="connsiteX1661" fmla="*/ 24220074 w 24377650"/>
              <a:gd name="connsiteY1661" fmla="*/ 2515134 h 8304597"/>
              <a:gd name="connsiteX1662" fmla="*/ 24334046 w 24377650"/>
              <a:gd name="connsiteY1662" fmla="*/ 2553655 h 8304597"/>
              <a:gd name="connsiteX1663" fmla="*/ 24372570 w 24377650"/>
              <a:gd name="connsiteY1663" fmla="*/ 2476612 h 8304597"/>
              <a:gd name="connsiteX1664" fmla="*/ 24377650 w 24377650"/>
              <a:gd name="connsiteY1664" fmla="*/ 2479068 h 8304597"/>
              <a:gd name="connsiteX1665" fmla="*/ 24377650 w 24377650"/>
              <a:gd name="connsiteY1665" fmla="*/ 2783205 h 8304597"/>
              <a:gd name="connsiteX1666" fmla="*/ 24319398 w 24377650"/>
              <a:gd name="connsiteY1666" fmla="*/ 2786189 h 8304597"/>
              <a:gd name="connsiteX1667" fmla="*/ 24256994 w 24377650"/>
              <a:gd name="connsiteY1667" fmla="*/ 2818491 h 8304597"/>
              <a:gd name="connsiteX1668" fmla="*/ 24348292 w 24377650"/>
              <a:gd name="connsiteY1668" fmla="*/ 2813876 h 8304597"/>
              <a:gd name="connsiteX1669" fmla="*/ 24377650 w 24377650"/>
              <a:gd name="connsiteY1669" fmla="*/ 2804016 h 8304597"/>
              <a:gd name="connsiteX1670" fmla="*/ 24377650 w 24377650"/>
              <a:gd name="connsiteY1670" fmla="*/ 2901489 h 8304597"/>
              <a:gd name="connsiteX1671" fmla="*/ 24377312 w 24377650"/>
              <a:gd name="connsiteY1671" fmla="*/ 2901553 h 8304597"/>
              <a:gd name="connsiteX1672" fmla="*/ 24372570 w 24377650"/>
              <a:gd name="connsiteY1672" fmla="*/ 2934055 h 8304597"/>
              <a:gd name="connsiteX1673" fmla="*/ 23952000 w 24377650"/>
              <a:gd name="connsiteY1673" fmla="*/ 2970972 h 8304597"/>
              <a:gd name="connsiteX1674" fmla="*/ 23952000 w 24377650"/>
              <a:gd name="connsiteY1674" fmla="*/ 3009493 h 8304597"/>
              <a:gd name="connsiteX1675" fmla="*/ 23762582 w 24377650"/>
              <a:gd name="connsiteY1675" fmla="*/ 3009493 h 8304597"/>
              <a:gd name="connsiteX1676" fmla="*/ 23838028 w 24377650"/>
              <a:gd name="connsiteY1676" fmla="*/ 3086536 h 8304597"/>
              <a:gd name="connsiteX1677" fmla="*/ 23724056 w 24377650"/>
              <a:gd name="connsiteY1677" fmla="*/ 3123453 h 8304597"/>
              <a:gd name="connsiteX1678" fmla="*/ 23876554 w 24377650"/>
              <a:gd name="connsiteY1678" fmla="*/ 3123453 h 8304597"/>
              <a:gd name="connsiteX1679" fmla="*/ 23915080 w 24377650"/>
              <a:gd name="connsiteY1679" fmla="*/ 3163579 h 8304597"/>
              <a:gd name="connsiteX1680" fmla="*/ 23762582 w 24377650"/>
              <a:gd name="connsiteY1680" fmla="*/ 3239017 h 8304597"/>
              <a:gd name="connsiteX1681" fmla="*/ 23799502 w 24377650"/>
              <a:gd name="connsiteY1681" fmla="*/ 3239017 h 8304597"/>
              <a:gd name="connsiteX1682" fmla="*/ 23952000 w 24377650"/>
              <a:gd name="connsiteY1682" fmla="*/ 3200495 h 8304597"/>
              <a:gd name="connsiteX1683" fmla="*/ 24220074 w 24377650"/>
              <a:gd name="connsiteY1683" fmla="*/ 3200495 h 8304597"/>
              <a:gd name="connsiteX1684" fmla="*/ 24334046 w 24377650"/>
              <a:gd name="connsiteY1684" fmla="*/ 3275933 h 8304597"/>
              <a:gd name="connsiteX1685" fmla="*/ 24364062 w 24377650"/>
              <a:gd name="connsiteY1685" fmla="*/ 3266908 h 8304597"/>
              <a:gd name="connsiteX1686" fmla="*/ 24377650 w 24377650"/>
              <a:gd name="connsiteY1686" fmla="*/ 3266294 h 8304597"/>
              <a:gd name="connsiteX1687" fmla="*/ 24377650 w 24377650"/>
              <a:gd name="connsiteY1687" fmla="*/ 3532006 h 8304597"/>
              <a:gd name="connsiteX1688" fmla="*/ 24363892 w 24377650"/>
              <a:gd name="connsiteY1688" fmla="*/ 3527728 h 8304597"/>
              <a:gd name="connsiteX1689" fmla="*/ 24334046 w 24377650"/>
              <a:gd name="connsiteY1689" fmla="*/ 3505457 h 8304597"/>
              <a:gd name="connsiteX1690" fmla="*/ 24295520 w 24377650"/>
              <a:gd name="connsiteY1690" fmla="*/ 3543979 h 8304597"/>
              <a:gd name="connsiteX1691" fmla="*/ 24067576 w 24377650"/>
              <a:gd name="connsiteY1691" fmla="*/ 3505457 h 8304597"/>
              <a:gd name="connsiteX1692" fmla="*/ 23915080 w 24377650"/>
              <a:gd name="connsiteY1692" fmla="*/ 3543979 h 8304597"/>
              <a:gd name="connsiteX1693" fmla="*/ 23952000 w 24377650"/>
              <a:gd name="connsiteY1693" fmla="*/ 3621022 h 8304597"/>
              <a:gd name="connsiteX1694" fmla="*/ 24104496 w 24377650"/>
              <a:gd name="connsiteY1694" fmla="*/ 3657939 h 8304597"/>
              <a:gd name="connsiteX1695" fmla="*/ 24104496 w 24377650"/>
              <a:gd name="connsiteY1695" fmla="*/ 3773503 h 8304597"/>
              <a:gd name="connsiteX1696" fmla="*/ 24372570 w 24377650"/>
              <a:gd name="connsiteY1696" fmla="*/ 3733377 h 8304597"/>
              <a:gd name="connsiteX1697" fmla="*/ 24143022 w 24377650"/>
              <a:gd name="connsiteY1697" fmla="*/ 3810420 h 8304597"/>
              <a:gd name="connsiteX1698" fmla="*/ 23990526 w 24377650"/>
              <a:gd name="connsiteY1698" fmla="*/ 3773503 h 8304597"/>
              <a:gd name="connsiteX1699" fmla="*/ 24295520 w 24377650"/>
              <a:gd name="connsiteY1699" fmla="*/ 4001422 h 8304597"/>
              <a:gd name="connsiteX1700" fmla="*/ 24372570 w 24377650"/>
              <a:gd name="connsiteY1700" fmla="*/ 4001422 h 8304597"/>
              <a:gd name="connsiteX1701" fmla="*/ 24372570 w 24377650"/>
              <a:gd name="connsiteY1701" fmla="*/ 4038339 h 8304597"/>
              <a:gd name="connsiteX1702" fmla="*/ 24377650 w 24377650"/>
              <a:gd name="connsiteY1702" fmla="*/ 4044926 h 8304597"/>
              <a:gd name="connsiteX1703" fmla="*/ 24377650 w 24377650"/>
              <a:gd name="connsiteY1703" fmla="*/ 4056644 h 8304597"/>
              <a:gd name="connsiteX1704" fmla="*/ 24367154 w 24377650"/>
              <a:gd name="connsiteY1704" fmla="*/ 4058402 h 8304597"/>
              <a:gd name="connsiteX1705" fmla="*/ 24334046 w 24377650"/>
              <a:gd name="connsiteY1705" fmla="*/ 4078465 h 8304597"/>
              <a:gd name="connsiteX1706" fmla="*/ 24372472 w 24377650"/>
              <a:gd name="connsiteY1706" fmla="*/ 4079042 h 8304597"/>
              <a:gd name="connsiteX1707" fmla="*/ 24377650 w 24377650"/>
              <a:gd name="connsiteY1707" fmla="*/ 4080563 h 8304597"/>
              <a:gd name="connsiteX1708" fmla="*/ 24377650 w 24377650"/>
              <a:gd name="connsiteY1708" fmla="*/ 5115369 h 8304597"/>
              <a:gd name="connsiteX1709" fmla="*/ 24371768 w 24377650"/>
              <a:gd name="connsiteY1709" fmla="*/ 5113732 h 8304597"/>
              <a:gd name="connsiteX1710" fmla="*/ 24334046 w 24377650"/>
              <a:gd name="connsiteY1710" fmla="*/ 5142623 h 8304597"/>
              <a:gd name="connsiteX1711" fmla="*/ 24362688 w 24377650"/>
              <a:gd name="connsiteY1711" fmla="*/ 5158874 h 8304597"/>
              <a:gd name="connsiteX1712" fmla="*/ 24377650 w 24377650"/>
              <a:gd name="connsiteY1712" fmla="*/ 5157921 h 8304597"/>
              <a:gd name="connsiteX1713" fmla="*/ 24377650 w 24377650"/>
              <a:gd name="connsiteY1713" fmla="*/ 5181144 h 8304597"/>
              <a:gd name="connsiteX1714" fmla="*/ 24371768 w 24377650"/>
              <a:gd name="connsiteY1714" fmla="*/ 5181144 h 8304597"/>
              <a:gd name="connsiteX1715" fmla="*/ 24295520 w 24377650"/>
              <a:gd name="connsiteY1715" fmla="*/ 5181144 h 8304597"/>
              <a:gd name="connsiteX1716" fmla="*/ 24334046 w 24377650"/>
              <a:gd name="connsiteY1716" fmla="*/ 5256582 h 8304597"/>
              <a:gd name="connsiteX1717" fmla="*/ 24256994 w 24377650"/>
              <a:gd name="connsiteY1717" fmla="*/ 5295103 h 8304597"/>
              <a:gd name="connsiteX1718" fmla="*/ 24256994 w 24377650"/>
              <a:gd name="connsiteY1718" fmla="*/ 5370541 h 8304597"/>
              <a:gd name="connsiteX1719" fmla="*/ 24372570 w 24377650"/>
              <a:gd name="connsiteY1719" fmla="*/ 5409063 h 8304597"/>
              <a:gd name="connsiteX1720" fmla="*/ 24377186 w 24377650"/>
              <a:gd name="connsiteY1720" fmla="*/ 5504564 h 8304597"/>
              <a:gd name="connsiteX1721" fmla="*/ 24377650 w 24377650"/>
              <a:gd name="connsiteY1721" fmla="*/ 5506429 h 8304597"/>
              <a:gd name="connsiteX1722" fmla="*/ 24377650 w 24377650"/>
              <a:gd name="connsiteY1722" fmla="*/ 5602784 h 8304597"/>
              <a:gd name="connsiteX1723" fmla="*/ 24353108 w 24377650"/>
              <a:gd name="connsiteY1723" fmla="*/ 5604880 h 8304597"/>
              <a:gd name="connsiteX1724" fmla="*/ 24295520 w 24377650"/>
              <a:gd name="connsiteY1724" fmla="*/ 5638587 h 8304597"/>
              <a:gd name="connsiteX1725" fmla="*/ 24372570 w 24377650"/>
              <a:gd name="connsiteY1725" fmla="*/ 5638587 h 8304597"/>
              <a:gd name="connsiteX1726" fmla="*/ 24377650 w 24377650"/>
              <a:gd name="connsiteY1726" fmla="*/ 5647171 h 8304597"/>
              <a:gd name="connsiteX1727" fmla="*/ 24377650 w 24377650"/>
              <a:gd name="connsiteY1727" fmla="*/ 5655428 h 8304597"/>
              <a:gd name="connsiteX1728" fmla="*/ 24367154 w 24377650"/>
              <a:gd name="connsiteY1728" fmla="*/ 5657045 h 8304597"/>
              <a:gd name="connsiteX1729" fmla="*/ 24334046 w 24377650"/>
              <a:gd name="connsiteY1729" fmla="*/ 5675503 h 8304597"/>
              <a:gd name="connsiteX1730" fmla="*/ 24220074 w 24377650"/>
              <a:gd name="connsiteY1730" fmla="*/ 5714025 h 8304597"/>
              <a:gd name="connsiteX1731" fmla="*/ 24220074 w 24377650"/>
              <a:gd name="connsiteY1731" fmla="*/ 5827985 h 8304597"/>
              <a:gd name="connsiteX1732" fmla="*/ 24181548 w 24377650"/>
              <a:gd name="connsiteY1732" fmla="*/ 5714025 h 8304597"/>
              <a:gd name="connsiteX1733" fmla="*/ 24067576 w 24377650"/>
              <a:gd name="connsiteY1733" fmla="*/ 5827985 h 8304597"/>
              <a:gd name="connsiteX1734" fmla="*/ 24067576 w 24377650"/>
              <a:gd name="connsiteY1734" fmla="*/ 5905027 h 8304597"/>
              <a:gd name="connsiteX1735" fmla="*/ 24143022 w 24377650"/>
              <a:gd name="connsiteY1735" fmla="*/ 5980465 h 8304597"/>
              <a:gd name="connsiteX1736" fmla="*/ 24104496 w 24377650"/>
              <a:gd name="connsiteY1736" fmla="*/ 6018987 h 8304597"/>
              <a:gd name="connsiteX1737" fmla="*/ 24143022 w 24377650"/>
              <a:gd name="connsiteY1737" fmla="*/ 6018987 h 8304597"/>
              <a:gd name="connsiteX1738" fmla="*/ 24104496 w 24377650"/>
              <a:gd name="connsiteY1738" fmla="*/ 6096030 h 8304597"/>
              <a:gd name="connsiteX1739" fmla="*/ 24220074 w 24377650"/>
              <a:gd name="connsiteY1739" fmla="*/ 6057509 h 8304597"/>
              <a:gd name="connsiteX1740" fmla="*/ 24104496 w 24377650"/>
              <a:gd name="connsiteY1740" fmla="*/ 6285427 h 8304597"/>
              <a:gd name="connsiteX1741" fmla="*/ 23990526 w 24377650"/>
              <a:gd name="connsiteY1741" fmla="*/ 6323949 h 8304597"/>
              <a:gd name="connsiteX1742" fmla="*/ 24067576 w 24377650"/>
              <a:gd name="connsiteY1742" fmla="*/ 6362471 h 8304597"/>
              <a:gd name="connsiteX1743" fmla="*/ 23990526 w 24377650"/>
              <a:gd name="connsiteY1743" fmla="*/ 6514951 h 8304597"/>
              <a:gd name="connsiteX1744" fmla="*/ 23990526 w 24377650"/>
              <a:gd name="connsiteY1744" fmla="*/ 6437909 h 8304597"/>
              <a:gd name="connsiteX1745" fmla="*/ 23915080 w 24377650"/>
              <a:gd name="connsiteY1745" fmla="*/ 6476430 h 8304597"/>
              <a:gd name="connsiteX1746" fmla="*/ 23990526 w 24377650"/>
              <a:gd name="connsiteY1746" fmla="*/ 6362471 h 8304597"/>
              <a:gd name="connsiteX1747" fmla="*/ 23915080 w 24377650"/>
              <a:gd name="connsiteY1747" fmla="*/ 6171468 h 8304597"/>
              <a:gd name="connsiteX1748" fmla="*/ 23805120 w 24377650"/>
              <a:gd name="connsiteY1748" fmla="*/ 6171468 h 8304597"/>
              <a:gd name="connsiteX1749" fmla="*/ 23762582 w 24377650"/>
              <a:gd name="connsiteY1749" fmla="*/ 6171468 h 8304597"/>
              <a:gd name="connsiteX1750" fmla="*/ 23685530 w 24377650"/>
              <a:gd name="connsiteY1750" fmla="*/ 6248511 h 8304597"/>
              <a:gd name="connsiteX1751" fmla="*/ 23647006 w 24377650"/>
              <a:gd name="connsiteY1751" fmla="*/ 6248511 h 8304597"/>
              <a:gd name="connsiteX1752" fmla="*/ 23647006 w 24377650"/>
              <a:gd name="connsiteY1752" fmla="*/ 6323949 h 8304597"/>
              <a:gd name="connsiteX1753" fmla="*/ 23571560 w 24377650"/>
              <a:gd name="connsiteY1753" fmla="*/ 6323949 h 8304597"/>
              <a:gd name="connsiteX1754" fmla="*/ 23228040 w 24377650"/>
              <a:gd name="connsiteY1754" fmla="*/ 6323949 h 8304597"/>
              <a:gd name="connsiteX1755" fmla="*/ 23152594 w 24377650"/>
              <a:gd name="connsiteY1755" fmla="*/ 6285427 h 8304597"/>
              <a:gd name="connsiteX1756" fmla="*/ 23152594 w 24377650"/>
              <a:gd name="connsiteY1756" fmla="*/ 6209989 h 8304597"/>
              <a:gd name="connsiteX1757" fmla="*/ 23305090 w 24377650"/>
              <a:gd name="connsiteY1757" fmla="*/ 6209989 h 8304597"/>
              <a:gd name="connsiteX1758" fmla="*/ 23189514 w 24377650"/>
              <a:gd name="connsiteY1758" fmla="*/ 6171468 h 8304597"/>
              <a:gd name="connsiteX1759" fmla="*/ 23000096 w 24377650"/>
              <a:gd name="connsiteY1759" fmla="*/ 6209989 h 8304597"/>
              <a:gd name="connsiteX1760" fmla="*/ 23114068 w 24377650"/>
              <a:gd name="connsiteY1760" fmla="*/ 6285427 h 8304597"/>
              <a:gd name="connsiteX1761" fmla="*/ 22923044 w 24377650"/>
              <a:gd name="connsiteY1761" fmla="*/ 6285427 h 8304597"/>
              <a:gd name="connsiteX1762" fmla="*/ 23037016 w 24377650"/>
              <a:gd name="connsiteY1762" fmla="*/ 6285427 h 8304597"/>
              <a:gd name="connsiteX1763" fmla="*/ 23075542 w 24377650"/>
              <a:gd name="connsiteY1763" fmla="*/ 6362471 h 8304597"/>
              <a:gd name="connsiteX1764" fmla="*/ 23000096 w 24377650"/>
              <a:gd name="connsiteY1764" fmla="*/ 6323949 h 8304597"/>
              <a:gd name="connsiteX1765" fmla="*/ 22961570 w 24377650"/>
              <a:gd name="connsiteY1765" fmla="*/ 6362471 h 8304597"/>
              <a:gd name="connsiteX1766" fmla="*/ 23075542 w 24377650"/>
              <a:gd name="connsiteY1766" fmla="*/ 6437909 h 8304597"/>
              <a:gd name="connsiteX1767" fmla="*/ 22961570 w 24377650"/>
              <a:gd name="connsiteY1767" fmla="*/ 6476430 h 8304597"/>
              <a:gd name="connsiteX1768" fmla="*/ 22961570 w 24377650"/>
              <a:gd name="connsiteY1768" fmla="*/ 6514951 h 8304597"/>
              <a:gd name="connsiteX1769" fmla="*/ 23037016 w 24377650"/>
              <a:gd name="connsiteY1769" fmla="*/ 6514951 h 8304597"/>
              <a:gd name="connsiteX1770" fmla="*/ 22847598 w 24377650"/>
              <a:gd name="connsiteY1770" fmla="*/ 6514951 h 8304597"/>
              <a:gd name="connsiteX1771" fmla="*/ 22923044 w 24377650"/>
              <a:gd name="connsiteY1771" fmla="*/ 6553473 h 8304597"/>
              <a:gd name="connsiteX1772" fmla="*/ 22923044 w 24377650"/>
              <a:gd name="connsiteY1772" fmla="*/ 6590389 h 8304597"/>
              <a:gd name="connsiteX1773" fmla="*/ 22884520 w 24377650"/>
              <a:gd name="connsiteY1773" fmla="*/ 6553473 h 8304597"/>
              <a:gd name="connsiteX1774" fmla="*/ 22770548 w 24377650"/>
              <a:gd name="connsiteY1774" fmla="*/ 6590389 h 8304597"/>
              <a:gd name="connsiteX1775" fmla="*/ 22770548 w 24377650"/>
              <a:gd name="connsiteY1775" fmla="*/ 6553473 h 8304597"/>
              <a:gd name="connsiteX1776" fmla="*/ 22542604 w 24377650"/>
              <a:gd name="connsiteY1776" fmla="*/ 6514951 h 8304597"/>
              <a:gd name="connsiteX1777" fmla="*/ 22656576 w 24377650"/>
              <a:gd name="connsiteY1777" fmla="*/ 6628911 h 8304597"/>
              <a:gd name="connsiteX1778" fmla="*/ 22770548 w 24377650"/>
              <a:gd name="connsiteY1778" fmla="*/ 6667433 h 8304597"/>
              <a:gd name="connsiteX1779" fmla="*/ 22770548 w 24377650"/>
              <a:gd name="connsiteY1779" fmla="*/ 6781392 h 8304597"/>
              <a:gd name="connsiteX1780" fmla="*/ 22656576 w 24377650"/>
              <a:gd name="connsiteY1780" fmla="*/ 6742871 h 8304597"/>
              <a:gd name="connsiteX1781" fmla="*/ 22732022 w 24377650"/>
              <a:gd name="connsiteY1781" fmla="*/ 6704349 h 8304597"/>
              <a:gd name="connsiteX1782" fmla="*/ 22695102 w 24377650"/>
              <a:gd name="connsiteY1782" fmla="*/ 6667433 h 8304597"/>
              <a:gd name="connsiteX1783" fmla="*/ 22618050 w 24377650"/>
              <a:gd name="connsiteY1783" fmla="*/ 6628911 h 8304597"/>
              <a:gd name="connsiteX1784" fmla="*/ 22465554 w 24377650"/>
              <a:gd name="connsiteY1784" fmla="*/ 6590389 h 8304597"/>
              <a:gd name="connsiteX1785" fmla="*/ 22390108 w 24377650"/>
              <a:gd name="connsiteY1785" fmla="*/ 6437909 h 8304597"/>
              <a:gd name="connsiteX1786" fmla="*/ 22504078 w 24377650"/>
              <a:gd name="connsiteY1786" fmla="*/ 6362471 h 8304597"/>
              <a:gd name="connsiteX1787" fmla="*/ 22465554 w 24377650"/>
              <a:gd name="connsiteY1787" fmla="*/ 6362471 h 8304597"/>
              <a:gd name="connsiteX1788" fmla="*/ 22465554 w 24377650"/>
              <a:gd name="connsiteY1788" fmla="*/ 6285427 h 8304597"/>
              <a:gd name="connsiteX1789" fmla="*/ 22618050 w 24377650"/>
              <a:gd name="connsiteY1789" fmla="*/ 6285427 h 8304597"/>
              <a:gd name="connsiteX1790" fmla="*/ 22579524 w 24377650"/>
              <a:gd name="connsiteY1790" fmla="*/ 6362471 h 8304597"/>
              <a:gd name="connsiteX1791" fmla="*/ 22847598 w 24377650"/>
              <a:gd name="connsiteY1791" fmla="*/ 6285427 h 8304597"/>
              <a:gd name="connsiteX1792" fmla="*/ 22618050 w 24377650"/>
              <a:gd name="connsiteY1792" fmla="*/ 6248511 h 8304597"/>
              <a:gd name="connsiteX1793" fmla="*/ 22695102 w 24377650"/>
              <a:gd name="connsiteY1793" fmla="*/ 6248511 h 8304597"/>
              <a:gd name="connsiteX1794" fmla="*/ 22618050 w 24377650"/>
              <a:gd name="connsiteY1794" fmla="*/ 6171468 h 8304597"/>
              <a:gd name="connsiteX1795" fmla="*/ 22579524 w 24377650"/>
              <a:gd name="connsiteY1795" fmla="*/ 6248511 h 8304597"/>
              <a:gd name="connsiteX1796" fmla="*/ 22427028 w 24377650"/>
              <a:gd name="connsiteY1796" fmla="*/ 6096030 h 8304597"/>
              <a:gd name="connsiteX1797" fmla="*/ 22274530 w 24377650"/>
              <a:gd name="connsiteY1797" fmla="*/ 6096030 h 8304597"/>
              <a:gd name="connsiteX1798" fmla="*/ 22274530 w 24377650"/>
              <a:gd name="connsiteY1798" fmla="*/ 5980465 h 8304597"/>
              <a:gd name="connsiteX1799" fmla="*/ 22200262 w 24377650"/>
              <a:gd name="connsiteY1799" fmla="*/ 6012968 h 8304597"/>
              <a:gd name="connsiteX1800" fmla="*/ 22199084 w 24377650"/>
              <a:gd name="connsiteY1800" fmla="*/ 6013147 h 8304597"/>
              <a:gd name="connsiteX1801" fmla="*/ 22199084 w 24377650"/>
              <a:gd name="connsiteY1801" fmla="*/ 5996717 h 8304597"/>
              <a:gd name="connsiteX1802" fmla="*/ 22199084 w 24377650"/>
              <a:gd name="connsiteY1802" fmla="*/ 5980465 h 8304597"/>
              <a:gd name="connsiteX1803" fmla="*/ 22085112 w 24377650"/>
              <a:gd name="connsiteY1803" fmla="*/ 5980465 h 8304597"/>
              <a:gd name="connsiteX1804" fmla="*/ 22008062 w 24377650"/>
              <a:gd name="connsiteY1804" fmla="*/ 5905027 h 8304597"/>
              <a:gd name="connsiteX1805" fmla="*/ 22008062 w 24377650"/>
              <a:gd name="connsiteY1805" fmla="*/ 5980465 h 8304597"/>
              <a:gd name="connsiteX1806" fmla="*/ 22148244 w 24377650"/>
              <a:gd name="connsiteY1806" fmla="*/ 6012968 h 8304597"/>
              <a:gd name="connsiteX1807" fmla="*/ 22177452 w 24377650"/>
              <a:gd name="connsiteY1807" fmla="*/ 6016426 h 8304597"/>
              <a:gd name="connsiteX1808" fmla="*/ 22160558 w 24377650"/>
              <a:gd name="connsiteY1808" fmla="*/ 6018987 h 8304597"/>
              <a:gd name="connsiteX1809" fmla="*/ 22199084 w 24377650"/>
              <a:gd name="connsiteY1809" fmla="*/ 6132947 h 8304597"/>
              <a:gd name="connsiteX1810" fmla="*/ 22123638 w 24377650"/>
              <a:gd name="connsiteY1810" fmla="*/ 6171468 h 8304597"/>
              <a:gd name="connsiteX1811" fmla="*/ 22085112 w 24377650"/>
              <a:gd name="connsiteY1811" fmla="*/ 6057509 h 8304597"/>
              <a:gd name="connsiteX1812" fmla="*/ 21855564 w 24377650"/>
              <a:gd name="connsiteY1812" fmla="*/ 6096030 h 8304597"/>
              <a:gd name="connsiteX1813" fmla="*/ 21971142 w 24377650"/>
              <a:gd name="connsiteY1813" fmla="*/ 6132947 h 8304597"/>
              <a:gd name="connsiteX1814" fmla="*/ 21971142 w 24377650"/>
              <a:gd name="connsiteY1814" fmla="*/ 6171468 h 8304597"/>
              <a:gd name="connsiteX1815" fmla="*/ 21741594 w 24377650"/>
              <a:gd name="connsiteY1815" fmla="*/ 6171468 h 8304597"/>
              <a:gd name="connsiteX1816" fmla="*/ 21780118 w 24377650"/>
              <a:gd name="connsiteY1816" fmla="*/ 6248511 h 8304597"/>
              <a:gd name="connsiteX1817" fmla="*/ 21627622 w 24377650"/>
              <a:gd name="connsiteY1817" fmla="*/ 6285427 h 8304597"/>
              <a:gd name="connsiteX1818" fmla="*/ 21666148 w 24377650"/>
              <a:gd name="connsiteY1818" fmla="*/ 6323949 h 8304597"/>
              <a:gd name="connsiteX1819" fmla="*/ 21513650 w 24377650"/>
              <a:gd name="connsiteY1819" fmla="*/ 6323949 h 8304597"/>
              <a:gd name="connsiteX1820" fmla="*/ 21589096 w 24377650"/>
              <a:gd name="connsiteY1820" fmla="*/ 6437909 h 8304597"/>
              <a:gd name="connsiteX1821" fmla="*/ 21666148 w 24377650"/>
              <a:gd name="connsiteY1821" fmla="*/ 6400992 h 8304597"/>
              <a:gd name="connsiteX1822" fmla="*/ 21666148 w 24377650"/>
              <a:gd name="connsiteY1822" fmla="*/ 6476430 h 8304597"/>
              <a:gd name="connsiteX1823" fmla="*/ 21589096 w 24377650"/>
              <a:gd name="connsiteY1823" fmla="*/ 6514951 h 8304597"/>
              <a:gd name="connsiteX1824" fmla="*/ 21666148 w 24377650"/>
              <a:gd name="connsiteY1824" fmla="*/ 6553473 h 8304597"/>
              <a:gd name="connsiteX1825" fmla="*/ 21627622 w 24377650"/>
              <a:gd name="connsiteY1825" fmla="*/ 6628911 h 8304597"/>
              <a:gd name="connsiteX1826" fmla="*/ 21780118 w 24377650"/>
              <a:gd name="connsiteY1826" fmla="*/ 6553473 h 8304597"/>
              <a:gd name="connsiteX1827" fmla="*/ 21795694 w 24377650"/>
              <a:gd name="connsiteY1827" fmla="*/ 6633375 h 8304597"/>
              <a:gd name="connsiteX1828" fmla="*/ 21795112 w 24377650"/>
              <a:gd name="connsiteY1828" fmla="*/ 6633474 h 8304597"/>
              <a:gd name="connsiteX1829" fmla="*/ 21741594 w 24377650"/>
              <a:gd name="connsiteY1829" fmla="*/ 6628911 h 8304597"/>
              <a:gd name="connsiteX1830" fmla="*/ 21775972 w 24377650"/>
              <a:gd name="connsiteY1830" fmla="*/ 6636730 h 8304597"/>
              <a:gd name="connsiteX1831" fmla="*/ 21795112 w 24377650"/>
              <a:gd name="connsiteY1831" fmla="*/ 6633474 h 8304597"/>
              <a:gd name="connsiteX1832" fmla="*/ 21805126 w 24377650"/>
              <a:gd name="connsiteY1832" fmla="*/ 6634328 h 8304597"/>
              <a:gd name="connsiteX1833" fmla="*/ 22008062 w 24377650"/>
              <a:gd name="connsiteY1833" fmla="*/ 6628911 h 8304597"/>
              <a:gd name="connsiteX1834" fmla="*/ 22123638 w 24377650"/>
              <a:gd name="connsiteY1834" fmla="*/ 6704349 h 8304597"/>
              <a:gd name="connsiteX1835" fmla="*/ 22015962 w 24377650"/>
              <a:gd name="connsiteY1835" fmla="*/ 6688775 h 8304597"/>
              <a:gd name="connsiteX1836" fmla="*/ 21979770 w 24377650"/>
              <a:gd name="connsiteY1836" fmla="*/ 6701351 h 8304597"/>
              <a:gd name="connsiteX1837" fmla="*/ 21971142 w 24377650"/>
              <a:gd name="connsiteY1837" fmla="*/ 6701105 h 8304597"/>
              <a:gd name="connsiteX1838" fmla="*/ 21971142 w 24377650"/>
              <a:gd name="connsiteY1838" fmla="*/ 6699734 h 8304597"/>
              <a:gd name="connsiteX1839" fmla="*/ 21971142 w 24377650"/>
              <a:gd name="connsiteY1839" fmla="*/ 6667433 h 8304597"/>
              <a:gd name="connsiteX1840" fmla="*/ 21818644 w 24377650"/>
              <a:gd name="connsiteY1840" fmla="*/ 6667433 h 8304597"/>
              <a:gd name="connsiteX1841" fmla="*/ 21922984 w 24377650"/>
              <a:gd name="connsiteY1841" fmla="*/ 6699734 h 8304597"/>
              <a:gd name="connsiteX1842" fmla="*/ 21971142 w 24377650"/>
              <a:gd name="connsiteY1842" fmla="*/ 6701105 h 8304597"/>
              <a:gd name="connsiteX1843" fmla="*/ 21971142 w 24377650"/>
              <a:gd name="connsiteY1843" fmla="*/ 6704349 h 8304597"/>
              <a:gd name="connsiteX1844" fmla="*/ 21979770 w 24377650"/>
              <a:gd name="connsiteY1844" fmla="*/ 6701351 h 8304597"/>
              <a:gd name="connsiteX1845" fmla="*/ 22085112 w 24377650"/>
              <a:gd name="connsiteY1845" fmla="*/ 6704349 h 8304597"/>
              <a:gd name="connsiteX1846" fmla="*/ 22085112 w 24377650"/>
              <a:gd name="connsiteY1846" fmla="*/ 6742871 h 8304597"/>
              <a:gd name="connsiteX1847" fmla="*/ 22046588 w 24377650"/>
              <a:gd name="connsiteY1847" fmla="*/ 6742871 h 8304597"/>
              <a:gd name="connsiteX1848" fmla="*/ 22085112 w 24377650"/>
              <a:gd name="connsiteY1848" fmla="*/ 6781392 h 8304597"/>
              <a:gd name="connsiteX1849" fmla="*/ 22046588 w 24377650"/>
              <a:gd name="connsiteY1849" fmla="*/ 6819913 h 8304597"/>
              <a:gd name="connsiteX1850" fmla="*/ 21894090 w 24377650"/>
              <a:gd name="connsiteY1850" fmla="*/ 6781392 h 8304597"/>
              <a:gd name="connsiteX1851" fmla="*/ 21971142 w 24377650"/>
              <a:gd name="connsiteY1851" fmla="*/ 6742871 h 8304597"/>
              <a:gd name="connsiteX1852" fmla="*/ 21780118 w 24377650"/>
              <a:gd name="connsiteY1852" fmla="*/ 6781392 h 8304597"/>
              <a:gd name="connsiteX1853" fmla="*/ 21780118 w 24377650"/>
              <a:gd name="connsiteY1853" fmla="*/ 6819913 h 8304597"/>
              <a:gd name="connsiteX1854" fmla="*/ 21780118 w 24377650"/>
              <a:gd name="connsiteY1854" fmla="*/ 6895351 h 8304597"/>
              <a:gd name="connsiteX1855" fmla="*/ 21894090 w 24377650"/>
              <a:gd name="connsiteY1855" fmla="*/ 6895351 h 8304597"/>
              <a:gd name="connsiteX1856" fmla="*/ 21894090 w 24377650"/>
              <a:gd name="connsiteY1856" fmla="*/ 6933873 h 8304597"/>
              <a:gd name="connsiteX1857" fmla="*/ 22046588 w 24377650"/>
              <a:gd name="connsiteY1857" fmla="*/ 6856830 h 8304597"/>
              <a:gd name="connsiteX1858" fmla="*/ 22123638 w 24377650"/>
              <a:gd name="connsiteY1858" fmla="*/ 6895351 h 8304597"/>
              <a:gd name="connsiteX1859" fmla="*/ 22046588 w 24377650"/>
              <a:gd name="connsiteY1859" fmla="*/ 6895351 h 8304597"/>
              <a:gd name="connsiteX1860" fmla="*/ 22085112 w 24377650"/>
              <a:gd name="connsiteY1860" fmla="*/ 6972395 h 8304597"/>
              <a:gd name="connsiteX1861" fmla="*/ 22123638 w 24377650"/>
              <a:gd name="connsiteY1861" fmla="*/ 7161792 h 8304597"/>
              <a:gd name="connsiteX1862" fmla="*/ 22008062 w 24377650"/>
              <a:gd name="connsiteY1862" fmla="*/ 7086354 h 8304597"/>
              <a:gd name="connsiteX1863" fmla="*/ 22008062 w 24377650"/>
              <a:gd name="connsiteY1863" fmla="*/ 7161792 h 8304597"/>
              <a:gd name="connsiteX1864" fmla="*/ 21855564 w 24377650"/>
              <a:gd name="connsiteY1864" fmla="*/ 7124875 h 8304597"/>
              <a:gd name="connsiteX1865" fmla="*/ 21932616 w 24377650"/>
              <a:gd name="connsiteY1865" fmla="*/ 7086354 h 8304597"/>
              <a:gd name="connsiteX1866" fmla="*/ 21894090 w 24377650"/>
              <a:gd name="connsiteY1866" fmla="*/ 7047833 h 8304597"/>
              <a:gd name="connsiteX1867" fmla="*/ 21818644 w 24377650"/>
              <a:gd name="connsiteY1867" fmla="*/ 7124875 h 8304597"/>
              <a:gd name="connsiteX1868" fmla="*/ 21818644 w 24377650"/>
              <a:gd name="connsiteY1868" fmla="*/ 7047833 h 8304597"/>
              <a:gd name="connsiteX1869" fmla="*/ 21741594 w 24377650"/>
              <a:gd name="connsiteY1869" fmla="*/ 7047833 h 8304597"/>
              <a:gd name="connsiteX1870" fmla="*/ 21550570 w 24377650"/>
              <a:gd name="connsiteY1870" fmla="*/ 6933873 h 8304597"/>
              <a:gd name="connsiteX1871" fmla="*/ 21589096 w 24377650"/>
              <a:gd name="connsiteY1871" fmla="*/ 6895351 h 8304597"/>
              <a:gd name="connsiteX1872" fmla="*/ 21436598 w 24377650"/>
              <a:gd name="connsiteY1872" fmla="*/ 6819913 h 8304597"/>
              <a:gd name="connsiteX1873" fmla="*/ 21550570 w 24377650"/>
              <a:gd name="connsiteY1873" fmla="*/ 6781392 h 8304597"/>
              <a:gd name="connsiteX1874" fmla="*/ 21666148 w 24377650"/>
              <a:gd name="connsiteY1874" fmla="*/ 6819913 h 8304597"/>
              <a:gd name="connsiteX1875" fmla="*/ 21398074 w 24377650"/>
              <a:gd name="connsiteY1875" fmla="*/ 6667433 h 8304597"/>
              <a:gd name="connsiteX1876" fmla="*/ 21450846 w 24377650"/>
              <a:gd name="connsiteY1876" fmla="*/ 6633726 h 8304597"/>
              <a:gd name="connsiteX1877" fmla="*/ 21475124 w 24377650"/>
              <a:gd name="connsiteY1877" fmla="*/ 6632030 h 8304597"/>
              <a:gd name="connsiteX1878" fmla="*/ 21475124 w 24377650"/>
              <a:gd name="connsiteY1878" fmla="*/ 6651758 h 8304597"/>
              <a:gd name="connsiteX1879" fmla="*/ 21475124 w 24377650"/>
              <a:gd name="connsiteY1879" fmla="*/ 6704349 h 8304597"/>
              <a:gd name="connsiteX1880" fmla="*/ 21627622 w 24377650"/>
              <a:gd name="connsiteY1880" fmla="*/ 6667433 h 8304597"/>
              <a:gd name="connsiteX1881" fmla="*/ 21519946 w 24377650"/>
              <a:gd name="connsiteY1881" fmla="*/ 6634930 h 8304597"/>
              <a:gd name="connsiteX1882" fmla="*/ 21490406 w 24377650"/>
              <a:gd name="connsiteY1882" fmla="*/ 6630963 h 8304597"/>
              <a:gd name="connsiteX1883" fmla="*/ 21511168 w 24377650"/>
              <a:gd name="connsiteY1883" fmla="*/ 6629513 h 8304597"/>
              <a:gd name="connsiteX1884" fmla="*/ 21589096 w 24377650"/>
              <a:gd name="connsiteY1884" fmla="*/ 6628911 h 8304597"/>
              <a:gd name="connsiteX1885" fmla="*/ 21627622 w 24377650"/>
              <a:gd name="connsiteY1885" fmla="*/ 6590389 h 8304597"/>
              <a:gd name="connsiteX1886" fmla="*/ 21550570 w 24377650"/>
              <a:gd name="connsiteY1886" fmla="*/ 6590389 h 8304597"/>
              <a:gd name="connsiteX1887" fmla="*/ 21398074 w 24377650"/>
              <a:gd name="connsiteY1887" fmla="*/ 6553473 h 8304597"/>
              <a:gd name="connsiteX1888" fmla="*/ 21409134 w 24377650"/>
              <a:gd name="connsiteY1888" fmla="*/ 6547454 h 8304597"/>
              <a:gd name="connsiteX1889" fmla="*/ 21406910 w 24377650"/>
              <a:gd name="connsiteY1889" fmla="*/ 6544638 h 8304597"/>
              <a:gd name="connsiteX1890" fmla="*/ 21436598 w 24377650"/>
              <a:gd name="connsiteY1890" fmla="*/ 6514951 h 8304597"/>
              <a:gd name="connsiteX1891" fmla="*/ 21398074 w 24377650"/>
              <a:gd name="connsiteY1891" fmla="*/ 6514951 h 8304597"/>
              <a:gd name="connsiteX1892" fmla="*/ 21398674 w 24377650"/>
              <a:gd name="connsiteY1892" fmla="*/ 6534212 h 8304597"/>
              <a:gd name="connsiteX1893" fmla="*/ 21406910 w 24377650"/>
              <a:gd name="connsiteY1893" fmla="*/ 6544638 h 8304597"/>
              <a:gd name="connsiteX1894" fmla="*/ 21398074 w 24377650"/>
              <a:gd name="connsiteY1894" fmla="*/ 6553473 h 8304597"/>
              <a:gd name="connsiteX1895" fmla="*/ 21093078 w 24377650"/>
              <a:gd name="connsiteY1895" fmla="*/ 6553473 h 8304597"/>
              <a:gd name="connsiteX1896" fmla="*/ 21056158 w 24377650"/>
              <a:gd name="connsiteY1896" fmla="*/ 6514951 h 8304597"/>
              <a:gd name="connsiteX1897" fmla="*/ 20828216 w 24377650"/>
              <a:gd name="connsiteY1897" fmla="*/ 6514951 h 8304597"/>
              <a:gd name="connsiteX1898" fmla="*/ 21093078 w 24377650"/>
              <a:gd name="connsiteY1898" fmla="*/ 6400992 h 8304597"/>
              <a:gd name="connsiteX1899" fmla="*/ 21245576 w 24377650"/>
              <a:gd name="connsiteY1899" fmla="*/ 6362471 h 8304597"/>
              <a:gd name="connsiteX1900" fmla="*/ 21208656 w 24377650"/>
              <a:gd name="connsiteY1900" fmla="*/ 6323949 h 8304597"/>
              <a:gd name="connsiteX1901" fmla="*/ 21017632 w 24377650"/>
              <a:gd name="connsiteY1901" fmla="*/ 6362471 h 8304597"/>
              <a:gd name="connsiteX1902" fmla="*/ 20940582 w 24377650"/>
              <a:gd name="connsiteY1902" fmla="*/ 6323949 h 8304597"/>
              <a:gd name="connsiteX1903" fmla="*/ 20980712 w 24377650"/>
              <a:gd name="connsiteY1903" fmla="*/ 6285427 h 8304597"/>
              <a:gd name="connsiteX1904" fmla="*/ 20903662 w 24377650"/>
              <a:gd name="connsiteY1904" fmla="*/ 6209989 h 8304597"/>
              <a:gd name="connsiteX1905" fmla="*/ 20712638 w 24377650"/>
              <a:gd name="connsiteY1905" fmla="*/ 6362471 h 8304597"/>
              <a:gd name="connsiteX1906" fmla="*/ 20675718 w 24377650"/>
              <a:gd name="connsiteY1906" fmla="*/ 6323949 h 8304597"/>
              <a:gd name="connsiteX1907" fmla="*/ 20446170 w 24377650"/>
              <a:gd name="connsiteY1907" fmla="*/ 6400992 h 8304597"/>
              <a:gd name="connsiteX1908" fmla="*/ 20483090 w 24377650"/>
              <a:gd name="connsiteY1908" fmla="*/ 6437909 h 8304597"/>
              <a:gd name="connsiteX1909" fmla="*/ 20407644 w 24377650"/>
              <a:gd name="connsiteY1909" fmla="*/ 6590389 h 8304597"/>
              <a:gd name="connsiteX1910" fmla="*/ 20293672 w 24377650"/>
              <a:gd name="connsiteY1910" fmla="*/ 6476430 h 8304597"/>
              <a:gd name="connsiteX1911" fmla="*/ 20370724 w 24377650"/>
              <a:gd name="connsiteY1911" fmla="*/ 6476430 h 8304597"/>
              <a:gd name="connsiteX1912" fmla="*/ 20293672 w 24377650"/>
              <a:gd name="connsiteY1912" fmla="*/ 6400992 h 8304597"/>
              <a:gd name="connsiteX1913" fmla="*/ 20370724 w 24377650"/>
              <a:gd name="connsiteY1913" fmla="*/ 6400992 h 8304597"/>
              <a:gd name="connsiteX1914" fmla="*/ 20370724 w 24377650"/>
              <a:gd name="connsiteY1914" fmla="*/ 6285427 h 8304597"/>
              <a:gd name="connsiteX1915" fmla="*/ 20255146 w 24377650"/>
              <a:gd name="connsiteY1915" fmla="*/ 6209989 h 8304597"/>
              <a:gd name="connsiteX1916" fmla="*/ 19950152 w 24377650"/>
              <a:gd name="connsiteY1916" fmla="*/ 6209989 h 8304597"/>
              <a:gd name="connsiteX1917" fmla="*/ 19988678 w 24377650"/>
              <a:gd name="connsiteY1917" fmla="*/ 6285427 h 8304597"/>
              <a:gd name="connsiteX1918" fmla="*/ 19873102 w 24377650"/>
              <a:gd name="connsiteY1918" fmla="*/ 6171468 h 8304597"/>
              <a:gd name="connsiteX1919" fmla="*/ 19873102 w 24377650"/>
              <a:gd name="connsiteY1919" fmla="*/ 6209989 h 8304597"/>
              <a:gd name="connsiteX1920" fmla="*/ 19797656 w 24377650"/>
              <a:gd name="connsiteY1920" fmla="*/ 6171468 h 8304597"/>
              <a:gd name="connsiteX1921" fmla="*/ 19797656 w 24377650"/>
              <a:gd name="connsiteY1921" fmla="*/ 6209989 h 8304597"/>
              <a:gd name="connsiteX1922" fmla="*/ 19683684 w 24377650"/>
              <a:gd name="connsiteY1922" fmla="*/ 6209989 h 8304597"/>
              <a:gd name="connsiteX1923" fmla="*/ 19492660 w 24377650"/>
              <a:gd name="connsiteY1923" fmla="*/ 6476430 h 8304597"/>
              <a:gd name="connsiteX1924" fmla="*/ 19417214 w 24377650"/>
              <a:gd name="connsiteY1924" fmla="*/ 6476430 h 8304597"/>
              <a:gd name="connsiteX1925" fmla="*/ 19340164 w 24377650"/>
              <a:gd name="connsiteY1925" fmla="*/ 6476430 h 8304597"/>
              <a:gd name="connsiteX1926" fmla="*/ 19303244 w 24377650"/>
              <a:gd name="connsiteY1926" fmla="*/ 6514951 h 8304597"/>
              <a:gd name="connsiteX1927" fmla="*/ 19187666 w 24377650"/>
              <a:gd name="connsiteY1927" fmla="*/ 6476430 h 8304597"/>
              <a:gd name="connsiteX1928" fmla="*/ 19226192 w 24377650"/>
              <a:gd name="connsiteY1928" fmla="*/ 6514951 h 8304597"/>
              <a:gd name="connsiteX1929" fmla="*/ 19164390 w 24377650"/>
              <a:gd name="connsiteY1929" fmla="*/ 6514951 h 8304597"/>
              <a:gd name="connsiteX1930" fmla="*/ 19105598 w 24377650"/>
              <a:gd name="connsiteY1930" fmla="*/ 6514951 h 8304597"/>
              <a:gd name="connsiteX1931" fmla="*/ 19097772 w 24377650"/>
              <a:gd name="connsiteY1931" fmla="*/ 6514951 h 8304597"/>
              <a:gd name="connsiteX1932" fmla="*/ 19073694 w 24377650"/>
              <a:gd name="connsiteY1932" fmla="*/ 6514951 h 8304597"/>
              <a:gd name="connsiteX1933" fmla="*/ 19068278 w 24377650"/>
              <a:gd name="connsiteY1933" fmla="*/ 6514951 h 8304597"/>
              <a:gd name="connsiteX1934" fmla="*/ 19035170 w 24377650"/>
              <a:gd name="connsiteY1934" fmla="*/ 6514951 h 8304597"/>
              <a:gd name="connsiteX1935" fmla="*/ 18959724 w 24377650"/>
              <a:gd name="connsiteY1935" fmla="*/ 6514951 h 8304597"/>
              <a:gd name="connsiteX1936" fmla="*/ 19112220 w 24377650"/>
              <a:gd name="connsiteY1936" fmla="*/ 6553473 h 8304597"/>
              <a:gd name="connsiteX1937" fmla="*/ 19150746 w 24377650"/>
              <a:gd name="connsiteY1937" fmla="*/ 6590389 h 8304597"/>
              <a:gd name="connsiteX1938" fmla="*/ 19112220 w 24377650"/>
              <a:gd name="connsiteY1938" fmla="*/ 6628911 h 8304597"/>
              <a:gd name="connsiteX1939" fmla="*/ 18998250 w 24377650"/>
              <a:gd name="connsiteY1939" fmla="*/ 6590389 h 8304597"/>
              <a:gd name="connsiteX1940" fmla="*/ 18959724 w 24377650"/>
              <a:gd name="connsiteY1940" fmla="*/ 6667433 h 8304597"/>
              <a:gd name="connsiteX1941" fmla="*/ 19226192 w 24377650"/>
              <a:gd name="connsiteY1941" fmla="*/ 6628911 h 8304597"/>
              <a:gd name="connsiteX1942" fmla="*/ 19492660 w 24377650"/>
              <a:gd name="connsiteY1942" fmla="*/ 6590389 h 8304597"/>
              <a:gd name="connsiteX1943" fmla="*/ 19608238 w 24377650"/>
              <a:gd name="connsiteY1943" fmla="*/ 6628911 h 8304597"/>
              <a:gd name="connsiteX1944" fmla="*/ 19568106 w 24377650"/>
              <a:gd name="connsiteY1944" fmla="*/ 6667433 h 8304597"/>
              <a:gd name="connsiteX1945" fmla="*/ 19455740 w 24377650"/>
              <a:gd name="connsiteY1945" fmla="*/ 6667433 h 8304597"/>
              <a:gd name="connsiteX1946" fmla="*/ 19608238 w 24377650"/>
              <a:gd name="connsiteY1946" fmla="*/ 6667433 h 8304597"/>
              <a:gd name="connsiteX1947" fmla="*/ 19608238 w 24377650"/>
              <a:gd name="connsiteY1947" fmla="*/ 6704349 h 8304597"/>
              <a:gd name="connsiteX1948" fmla="*/ 19531186 w 24377650"/>
              <a:gd name="connsiteY1948" fmla="*/ 6856830 h 8304597"/>
              <a:gd name="connsiteX1949" fmla="*/ 19492660 w 24377650"/>
              <a:gd name="connsiteY1949" fmla="*/ 6933873 h 8304597"/>
              <a:gd name="connsiteX1950" fmla="*/ 19340164 w 24377650"/>
              <a:gd name="connsiteY1950" fmla="*/ 6933873 h 8304597"/>
              <a:gd name="connsiteX1951" fmla="*/ 19187666 w 24377650"/>
              <a:gd name="connsiteY1951" fmla="*/ 7047833 h 8304597"/>
              <a:gd name="connsiteX1952" fmla="*/ 19073694 w 24377650"/>
              <a:gd name="connsiteY1952" fmla="*/ 7086354 h 8304597"/>
              <a:gd name="connsiteX1953" fmla="*/ 19150746 w 24377650"/>
              <a:gd name="connsiteY1953" fmla="*/ 7047833 h 8304597"/>
              <a:gd name="connsiteX1954" fmla="*/ 19073694 w 24377650"/>
              <a:gd name="connsiteY1954" fmla="*/ 7009311 h 8304597"/>
              <a:gd name="connsiteX1955" fmla="*/ 19150746 w 24377650"/>
              <a:gd name="connsiteY1955" fmla="*/ 6972395 h 8304597"/>
              <a:gd name="connsiteX1956" fmla="*/ 18959724 w 24377650"/>
              <a:gd name="connsiteY1956" fmla="*/ 6933873 h 8304597"/>
              <a:gd name="connsiteX1957" fmla="*/ 18845752 w 24377650"/>
              <a:gd name="connsiteY1957" fmla="*/ 6933873 h 8304597"/>
              <a:gd name="connsiteX1958" fmla="*/ 18839732 w 24377650"/>
              <a:gd name="connsiteY1958" fmla="*/ 6911603 h 8304597"/>
              <a:gd name="connsiteX1959" fmla="*/ 18832052 w 24377650"/>
              <a:gd name="connsiteY1959" fmla="*/ 6904970 h 8304597"/>
              <a:gd name="connsiteX1960" fmla="*/ 18833036 w 24377650"/>
              <a:gd name="connsiteY1960" fmla="*/ 6904831 h 8304597"/>
              <a:gd name="connsiteX1961" fmla="*/ 18845752 w 24377650"/>
              <a:gd name="connsiteY1961" fmla="*/ 6895351 h 8304597"/>
              <a:gd name="connsiteX1962" fmla="*/ 18730176 w 24377650"/>
              <a:gd name="connsiteY1962" fmla="*/ 6856830 h 8304597"/>
              <a:gd name="connsiteX1963" fmla="*/ 18768700 w 24377650"/>
              <a:gd name="connsiteY1963" fmla="*/ 6819913 h 8304597"/>
              <a:gd name="connsiteX1964" fmla="*/ 18463706 w 24377650"/>
              <a:gd name="connsiteY1964" fmla="*/ 6781392 h 8304597"/>
              <a:gd name="connsiteX1965" fmla="*/ 18436718 w 24377650"/>
              <a:gd name="connsiteY1965" fmla="*/ 6786809 h 8304597"/>
              <a:gd name="connsiteX1966" fmla="*/ 18436784 w 24377650"/>
              <a:gd name="connsiteY1966" fmla="*/ 6786879 h 8304597"/>
              <a:gd name="connsiteX1967" fmla="*/ 18426786 w 24377650"/>
              <a:gd name="connsiteY1967" fmla="*/ 6781392 h 8304597"/>
              <a:gd name="connsiteX1968" fmla="*/ 18274288 w 24377650"/>
              <a:gd name="connsiteY1968" fmla="*/ 6742871 h 8304597"/>
              <a:gd name="connsiteX1969" fmla="*/ 18235764 w 24377650"/>
              <a:gd name="connsiteY1969" fmla="*/ 6667433 h 8304597"/>
              <a:gd name="connsiteX1970" fmla="*/ 18158712 w 24377650"/>
              <a:gd name="connsiteY1970" fmla="*/ 6742871 h 8304597"/>
              <a:gd name="connsiteX1971" fmla="*/ 18046294 w 24377650"/>
              <a:gd name="connsiteY1971" fmla="*/ 6689377 h 8304597"/>
              <a:gd name="connsiteX1972" fmla="*/ 18034462 w 24377650"/>
              <a:gd name="connsiteY1972" fmla="*/ 6693797 h 8304597"/>
              <a:gd name="connsiteX1973" fmla="*/ 18044138 w 24377650"/>
              <a:gd name="connsiteY1973" fmla="*/ 6678618 h 8304597"/>
              <a:gd name="connsiteX1974" fmla="*/ 18083266 w 24377650"/>
              <a:gd name="connsiteY1974" fmla="*/ 6667433 h 8304597"/>
              <a:gd name="connsiteX1975" fmla="*/ 17739746 w 24377650"/>
              <a:gd name="connsiteY1975" fmla="*/ 6553473 h 8304597"/>
              <a:gd name="connsiteX1976" fmla="*/ 17625774 w 24377650"/>
              <a:gd name="connsiteY1976" fmla="*/ 6590389 h 8304597"/>
              <a:gd name="connsiteX1977" fmla="*/ 17664300 w 24377650"/>
              <a:gd name="connsiteY1977" fmla="*/ 6628911 h 8304597"/>
              <a:gd name="connsiteX1978" fmla="*/ 17434752 w 24377650"/>
              <a:gd name="connsiteY1978" fmla="*/ 6628911 h 8304597"/>
              <a:gd name="connsiteX1979" fmla="*/ 17434752 w 24377650"/>
              <a:gd name="connsiteY1979" fmla="*/ 6667433 h 8304597"/>
              <a:gd name="connsiteX1980" fmla="*/ 17473278 w 24377650"/>
              <a:gd name="connsiteY1980" fmla="*/ 6667433 h 8304597"/>
              <a:gd name="connsiteX1981" fmla="*/ 17587248 w 24377650"/>
              <a:gd name="connsiteY1981" fmla="*/ 6667433 h 8304597"/>
              <a:gd name="connsiteX1982" fmla="*/ 17587248 w 24377650"/>
              <a:gd name="connsiteY1982" fmla="*/ 6742871 h 8304597"/>
              <a:gd name="connsiteX1983" fmla="*/ 17930768 w 24377650"/>
              <a:gd name="connsiteY1983" fmla="*/ 6704349 h 8304597"/>
              <a:gd name="connsiteX1984" fmla="*/ 17548724 w 24377650"/>
              <a:gd name="connsiteY1984" fmla="*/ 6819913 h 8304597"/>
              <a:gd name="connsiteX1985" fmla="*/ 17548724 w 24377650"/>
              <a:gd name="connsiteY1985" fmla="*/ 6856830 h 8304597"/>
              <a:gd name="connsiteX1986" fmla="*/ 17511802 w 24377650"/>
              <a:gd name="connsiteY1986" fmla="*/ 6895351 h 8304597"/>
              <a:gd name="connsiteX1987" fmla="*/ 17434752 w 24377650"/>
              <a:gd name="connsiteY1987" fmla="*/ 6895351 h 8304597"/>
              <a:gd name="connsiteX1988" fmla="*/ 17587248 w 24377650"/>
              <a:gd name="connsiteY1988" fmla="*/ 6972395 h 8304597"/>
              <a:gd name="connsiteX1989" fmla="*/ 17739746 w 24377650"/>
              <a:gd name="connsiteY1989" fmla="*/ 7009311 h 8304597"/>
              <a:gd name="connsiteX1990" fmla="*/ 17548724 w 24377650"/>
              <a:gd name="connsiteY1990" fmla="*/ 6895351 h 8304597"/>
              <a:gd name="connsiteX1991" fmla="*/ 17664300 w 24377650"/>
              <a:gd name="connsiteY1991" fmla="*/ 6933873 h 8304597"/>
              <a:gd name="connsiteX1992" fmla="*/ 17625774 w 24377650"/>
              <a:gd name="connsiteY1992" fmla="*/ 6819913 h 8304597"/>
              <a:gd name="connsiteX1993" fmla="*/ 17778272 w 24377650"/>
              <a:gd name="connsiteY1993" fmla="*/ 6933873 h 8304597"/>
              <a:gd name="connsiteX1994" fmla="*/ 17853718 w 24377650"/>
              <a:gd name="connsiteY1994" fmla="*/ 6933873 h 8304597"/>
              <a:gd name="connsiteX1995" fmla="*/ 17892244 w 24377650"/>
              <a:gd name="connsiteY1995" fmla="*/ 6972395 h 8304597"/>
              <a:gd name="connsiteX1996" fmla="*/ 17892244 w 24377650"/>
              <a:gd name="connsiteY1996" fmla="*/ 7047833 h 8304597"/>
              <a:gd name="connsiteX1997" fmla="*/ 17969294 w 24377650"/>
              <a:gd name="connsiteY1997" fmla="*/ 7124875 h 8304597"/>
              <a:gd name="connsiteX1998" fmla="*/ 18197238 w 24377650"/>
              <a:gd name="connsiteY1998" fmla="*/ 7124875 h 8304597"/>
              <a:gd name="connsiteX1999" fmla="*/ 18158712 w 24377650"/>
              <a:gd name="connsiteY1999" fmla="*/ 7047833 h 8304597"/>
              <a:gd name="connsiteX2000" fmla="*/ 18274288 w 24377650"/>
              <a:gd name="connsiteY2000" fmla="*/ 7124875 h 8304597"/>
              <a:gd name="connsiteX2001" fmla="*/ 18069772 w 24377650"/>
              <a:gd name="connsiteY2001" fmla="*/ 7193717 h 8304597"/>
              <a:gd name="connsiteX2002" fmla="*/ 18010608 w 24377650"/>
              <a:gd name="connsiteY2002" fmla="*/ 7199857 h 8304597"/>
              <a:gd name="connsiteX2003" fmla="*/ 17987704 w 24377650"/>
              <a:gd name="connsiteY2003" fmla="*/ 7189253 h 8304597"/>
              <a:gd name="connsiteX2004" fmla="*/ 17969294 w 24377650"/>
              <a:gd name="connsiteY2004" fmla="*/ 7161792 h 8304597"/>
              <a:gd name="connsiteX2005" fmla="*/ 17778272 w 24377650"/>
              <a:gd name="connsiteY2005" fmla="*/ 7200313 h 8304597"/>
              <a:gd name="connsiteX2006" fmla="*/ 17739746 w 24377650"/>
              <a:gd name="connsiteY2006" fmla="*/ 7200313 h 8304597"/>
              <a:gd name="connsiteX2007" fmla="*/ 17739746 w 24377650"/>
              <a:gd name="connsiteY2007" fmla="*/ 7237230 h 8304597"/>
              <a:gd name="connsiteX2008" fmla="*/ 17701220 w 24377650"/>
              <a:gd name="connsiteY2008" fmla="*/ 7161792 h 8304597"/>
              <a:gd name="connsiteX2009" fmla="*/ 17511802 w 24377650"/>
              <a:gd name="connsiteY2009" fmla="*/ 7200313 h 8304597"/>
              <a:gd name="connsiteX2010" fmla="*/ 17664300 w 24377650"/>
              <a:gd name="connsiteY2010" fmla="*/ 7161792 h 8304597"/>
              <a:gd name="connsiteX2011" fmla="*/ 17359306 w 24377650"/>
              <a:gd name="connsiteY2011" fmla="*/ 7124875 h 8304597"/>
              <a:gd name="connsiteX2012" fmla="*/ 17473278 w 24377650"/>
              <a:gd name="connsiteY2012" fmla="*/ 7161792 h 8304597"/>
              <a:gd name="connsiteX2013" fmla="*/ 17129758 w 24377650"/>
              <a:gd name="connsiteY2013" fmla="*/ 7237230 h 8304597"/>
              <a:gd name="connsiteX2014" fmla="*/ 17168282 w 24377650"/>
              <a:gd name="connsiteY2014" fmla="*/ 7277357 h 8304597"/>
              <a:gd name="connsiteX2015" fmla="*/ 17015786 w 24377650"/>
              <a:gd name="connsiteY2015" fmla="*/ 7277357 h 8304597"/>
              <a:gd name="connsiteX2016" fmla="*/ 17091232 w 24377650"/>
              <a:gd name="connsiteY2016" fmla="*/ 7352795 h 8304597"/>
              <a:gd name="connsiteX2017" fmla="*/ 16901814 w 24377650"/>
              <a:gd name="connsiteY2017" fmla="*/ 7352795 h 8304597"/>
              <a:gd name="connsiteX2018" fmla="*/ 16977260 w 24377650"/>
              <a:gd name="connsiteY2018" fmla="*/ 7352795 h 8304597"/>
              <a:gd name="connsiteX2019" fmla="*/ 16824762 w 24377650"/>
              <a:gd name="connsiteY2019" fmla="*/ 7389711 h 8304597"/>
              <a:gd name="connsiteX2020" fmla="*/ 16824762 w 24377650"/>
              <a:gd name="connsiteY2020" fmla="*/ 7314273 h 8304597"/>
              <a:gd name="connsiteX2021" fmla="*/ 16749316 w 24377650"/>
              <a:gd name="connsiteY2021" fmla="*/ 7352795 h 8304597"/>
              <a:gd name="connsiteX2022" fmla="*/ 16558294 w 24377650"/>
              <a:gd name="connsiteY2022" fmla="*/ 7277357 h 8304597"/>
              <a:gd name="connsiteX2023" fmla="*/ 17054312 w 24377650"/>
              <a:gd name="connsiteY2023" fmla="*/ 7237230 h 8304597"/>
              <a:gd name="connsiteX2024" fmla="*/ 16824762 w 24377650"/>
              <a:gd name="connsiteY2024" fmla="*/ 7277357 h 8304597"/>
              <a:gd name="connsiteX2025" fmla="*/ 16749316 w 24377650"/>
              <a:gd name="connsiteY2025" fmla="*/ 7237230 h 8304597"/>
              <a:gd name="connsiteX2026" fmla="*/ 16367272 w 24377650"/>
              <a:gd name="connsiteY2026" fmla="*/ 7277357 h 8304597"/>
              <a:gd name="connsiteX2027" fmla="*/ 16328746 w 24377650"/>
              <a:gd name="connsiteY2027" fmla="*/ 7237230 h 8304597"/>
              <a:gd name="connsiteX2028" fmla="*/ 16100802 w 24377650"/>
              <a:gd name="connsiteY2028" fmla="*/ 7277357 h 8304597"/>
              <a:gd name="connsiteX2029" fmla="*/ 16176248 w 24377650"/>
              <a:gd name="connsiteY2029" fmla="*/ 7314273 h 8304597"/>
              <a:gd name="connsiteX2030" fmla="*/ 16062278 w 24377650"/>
              <a:gd name="connsiteY2030" fmla="*/ 7314273 h 8304597"/>
              <a:gd name="connsiteX2031" fmla="*/ 16062278 w 24377650"/>
              <a:gd name="connsiteY2031" fmla="*/ 7352795 h 8304597"/>
              <a:gd name="connsiteX2032" fmla="*/ 15909780 w 24377650"/>
              <a:gd name="connsiteY2032" fmla="*/ 7352795 h 8304597"/>
              <a:gd name="connsiteX2033" fmla="*/ 15757282 w 24377650"/>
              <a:gd name="connsiteY2033" fmla="*/ 7505275 h 8304597"/>
              <a:gd name="connsiteX2034" fmla="*/ 15872860 w 24377650"/>
              <a:gd name="connsiteY2034" fmla="*/ 7429838 h 8304597"/>
              <a:gd name="connsiteX2035" fmla="*/ 15834334 w 24377650"/>
              <a:gd name="connsiteY2035" fmla="*/ 7466754 h 8304597"/>
              <a:gd name="connsiteX2036" fmla="*/ 15986832 w 24377650"/>
              <a:gd name="connsiteY2036" fmla="*/ 7429838 h 8304597"/>
              <a:gd name="connsiteX2037" fmla="*/ 16100802 w 24377650"/>
              <a:gd name="connsiteY2037" fmla="*/ 7429838 h 8304597"/>
              <a:gd name="connsiteX2038" fmla="*/ 16291826 w 24377650"/>
              <a:gd name="connsiteY2038" fmla="*/ 7466754 h 8304597"/>
              <a:gd name="connsiteX2039" fmla="*/ 16214774 w 24377650"/>
              <a:gd name="connsiteY2039" fmla="*/ 7429838 h 8304597"/>
              <a:gd name="connsiteX2040" fmla="*/ 16481242 w 24377650"/>
              <a:gd name="connsiteY2040" fmla="*/ 7429838 h 8304597"/>
              <a:gd name="connsiteX2041" fmla="*/ 17129758 w 24377650"/>
              <a:gd name="connsiteY2041" fmla="*/ 7542192 h 8304597"/>
              <a:gd name="connsiteX2042" fmla="*/ 17054312 w 24377650"/>
              <a:gd name="connsiteY2042" fmla="*/ 7619235 h 8304597"/>
              <a:gd name="connsiteX2043" fmla="*/ 17282254 w 24377650"/>
              <a:gd name="connsiteY2043" fmla="*/ 7542192 h 8304597"/>
              <a:gd name="connsiteX2044" fmla="*/ 17282254 w 24377650"/>
              <a:gd name="connsiteY2044" fmla="*/ 7619235 h 8304597"/>
              <a:gd name="connsiteX2045" fmla="*/ 17091232 w 24377650"/>
              <a:gd name="connsiteY2045" fmla="*/ 7657757 h 8304597"/>
              <a:gd name="connsiteX2046" fmla="*/ 17168282 w 24377650"/>
              <a:gd name="connsiteY2046" fmla="*/ 7694673 h 8304597"/>
              <a:gd name="connsiteX2047" fmla="*/ 17091232 w 24377650"/>
              <a:gd name="connsiteY2047" fmla="*/ 7771717 h 8304597"/>
              <a:gd name="connsiteX2048" fmla="*/ 17168282 w 24377650"/>
              <a:gd name="connsiteY2048" fmla="*/ 7694673 h 8304597"/>
              <a:gd name="connsiteX2049" fmla="*/ 17206808 w 24377650"/>
              <a:gd name="connsiteY2049" fmla="*/ 7619235 h 8304597"/>
              <a:gd name="connsiteX2050" fmla="*/ 17359306 w 24377650"/>
              <a:gd name="connsiteY2050" fmla="*/ 7619235 h 8304597"/>
              <a:gd name="connsiteX2051" fmla="*/ 17434752 w 24377650"/>
              <a:gd name="connsiteY2051" fmla="*/ 7694673 h 8304597"/>
              <a:gd name="connsiteX2052" fmla="*/ 17282254 w 24377650"/>
              <a:gd name="connsiteY2052" fmla="*/ 7771717 h 8304597"/>
              <a:gd name="connsiteX2053" fmla="*/ 17320780 w 24377650"/>
              <a:gd name="connsiteY2053" fmla="*/ 7847155 h 8304597"/>
              <a:gd name="connsiteX2054" fmla="*/ 17206808 w 24377650"/>
              <a:gd name="connsiteY2054" fmla="*/ 7847155 h 8304597"/>
              <a:gd name="connsiteX2055" fmla="*/ 17129758 w 24377650"/>
              <a:gd name="connsiteY2055" fmla="*/ 7962719 h 8304597"/>
              <a:gd name="connsiteX2056" fmla="*/ 17168282 w 24377650"/>
              <a:gd name="connsiteY2056" fmla="*/ 7887281 h 8304597"/>
              <a:gd name="connsiteX2057" fmla="*/ 16291826 w 24377650"/>
              <a:gd name="connsiteY2057" fmla="*/ 7847155 h 8304597"/>
              <a:gd name="connsiteX2058" fmla="*/ 16100802 w 24377650"/>
              <a:gd name="connsiteY2058" fmla="*/ 7887281 h 8304597"/>
              <a:gd name="connsiteX2059" fmla="*/ 16062278 w 24377650"/>
              <a:gd name="connsiteY2059" fmla="*/ 7847155 h 8304597"/>
              <a:gd name="connsiteX2060" fmla="*/ 16139328 w 24377650"/>
              <a:gd name="connsiteY2060" fmla="*/ 7847155 h 8304597"/>
              <a:gd name="connsiteX2061" fmla="*/ 15757282 w 24377650"/>
              <a:gd name="connsiteY2061" fmla="*/ 7771717 h 8304597"/>
              <a:gd name="connsiteX2062" fmla="*/ 15834334 w 24377650"/>
              <a:gd name="connsiteY2062" fmla="*/ 7847155 h 8304597"/>
              <a:gd name="connsiteX2063" fmla="*/ 15720362 w 24377650"/>
              <a:gd name="connsiteY2063" fmla="*/ 7847155 h 8304597"/>
              <a:gd name="connsiteX2064" fmla="*/ 15726131 w 24377650"/>
              <a:gd name="connsiteY2064" fmla="*/ 7825812 h 8304597"/>
              <a:gd name="connsiteX2065" fmla="*/ 15737865 w 24377650"/>
              <a:gd name="connsiteY2065" fmla="*/ 7815679 h 8304597"/>
              <a:gd name="connsiteX2066" fmla="*/ 15757282 w 24377650"/>
              <a:gd name="connsiteY2066" fmla="*/ 7810238 h 8304597"/>
              <a:gd name="connsiteX2067" fmla="*/ 15738822 w 24377650"/>
              <a:gd name="connsiteY2067" fmla="*/ 7814852 h 8304597"/>
              <a:gd name="connsiteX2068" fmla="*/ 15737865 w 24377650"/>
              <a:gd name="connsiteY2068" fmla="*/ 7815679 h 8304597"/>
              <a:gd name="connsiteX2069" fmla="*/ 15730501 w 24377650"/>
              <a:gd name="connsiteY2069" fmla="*/ 7817743 h 8304597"/>
              <a:gd name="connsiteX2070" fmla="*/ 15529340 w 24377650"/>
              <a:gd name="connsiteY2070" fmla="*/ 7810238 h 8304597"/>
              <a:gd name="connsiteX2071" fmla="*/ 15529340 w 24377650"/>
              <a:gd name="connsiteY2071" fmla="*/ 7734800 h 8304597"/>
              <a:gd name="connsiteX2072" fmla="*/ 15681836 w 24377650"/>
              <a:gd name="connsiteY2072" fmla="*/ 7734800 h 8304597"/>
              <a:gd name="connsiteX2073" fmla="*/ 15795808 w 24377650"/>
              <a:gd name="connsiteY2073" fmla="*/ 7694673 h 8304597"/>
              <a:gd name="connsiteX2074" fmla="*/ 15681836 w 24377650"/>
              <a:gd name="connsiteY2074" fmla="*/ 7734800 h 8304597"/>
              <a:gd name="connsiteX2075" fmla="*/ 15490814 w 24377650"/>
              <a:gd name="connsiteY2075" fmla="*/ 7694673 h 8304597"/>
              <a:gd name="connsiteX2076" fmla="*/ 15490588 w 24377650"/>
              <a:gd name="connsiteY2076" fmla="*/ 7658334 h 8304597"/>
              <a:gd name="connsiteX2077" fmla="*/ 15486854 w 24377650"/>
              <a:gd name="connsiteY2077" fmla="*/ 7658028 h 8304597"/>
              <a:gd name="connsiteX2078" fmla="*/ 15490814 w 24377650"/>
              <a:gd name="connsiteY2078" fmla="*/ 7657757 h 8304597"/>
              <a:gd name="connsiteX2079" fmla="*/ 15484428 w 24377650"/>
              <a:gd name="connsiteY2079" fmla="*/ 7657829 h 8304597"/>
              <a:gd name="connsiteX2080" fmla="*/ 15486854 w 24377650"/>
              <a:gd name="connsiteY2080" fmla="*/ 7658028 h 8304597"/>
              <a:gd name="connsiteX2081" fmla="*/ 15423720 w 24377650"/>
              <a:gd name="connsiteY2081" fmla="*/ 7662346 h 8304597"/>
              <a:gd name="connsiteX2082" fmla="*/ 15299792 w 24377650"/>
              <a:gd name="connsiteY2082" fmla="*/ 7619235 h 8304597"/>
              <a:gd name="connsiteX2083" fmla="*/ 15224346 w 24377650"/>
              <a:gd name="connsiteY2083" fmla="*/ 7657757 h 8304597"/>
              <a:gd name="connsiteX2084" fmla="*/ 15338316 w 24377650"/>
              <a:gd name="connsiteY2084" fmla="*/ 7694673 h 8304597"/>
              <a:gd name="connsiteX2085" fmla="*/ 14994796 w 24377650"/>
              <a:gd name="connsiteY2085" fmla="*/ 7619235 h 8304597"/>
              <a:gd name="connsiteX2086" fmla="*/ 15376842 w 24377650"/>
              <a:gd name="connsiteY2086" fmla="*/ 7582319 h 8304597"/>
              <a:gd name="connsiteX2087" fmla="*/ 15604786 w 24377650"/>
              <a:gd name="connsiteY2087" fmla="*/ 7582319 h 8304597"/>
              <a:gd name="connsiteX2088" fmla="*/ 15490814 w 24377650"/>
              <a:gd name="connsiteY2088" fmla="*/ 7619235 h 8304597"/>
              <a:gd name="connsiteX2089" fmla="*/ 15757282 w 24377650"/>
              <a:gd name="connsiteY2089" fmla="*/ 7619235 h 8304597"/>
              <a:gd name="connsiteX2090" fmla="*/ 15490814 w 24377650"/>
              <a:gd name="connsiteY2090" fmla="*/ 7505275 h 8304597"/>
              <a:gd name="connsiteX2091" fmla="*/ 15415368 w 24377650"/>
              <a:gd name="connsiteY2091" fmla="*/ 7542192 h 8304597"/>
              <a:gd name="connsiteX2092" fmla="*/ 15415368 w 24377650"/>
              <a:gd name="connsiteY2092" fmla="*/ 7505275 h 8304597"/>
              <a:gd name="connsiteX2093" fmla="*/ 15262870 w 24377650"/>
              <a:gd name="connsiteY2093" fmla="*/ 7542192 h 8304597"/>
              <a:gd name="connsiteX2094" fmla="*/ 15262870 w 24377650"/>
              <a:gd name="connsiteY2094" fmla="*/ 7466754 h 8304597"/>
              <a:gd name="connsiteX2095" fmla="*/ 15187424 w 24377650"/>
              <a:gd name="connsiteY2095" fmla="*/ 7505275 h 8304597"/>
              <a:gd name="connsiteX2096" fmla="*/ 14842300 w 24377650"/>
              <a:gd name="connsiteY2096" fmla="*/ 7505275 h 8304597"/>
              <a:gd name="connsiteX2097" fmla="*/ 14805380 w 24377650"/>
              <a:gd name="connsiteY2097" fmla="*/ 7542192 h 8304597"/>
              <a:gd name="connsiteX2098" fmla="*/ 14994796 w 24377650"/>
              <a:gd name="connsiteY2098" fmla="*/ 7542192 h 8304597"/>
              <a:gd name="connsiteX2099" fmla="*/ 14882430 w 24377650"/>
              <a:gd name="connsiteY2099" fmla="*/ 7619235 h 8304597"/>
              <a:gd name="connsiteX2100" fmla="*/ 14766854 w 24377650"/>
              <a:gd name="connsiteY2100" fmla="*/ 7657757 h 8304597"/>
              <a:gd name="connsiteX2101" fmla="*/ 14766854 w 24377650"/>
              <a:gd name="connsiteY2101" fmla="*/ 7619235 h 8304597"/>
              <a:gd name="connsiteX2102" fmla="*/ 14729934 w 24377650"/>
              <a:gd name="connsiteY2102" fmla="*/ 7657757 h 8304597"/>
              <a:gd name="connsiteX2103" fmla="*/ 14745509 w 24377650"/>
              <a:gd name="connsiteY2103" fmla="*/ 7711025 h 8304597"/>
              <a:gd name="connsiteX2104" fmla="*/ 14757792 w 24377650"/>
              <a:gd name="connsiteY2104" fmla="*/ 7724707 h 8304597"/>
              <a:gd name="connsiteX2105" fmla="*/ 14743378 w 24377650"/>
              <a:gd name="connsiteY2105" fmla="*/ 7733596 h 8304597"/>
              <a:gd name="connsiteX2106" fmla="*/ 14689802 w 24377650"/>
              <a:gd name="connsiteY2106" fmla="*/ 7734800 h 8304597"/>
              <a:gd name="connsiteX2107" fmla="*/ 14195390 w 24377650"/>
              <a:gd name="connsiteY2107" fmla="*/ 7924197 h 8304597"/>
              <a:gd name="connsiteX2108" fmla="*/ 13814950 w 24377650"/>
              <a:gd name="connsiteY2108" fmla="*/ 8115200 h 8304597"/>
              <a:gd name="connsiteX2109" fmla="*/ 13662452 w 24377650"/>
              <a:gd name="connsiteY2109" fmla="*/ 8152117 h 8304597"/>
              <a:gd name="connsiteX2110" fmla="*/ 13585402 w 24377650"/>
              <a:gd name="connsiteY2110" fmla="*/ 8152117 h 8304597"/>
              <a:gd name="connsiteX2111" fmla="*/ 13585402 w 24377650"/>
              <a:gd name="connsiteY2111" fmla="*/ 8192243 h 8304597"/>
              <a:gd name="connsiteX2112" fmla="*/ 13546876 w 24377650"/>
              <a:gd name="connsiteY2112" fmla="*/ 8152117 h 8304597"/>
              <a:gd name="connsiteX2113" fmla="*/ 13469824 w 24377650"/>
              <a:gd name="connsiteY2113" fmla="*/ 8229159 h 8304597"/>
              <a:gd name="connsiteX2114" fmla="*/ 12975414 w 24377650"/>
              <a:gd name="connsiteY2114" fmla="*/ 8304597 h 8304597"/>
              <a:gd name="connsiteX2115" fmla="*/ 12899968 w 24377650"/>
              <a:gd name="connsiteY2115" fmla="*/ 8267681 h 8304597"/>
              <a:gd name="connsiteX2116" fmla="*/ 11984984 w 24377650"/>
              <a:gd name="connsiteY2116" fmla="*/ 8267681 h 8304597"/>
              <a:gd name="connsiteX2117" fmla="*/ 11755436 w 24377650"/>
              <a:gd name="connsiteY2117" fmla="*/ 8267681 h 8304597"/>
              <a:gd name="connsiteX2118" fmla="*/ 11755436 w 24377650"/>
              <a:gd name="connsiteY2118" fmla="*/ 8192243 h 8304597"/>
              <a:gd name="connsiteX2119" fmla="*/ 11183972 w 24377650"/>
              <a:gd name="connsiteY2119" fmla="*/ 8192243 h 8304597"/>
              <a:gd name="connsiteX2120" fmla="*/ 11183972 w 24377650"/>
              <a:gd name="connsiteY2120" fmla="*/ 8152117 h 8304597"/>
              <a:gd name="connsiteX2121" fmla="*/ 10956029 w 24377650"/>
              <a:gd name="connsiteY2121" fmla="*/ 8152117 h 8304597"/>
              <a:gd name="connsiteX2122" fmla="*/ 10803532 w 24377650"/>
              <a:gd name="connsiteY2122" fmla="*/ 8152117 h 8304597"/>
              <a:gd name="connsiteX2123" fmla="*/ 10803532 w 24377650"/>
              <a:gd name="connsiteY2123" fmla="*/ 8076679 h 8304597"/>
              <a:gd name="connsiteX2124" fmla="*/ 10689562 w 24377650"/>
              <a:gd name="connsiteY2124" fmla="*/ 8115200 h 8304597"/>
              <a:gd name="connsiteX2125" fmla="*/ 10118098 w 24377650"/>
              <a:gd name="connsiteY2125" fmla="*/ 7999635 h 8304597"/>
              <a:gd name="connsiteX2126" fmla="*/ 9851630 w 24377650"/>
              <a:gd name="connsiteY2126" fmla="*/ 7887281 h 8304597"/>
              <a:gd name="connsiteX2127" fmla="*/ 9890154 w 24377650"/>
              <a:gd name="connsiteY2127" fmla="*/ 7810238 h 8304597"/>
              <a:gd name="connsiteX2128" fmla="*/ 9318691 w 24377650"/>
              <a:gd name="connsiteY2128" fmla="*/ 7771717 h 8304597"/>
              <a:gd name="connsiteX2129" fmla="*/ 10195149 w 24377650"/>
              <a:gd name="connsiteY2129" fmla="*/ 7734800 h 8304597"/>
              <a:gd name="connsiteX2130" fmla="*/ 11450441 w 24377650"/>
              <a:gd name="connsiteY2130" fmla="*/ 7657757 h 8304597"/>
              <a:gd name="connsiteX2131" fmla="*/ 12631894 w 24377650"/>
              <a:gd name="connsiteY2131" fmla="*/ 7582319 h 8304597"/>
              <a:gd name="connsiteX2132" fmla="*/ 12517922 w 24377650"/>
              <a:gd name="connsiteY2132" fmla="*/ 7466754 h 8304597"/>
              <a:gd name="connsiteX2133" fmla="*/ 12968717 w 24377650"/>
              <a:gd name="connsiteY2133" fmla="*/ 7467431 h 8304597"/>
              <a:gd name="connsiteX2134" fmla="*/ 13032753 w 24377650"/>
              <a:gd name="connsiteY2134" fmla="*/ 7455491 h 8304597"/>
              <a:gd name="connsiteX2135" fmla="*/ 13038192 w 24377650"/>
              <a:gd name="connsiteY2135" fmla="*/ 7456020 h 8304597"/>
              <a:gd name="connsiteX2136" fmla="*/ 13068990 w 24377650"/>
              <a:gd name="connsiteY2136" fmla="*/ 7449851 h 8304597"/>
              <a:gd name="connsiteX2137" fmla="*/ 13073798 w 24377650"/>
              <a:gd name="connsiteY2137" fmla="*/ 7445133 h 8304597"/>
              <a:gd name="connsiteX2138" fmla="*/ 13127910 w 24377650"/>
              <a:gd name="connsiteY2138" fmla="*/ 7429838 h 8304597"/>
              <a:gd name="connsiteX2139" fmla="*/ 13089384 w 24377650"/>
              <a:gd name="connsiteY2139" fmla="*/ 7429838 h 8304597"/>
              <a:gd name="connsiteX2140" fmla="*/ 13073798 w 24377650"/>
              <a:gd name="connsiteY2140" fmla="*/ 7445133 h 8304597"/>
              <a:gd name="connsiteX2141" fmla="*/ 13045670 w 24377650"/>
              <a:gd name="connsiteY2141" fmla="*/ 7453083 h 8304597"/>
              <a:gd name="connsiteX2142" fmla="*/ 13032753 w 24377650"/>
              <a:gd name="connsiteY2142" fmla="*/ 7455491 h 8304597"/>
              <a:gd name="connsiteX2143" fmla="*/ 13001037 w 24377650"/>
              <a:gd name="connsiteY2143" fmla="*/ 7452409 h 8304597"/>
              <a:gd name="connsiteX2144" fmla="*/ 12861442 w 24377650"/>
              <a:gd name="connsiteY2144" fmla="*/ 7429838 h 8304597"/>
              <a:gd name="connsiteX2145" fmla="*/ 12251452 w 24377650"/>
              <a:gd name="connsiteY2145" fmla="*/ 7352795 h 8304597"/>
              <a:gd name="connsiteX2146" fmla="*/ 12212928 w 24377650"/>
              <a:gd name="connsiteY2146" fmla="*/ 7429838 h 8304597"/>
              <a:gd name="connsiteX2147" fmla="*/ 11984984 w 24377650"/>
              <a:gd name="connsiteY2147" fmla="*/ 7429838 h 8304597"/>
              <a:gd name="connsiteX2148" fmla="*/ 11718515 w 24377650"/>
              <a:gd name="connsiteY2148" fmla="*/ 7352795 h 8304597"/>
              <a:gd name="connsiteX2149" fmla="*/ 11755436 w 24377650"/>
              <a:gd name="connsiteY2149" fmla="*/ 7314273 h 8304597"/>
              <a:gd name="connsiteX2150" fmla="*/ 11602938 w 24377650"/>
              <a:gd name="connsiteY2150" fmla="*/ 7352795 h 8304597"/>
              <a:gd name="connsiteX2151" fmla="*/ 11566018 w 24377650"/>
              <a:gd name="connsiteY2151" fmla="*/ 7277357 h 8304597"/>
              <a:gd name="connsiteX2152" fmla="*/ 11070001 w 24377650"/>
              <a:gd name="connsiteY2152" fmla="*/ 7277357 h 8304597"/>
              <a:gd name="connsiteX2153" fmla="*/ 11070001 w 24377650"/>
              <a:gd name="connsiteY2153" fmla="*/ 7200313 h 8304597"/>
              <a:gd name="connsiteX2154" fmla="*/ 10956029 w 24377650"/>
              <a:gd name="connsiteY2154" fmla="*/ 7200313 h 8304597"/>
              <a:gd name="connsiteX2155" fmla="*/ 10917504 w 24377650"/>
              <a:gd name="connsiteY2155" fmla="*/ 7200313 h 8304597"/>
              <a:gd name="connsiteX2156" fmla="*/ 10840453 w 24377650"/>
              <a:gd name="connsiteY2156" fmla="*/ 7200313 h 8304597"/>
              <a:gd name="connsiteX2157" fmla="*/ 10803532 w 24377650"/>
              <a:gd name="connsiteY2157" fmla="*/ 7161792 h 8304597"/>
              <a:gd name="connsiteX2158" fmla="*/ 10614115 w 24377650"/>
              <a:gd name="connsiteY2158" fmla="*/ 7200313 h 8304597"/>
              <a:gd name="connsiteX2159" fmla="*/ 10384567 w 24377650"/>
              <a:gd name="connsiteY2159" fmla="*/ 7124875 h 8304597"/>
              <a:gd name="connsiteX2160" fmla="*/ 10537064 w 24377650"/>
              <a:gd name="connsiteY2160" fmla="*/ 7124875 h 8304597"/>
              <a:gd name="connsiteX2161" fmla="*/ 10461617 w 24377650"/>
              <a:gd name="connsiteY2161" fmla="*/ 7047833 h 8304597"/>
              <a:gd name="connsiteX2162" fmla="*/ 10652641 w 24377650"/>
              <a:gd name="connsiteY2162" fmla="*/ 7047833 h 8304597"/>
              <a:gd name="connsiteX2163" fmla="*/ 10500143 w 24377650"/>
              <a:gd name="connsiteY2163" fmla="*/ 7009311 h 8304597"/>
              <a:gd name="connsiteX2164" fmla="*/ 10384567 w 24377650"/>
              <a:gd name="connsiteY2164" fmla="*/ 7009311 h 8304597"/>
              <a:gd name="connsiteX2165" fmla="*/ 10423092 w 24377650"/>
              <a:gd name="connsiteY2165" fmla="*/ 7086354 h 8304597"/>
              <a:gd name="connsiteX2166" fmla="*/ 10270596 w 24377650"/>
              <a:gd name="connsiteY2166" fmla="*/ 6972395 h 8304597"/>
              <a:gd name="connsiteX2167" fmla="*/ 10309120 w 24377650"/>
              <a:gd name="connsiteY2167" fmla="*/ 6972395 h 8304597"/>
              <a:gd name="connsiteX2168" fmla="*/ 10309120 w 24377650"/>
              <a:gd name="connsiteY2168" fmla="*/ 6933873 h 8304597"/>
              <a:gd name="connsiteX2169" fmla="*/ 10156623 w 24377650"/>
              <a:gd name="connsiteY2169" fmla="*/ 6933873 h 8304597"/>
              <a:gd name="connsiteX2170" fmla="*/ 10079573 w 24377650"/>
              <a:gd name="connsiteY2170" fmla="*/ 6895351 h 8304597"/>
              <a:gd name="connsiteX2171" fmla="*/ 10195149 w 24377650"/>
              <a:gd name="connsiteY2171" fmla="*/ 6856830 h 8304597"/>
              <a:gd name="connsiteX2172" fmla="*/ 9890154 w 24377650"/>
              <a:gd name="connsiteY2172" fmla="*/ 6856830 h 8304597"/>
              <a:gd name="connsiteX2173" fmla="*/ 9927076 w 24377650"/>
              <a:gd name="connsiteY2173" fmla="*/ 6781392 h 8304597"/>
              <a:gd name="connsiteX2174" fmla="*/ 9737657 w 24377650"/>
              <a:gd name="connsiteY2174" fmla="*/ 6856830 h 8304597"/>
              <a:gd name="connsiteX2175" fmla="*/ 9546635 w 24377650"/>
              <a:gd name="connsiteY2175" fmla="*/ 6856830 h 8304597"/>
              <a:gd name="connsiteX2176" fmla="*/ 9543709 w 24377650"/>
              <a:gd name="connsiteY2176" fmla="*/ 6868532 h 8304597"/>
              <a:gd name="connsiteX2177" fmla="*/ 9516010 w 24377650"/>
              <a:gd name="connsiteY2177" fmla="*/ 6837117 h 8304597"/>
              <a:gd name="connsiteX2178" fmla="*/ 9471188 w 24377650"/>
              <a:gd name="connsiteY2178" fmla="*/ 6819913 h 8304597"/>
              <a:gd name="connsiteX2179" fmla="*/ 9432664 w 24377650"/>
              <a:gd name="connsiteY2179" fmla="*/ 6856830 h 8304597"/>
              <a:gd name="connsiteX2180" fmla="*/ 9432664 w 24377650"/>
              <a:gd name="connsiteY2180" fmla="*/ 6819913 h 8304597"/>
              <a:gd name="connsiteX2181" fmla="*/ 9280167 w 24377650"/>
              <a:gd name="connsiteY2181" fmla="*/ 6781392 h 8304597"/>
              <a:gd name="connsiteX2182" fmla="*/ 9241641 w 24377650"/>
              <a:gd name="connsiteY2182" fmla="*/ 6856830 h 8304597"/>
              <a:gd name="connsiteX2183" fmla="*/ 9013698 w 24377650"/>
              <a:gd name="connsiteY2183" fmla="*/ 6819913 h 8304597"/>
              <a:gd name="connsiteX2184" fmla="*/ 9166195 w 24377650"/>
              <a:gd name="connsiteY2184" fmla="*/ 6819913 h 8304597"/>
              <a:gd name="connsiteX2185" fmla="*/ 9127669 w 24377650"/>
              <a:gd name="connsiteY2185" fmla="*/ 6781392 h 8304597"/>
              <a:gd name="connsiteX2186" fmla="*/ 9203114 w 24377650"/>
              <a:gd name="connsiteY2186" fmla="*/ 6781392 h 8304597"/>
              <a:gd name="connsiteX2187" fmla="*/ 9241641 w 24377650"/>
              <a:gd name="connsiteY2187" fmla="*/ 6742871 h 8304597"/>
              <a:gd name="connsiteX2188" fmla="*/ 8098715 w 24377650"/>
              <a:gd name="connsiteY2188" fmla="*/ 6704349 h 8304597"/>
              <a:gd name="connsiteX2189" fmla="*/ 7755194 w 24377650"/>
              <a:gd name="connsiteY2189" fmla="*/ 6667433 h 8304597"/>
              <a:gd name="connsiteX2190" fmla="*/ 7718274 w 24377650"/>
              <a:gd name="connsiteY2190" fmla="*/ 6628911 h 8304597"/>
              <a:gd name="connsiteX2191" fmla="*/ 7565777 w 24377650"/>
              <a:gd name="connsiteY2191" fmla="*/ 6628911 h 8304597"/>
              <a:gd name="connsiteX2192" fmla="*/ 7602698 w 24377650"/>
              <a:gd name="connsiteY2192" fmla="*/ 6590389 h 8304597"/>
              <a:gd name="connsiteX2193" fmla="*/ 7450200 w 24377650"/>
              <a:gd name="connsiteY2193" fmla="*/ 6628911 h 8304597"/>
              <a:gd name="connsiteX2194" fmla="*/ 7488726 w 24377650"/>
              <a:gd name="connsiteY2194" fmla="*/ 6590389 h 8304597"/>
              <a:gd name="connsiteX2195" fmla="*/ 7297703 w 24377650"/>
              <a:gd name="connsiteY2195" fmla="*/ 6628911 h 8304597"/>
              <a:gd name="connsiteX2196" fmla="*/ 7145206 w 24377650"/>
              <a:gd name="connsiteY2196" fmla="*/ 6476430 h 8304597"/>
              <a:gd name="connsiteX2197" fmla="*/ 7069760 w 24377650"/>
              <a:gd name="connsiteY2197" fmla="*/ 6514951 h 8304597"/>
              <a:gd name="connsiteX2198" fmla="*/ 6878737 w 24377650"/>
              <a:gd name="connsiteY2198" fmla="*/ 6476430 h 8304597"/>
              <a:gd name="connsiteX2199" fmla="*/ 6535217 w 24377650"/>
              <a:gd name="connsiteY2199" fmla="*/ 6400992 h 8304597"/>
              <a:gd name="connsiteX2200" fmla="*/ 6079331 w 24377650"/>
              <a:gd name="connsiteY2200" fmla="*/ 6400992 h 8304597"/>
              <a:gd name="connsiteX2201" fmla="*/ 6154777 w 24377650"/>
              <a:gd name="connsiteY2201" fmla="*/ 6400992 h 8304597"/>
              <a:gd name="connsiteX2202" fmla="*/ 6231828 w 24377650"/>
              <a:gd name="connsiteY2202" fmla="*/ 6362471 h 8304597"/>
              <a:gd name="connsiteX2203" fmla="*/ 6231828 w 24377650"/>
              <a:gd name="connsiteY2203" fmla="*/ 6400992 h 8304597"/>
              <a:gd name="connsiteX2204" fmla="*/ 6382720 w 24377650"/>
              <a:gd name="connsiteY2204" fmla="*/ 6400992 h 8304597"/>
              <a:gd name="connsiteX2205" fmla="*/ 6421246 w 24377650"/>
              <a:gd name="connsiteY2205" fmla="*/ 6362471 h 8304597"/>
              <a:gd name="connsiteX2206" fmla="*/ 6154777 w 24377650"/>
              <a:gd name="connsiteY2206" fmla="*/ 6362471 h 8304597"/>
              <a:gd name="connsiteX2207" fmla="*/ 6002280 w 24377650"/>
              <a:gd name="connsiteY2207" fmla="*/ 6362471 h 8304597"/>
              <a:gd name="connsiteX2208" fmla="*/ 6116251 w 24377650"/>
              <a:gd name="connsiteY2208" fmla="*/ 6323949 h 8304597"/>
              <a:gd name="connsiteX2209" fmla="*/ 6116251 w 24377650"/>
              <a:gd name="connsiteY2209" fmla="*/ 6285427 h 8304597"/>
              <a:gd name="connsiteX2210" fmla="*/ 6040805 w 24377650"/>
              <a:gd name="connsiteY2210" fmla="*/ 6323949 h 8304597"/>
              <a:gd name="connsiteX2211" fmla="*/ 5888308 w 24377650"/>
              <a:gd name="connsiteY2211" fmla="*/ 6285427 h 8304597"/>
              <a:gd name="connsiteX2212" fmla="*/ 6079331 w 24377650"/>
              <a:gd name="connsiteY2212" fmla="*/ 6248511 h 8304597"/>
              <a:gd name="connsiteX2213" fmla="*/ 6040805 w 24377650"/>
              <a:gd name="connsiteY2213" fmla="*/ 6209989 h 8304597"/>
              <a:gd name="connsiteX2214" fmla="*/ 5658760 w 24377650"/>
              <a:gd name="connsiteY2214" fmla="*/ 6209989 h 8304597"/>
              <a:gd name="connsiteX2215" fmla="*/ 5164348 w 24377650"/>
              <a:gd name="connsiteY2215" fmla="*/ 6248511 h 8304597"/>
              <a:gd name="connsiteX2216" fmla="*/ 5278320 w 24377650"/>
              <a:gd name="connsiteY2216" fmla="*/ 6248511 h 8304597"/>
              <a:gd name="connsiteX2217" fmla="*/ 5201268 w 24377650"/>
              <a:gd name="connsiteY2217" fmla="*/ 6285427 h 8304597"/>
              <a:gd name="connsiteX2218" fmla="*/ 5278320 w 24377650"/>
              <a:gd name="connsiteY2218" fmla="*/ 6323949 h 8304597"/>
              <a:gd name="connsiteX2219" fmla="*/ 5392291 w 24377650"/>
              <a:gd name="connsiteY2219" fmla="*/ 6362471 h 8304597"/>
              <a:gd name="connsiteX2220" fmla="*/ 4973325 w 24377650"/>
              <a:gd name="connsiteY2220" fmla="*/ 6362471 h 8304597"/>
              <a:gd name="connsiteX2221" fmla="*/ 5011851 w 24377650"/>
              <a:gd name="connsiteY2221" fmla="*/ 6285427 h 8304597"/>
              <a:gd name="connsiteX2222" fmla="*/ 5125822 w 24377650"/>
              <a:gd name="connsiteY2222" fmla="*/ 6285427 h 8304597"/>
              <a:gd name="connsiteX2223" fmla="*/ 5087296 w 24377650"/>
              <a:gd name="connsiteY2223" fmla="*/ 6209989 h 8304597"/>
              <a:gd name="connsiteX2224" fmla="*/ 4934800 w 24377650"/>
              <a:gd name="connsiteY2224" fmla="*/ 6248511 h 8304597"/>
              <a:gd name="connsiteX2225" fmla="*/ 4820828 w 24377650"/>
              <a:gd name="connsiteY2225" fmla="*/ 6248511 h 8304597"/>
              <a:gd name="connsiteX2226" fmla="*/ 4820828 w 24377650"/>
              <a:gd name="connsiteY2226" fmla="*/ 6209989 h 8304597"/>
              <a:gd name="connsiteX2227" fmla="*/ 4477308 w 24377650"/>
              <a:gd name="connsiteY2227" fmla="*/ 6209989 h 8304597"/>
              <a:gd name="connsiteX2228" fmla="*/ 3944371 w 24377650"/>
              <a:gd name="connsiteY2228" fmla="*/ 6171468 h 8304597"/>
              <a:gd name="connsiteX2229" fmla="*/ 3714822 w 24377650"/>
              <a:gd name="connsiteY2229" fmla="*/ 6171468 h 8304597"/>
              <a:gd name="connsiteX2230" fmla="*/ 3562324 w 24377650"/>
              <a:gd name="connsiteY2230" fmla="*/ 6171468 h 8304597"/>
              <a:gd name="connsiteX2231" fmla="*/ 3486879 w 24377650"/>
              <a:gd name="connsiteY2231" fmla="*/ 6209989 h 8304597"/>
              <a:gd name="connsiteX2232" fmla="*/ 3486879 w 24377650"/>
              <a:gd name="connsiteY2232" fmla="*/ 6171468 h 8304597"/>
              <a:gd name="connsiteX2233" fmla="*/ 3372907 w 24377650"/>
              <a:gd name="connsiteY2233" fmla="*/ 6132947 h 8304597"/>
              <a:gd name="connsiteX2234" fmla="*/ 3372305 w 24377650"/>
              <a:gd name="connsiteY2234" fmla="*/ 6171468 h 8304597"/>
              <a:gd name="connsiteX2235" fmla="*/ 3372907 w 24377650"/>
              <a:gd name="connsiteY2235" fmla="*/ 6171904 h 8304597"/>
              <a:gd name="connsiteX2236" fmla="*/ 3372907 w 24377650"/>
              <a:gd name="connsiteY2236" fmla="*/ 6209989 h 8304597"/>
              <a:gd name="connsiteX2237" fmla="*/ 3257330 w 24377650"/>
              <a:gd name="connsiteY2237" fmla="*/ 6171468 h 8304597"/>
              <a:gd name="connsiteX2238" fmla="*/ 3295856 w 24377650"/>
              <a:gd name="connsiteY2238" fmla="*/ 6132947 h 8304597"/>
              <a:gd name="connsiteX2239" fmla="*/ 3067913 w 24377650"/>
              <a:gd name="connsiteY2239" fmla="*/ 6132947 h 8304597"/>
              <a:gd name="connsiteX2240" fmla="*/ 2534975 w 24377650"/>
              <a:gd name="connsiteY2240" fmla="*/ 6132947 h 8304597"/>
              <a:gd name="connsiteX2241" fmla="*/ 2457924 w 24377650"/>
              <a:gd name="connsiteY2241" fmla="*/ 6171468 h 8304597"/>
              <a:gd name="connsiteX2242" fmla="*/ 2419399 w 24377650"/>
              <a:gd name="connsiteY2242" fmla="*/ 6096030 h 8304597"/>
              <a:gd name="connsiteX2243" fmla="*/ 2267503 w 24377650"/>
              <a:gd name="connsiteY2243" fmla="*/ 6096030 h 8304597"/>
              <a:gd name="connsiteX2244" fmla="*/ 2266901 w 24377650"/>
              <a:gd name="connsiteY2244" fmla="*/ 6096030 h 8304597"/>
              <a:gd name="connsiteX2245" fmla="*/ 2114404 w 24377650"/>
              <a:gd name="connsiteY2245" fmla="*/ 6096030 h 8304597"/>
              <a:gd name="connsiteX2246" fmla="*/ 2266901 w 24377650"/>
              <a:gd name="connsiteY2246" fmla="*/ 6096030 h 8304597"/>
              <a:gd name="connsiteX2247" fmla="*/ 2152929 w 24377650"/>
              <a:gd name="connsiteY2247" fmla="*/ 6171468 h 8304597"/>
              <a:gd name="connsiteX2248" fmla="*/ 2152929 w 24377650"/>
              <a:gd name="connsiteY2248" fmla="*/ 6132947 h 8304597"/>
              <a:gd name="connsiteX2249" fmla="*/ 1884855 w 24377650"/>
              <a:gd name="connsiteY2249" fmla="*/ 6171468 h 8304597"/>
              <a:gd name="connsiteX2250" fmla="*/ 1467495 w 24377650"/>
              <a:gd name="connsiteY2250" fmla="*/ 6132947 h 8304597"/>
              <a:gd name="connsiteX2251" fmla="*/ 1504415 w 24377650"/>
              <a:gd name="connsiteY2251" fmla="*/ 6209989 h 8304597"/>
              <a:gd name="connsiteX2252" fmla="*/ 1579861 w 24377650"/>
              <a:gd name="connsiteY2252" fmla="*/ 6132947 h 8304597"/>
              <a:gd name="connsiteX2253" fmla="*/ 1732358 w 24377650"/>
              <a:gd name="connsiteY2253" fmla="*/ 6171468 h 8304597"/>
              <a:gd name="connsiteX2254" fmla="*/ 2037353 w 24377650"/>
              <a:gd name="connsiteY2254" fmla="*/ 6171468 h 8304597"/>
              <a:gd name="connsiteX2255" fmla="*/ 2037353 w 24377650"/>
              <a:gd name="connsiteY2255" fmla="*/ 6248511 h 8304597"/>
              <a:gd name="connsiteX2256" fmla="*/ 2152929 w 24377650"/>
              <a:gd name="connsiteY2256" fmla="*/ 6248511 h 8304597"/>
              <a:gd name="connsiteX2257" fmla="*/ 2189850 w 24377650"/>
              <a:gd name="connsiteY2257" fmla="*/ 6248511 h 8304597"/>
              <a:gd name="connsiteX2258" fmla="*/ 2382478 w 24377650"/>
              <a:gd name="connsiteY2258" fmla="*/ 6285427 h 8304597"/>
              <a:gd name="connsiteX2259" fmla="*/ 2305426 w 24377650"/>
              <a:gd name="connsiteY2259" fmla="*/ 6323949 h 8304597"/>
              <a:gd name="connsiteX2260" fmla="*/ 2077483 w 24377650"/>
              <a:gd name="connsiteY2260" fmla="*/ 6323949 h 8304597"/>
              <a:gd name="connsiteX2261" fmla="*/ 2000433 w 24377650"/>
              <a:gd name="connsiteY2261" fmla="*/ 6285427 h 8304597"/>
              <a:gd name="connsiteX2262" fmla="*/ 1884855 w 24377650"/>
              <a:gd name="connsiteY2262" fmla="*/ 6362471 h 8304597"/>
              <a:gd name="connsiteX2263" fmla="*/ 1772489 w 24377650"/>
              <a:gd name="connsiteY2263" fmla="*/ 6362471 h 8304597"/>
              <a:gd name="connsiteX2264" fmla="*/ 1809410 w 24377650"/>
              <a:gd name="connsiteY2264" fmla="*/ 6285427 h 8304597"/>
              <a:gd name="connsiteX2265" fmla="*/ 1732358 w 24377650"/>
              <a:gd name="connsiteY2265" fmla="*/ 6248511 h 8304597"/>
              <a:gd name="connsiteX2266" fmla="*/ 1695438 w 24377650"/>
              <a:gd name="connsiteY2266" fmla="*/ 6285427 h 8304597"/>
              <a:gd name="connsiteX2267" fmla="*/ 1504415 w 24377650"/>
              <a:gd name="connsiteY2267" fmla="*/ 6248511 h 8304597"/>
              <a:gd name="connsiteX2268" fmla="*/ 1467495 w 24377650"/>
              <a:gd name="connsiteY2268" fmla="*/ 6285427 h 8304597"/>
              <a:gd name="connsiteX2269" fmla="*/ 1459665 w 24377650"/>
              <a:gd name="connsiteY2269" fmla="*/ 6286266 h 8304597"/>
              <a:gd name="connsiteX2270" fmla="*/ 1437251 w 24377650"/>
              <a:gd name="connsiteY2270" fmla="*/ 6277786 h 8304597"/>
              <a:gd name="connsiteX2271" fmla="*/ 1455756 w 24377650"/>
              <a:gd name="connsiteY2271" fmla="*/ 6263483 h 8304597"/>
              <a:gd name="connsiteX2272" fmla="*/ 1467495 w 24377650"/>
              <a:gd name="connsiteY2272" fmla="*/ 6209989 h 8304597"/>
              <a:gd name="connsiteX2273" fmla="*/ 1351918 w 24377650"/>
              <a:gd name="connsiteY2273" fmla="*/ 6209989 h 8304597"/>
              <a:gd name="connsiteX2274" fmla="*/ 1351918 w 24377650"/>
              <a:gd name="connsiteY2274" fmla="*/ 6132947 h 8304597"/>
              <a:gd name="connsiteX2275" fmla="*/ 1274867 w 24377650"/>
              <a:gd name="connsiteY2275" fmla="*/ 6132947 h 8304597"/>
              <a:gd name="connsiteX2276" fmla="*/ 1162501 w 24377650"/>
              <a:gd name="connsiteY2276" fmla="*/ 6209989 h 8304597"/>
              <a:gd name="connsiteX2277" fmla="*/ 1199421 w 24377650"/>
              <a:gd name="connsiteY2277" fmla="*/ 6132947 h 8304597"/>
              <a:gd name="connsiteX2278" fmla="*/ 1122370 w 24377650"/>
              <a:gd name="connsiteY2278" fmla="*/ 6132947 h 8304597"/>
              <a:gd name="connsiteX2279" fmla="*/ 857506 w 24377650"/>
              <a:gd name="connsiteY2279" fmla="*/ 6171468 h 8304597"/>
              <a:gd name="connsiteX2280" fmla="*/ 932952 w 24377650"/>
              <a:gd name="connsiteY2280" fmla="*/ 6248511 h 8304597"/>
              <a:gd name="connsiteX2281" fmla="*/ 1046923 w 24377650"/>
              <a:gd name="connsiteY2281" fmla="*/ 6209989 h 8304597"/>
              <a:gd name="connsiteX2282" fmla="*/ 1046923 w 24377650"/>
              <a:gd name="connsiteY2282" fmla="*/ 6285427 h 8304597"/>
              <a:gd name="connsiteX2283" fmla="*/ 1010004 w 24377650"/>
              <a:gd name="connsiteY2283" fmla="*/ 6323949 h 8304597"/>
              <a:gd name="connsiteX2284" fmla="*/ 627957 w 24377650"/>
              <a:gd name="connsiteY2284" fmla="*/ 6248511 h 8304597"/>
              <a:gd name="connsiteX2285" fmla="*/ 208992 w 24377650"/>
              <a:gd name="connsiteY2285" fmla="*/ 6209989 h 8304597"/>
              <a:gd name="connsiteX2286" fmla="*/ 513986 w 24377650"/>
              <a:gd name="connsiteY2286" fmla="*/ 6209989 h 8304597"/>
              <a:gd name="connsiteX2287" fmla="*/ 780455 w 24377650"/>
              <a:gd name="connsiteY2287" fmla="*/ 6209989 h 8304597"/>
              <a:gd name="connsiteX2288" fmla="*/ 741929 w 24377650"/>
              <a:gd name="connsiteY2288" fmla="*/ 6132947 h 8304597"/>
              <a:gd name="connsiteX2289" fmla="*/ 705009 w 24377650"/>
              <a:gd name="connsiteY2289" fmla="*/ 6171468 h 8304597"/>
              <a:gd name="connsiteX2290" fmla="*/ 589432 w 24377650"/>
              <a:gd name="connsiteY2290" fmla="*/ 6209989 h 8304597"/>
              <a:gd name="connsiteX2291" fmla="*/ 627957 w 24377650"/>
              <a:gd name="connsiteY2291" fmla="*/ 6132947 h 8304597"/>
              <a:gd name="connsiteX2292" fmla="*/ 17969 w 24377650"/>
              <a:gd name="connsiteY2292" fmla="*/ 6171468 h 8304597"/>
              <a:gd name="connsiteX2293" fmla="*/ 0 w 24377650"/>
              <a:gd name="connsiteY2293" fmla="*/ 6174682 h 8304597"/>
              <a:gd name="connsiteX2294" fmla="*/ 0 w 24377650"/>
              <a:gd name="connsiteY2294" fmla="*/ 5785312 h 8304597"/>
              <a:gd name="connsiteX2295" fmla="*/ 12727 w 24377650"/>
              <a:gd name="connsiteY2295" fmla="*/ 5781447 h 8304597"/>
              <a:gd name="connsiteX2296" fmla="*/ 322963 w 24377650"/>
              <a:gd name="connsiteY2296" fmla="*/ 5752547 h 8304597"/>
              <a:gd name="connsiteX2297" fmla="*/ 34021 w 24377650"/>
              <a:gd name="connsiteY2297" fmla="*/ 5720044 h 8304597"/>
              <a:gd name="connsiteX2298" fmla="*/ 0 w 24377650"/>
              <a:gd name="connsiteY2298" fmla="*/ 5703483 h 8304597"/>
              <a:gd name="connsiteX2299" fmla="*/ 0 w 24377650"/>
              <a:gd name="connsiteY2299" fmla="*/ 5647681 h 8304597"/>
              <a:gd name="connsiteX2300" fmla="*/ 103849 w 24377650"/>
              <a:gd name="connsiteY2300" fmla="*/ 5633170 h 8304597"/>
              <a:gd name="connsiteX2301" fmla="*/ 361489 w 24377650"/>
              <a:gd name="connsiteY2301" fmla="*/ 5600065 h 8304597"/>
              <a:gd name="connsiteX2302" fmla="*/ 475460 w 24377650"/>
              <a:gd name="connsiteY2302" fmla="*/ 5561544 h 8304597"/>
              <a:gd name="connsiteX2303" fmla="*/ 361489 w 24377650"/>
              <a:gd name="connsiteY2303" fmla="*/ 5600065 h 8304597"/>
              <a:gd name="connsiteX2304" fmla="*/ 322963 w 24377650"/>
              <a:gd name="connsiteY2304" fmla="*/ 5561544 h 8304597"/>
              <a:gd name="connsiteX2305" fmla="*/ 589432 w 24377650"/>
              <a:gd name="connsiteY2305" fmla="*/ 5447585 h 8304597"/>
              <a:gd name="connsiteX2306" fmla="*/ 552512 w 24377650"/>
              <a:gd name="connsiteY2306" fmla="*/ 5486106 h 8304597"/>
              <a:gd name="connsiteX2307" fmla="*/ 705009 w 24377650"/>
              <a:gd name="connsiteY2307" fmla="*/ 5447585 h 8304597"/>
              <a:gd name="connsiteX2308" fmla="*/ 666483 w 24377650"/>
              <a:gd name="connsiteY2308" fmla="*/ 5486106 h 8304597"/>
              <a:gd name="connsiteX2309" fmla="*/ 818981 w 24377650"/>
              <a:gd name="connsiteY2309" fmla="*/ 5409063 h 8304597"/>
              <a:gd name="connsiteX2310" fmla="*/ 969873 w 24377650"/>
              <a:gd name="connsiteY2310" fmla="*/ 5370541 h 8304597"/>
              <a:gd name="connsiteX2311" fmla="*/ 627957 w 24377650"/>
              <a:gd name="connsiteY2311" fmla="*/ 5370541 h 8304597"/>
              <a:gd name="connsiteX2312" fmla="*/ 510123 w 24377650"/>
              <a:gd name="connsiteY2312" fmla="*/ 5408461 h 8304597"/>
              <a:gd name="connsiteX2313" fmla="*/ 509517 w 24377650"/>
              <a:gd name="connsiteY2313" fmla="*/ 5407998 h 8304597"/>
              <a:gd name="connsiteX2314" fmla="*/ 513986 w 24377650"/>
              <a:gd name="connsiteY2314" fmla="*/ 5409063 h 8304597"/>
              <a:gd name="connsiteX2315" fmla="*/ 513986 w 24377650"/>
              <a:gd name="connsiteY2315" fmla="*/ 5333625 h 8304597"/>
              <a:gd name="connsiteX2316" fmla="*/ 589432 w 24377650"/>
              <a:gd name="connsiteY2316" fmla="*/ 5295103 h 8304597"/>
              <a:gd name="connsiteX2317" fmla="*/ 818981 w 24377650"/>
              <a:gd name="connsiteY2317" fmla="*/ 5218061 h 8304597"/>
              <a:gd name="connsiteX2318" fmla="*/ 322963 w 24377650"/>
              <a:gd name="connsiteY2318" fmla="*/ 5218061 h 8304597"/>
              <a:gd name="connsiteX2319" fmla="*/ 284438 w 24377650"/>
              <a:gd name="connsiteY2319" fmla="*/ 5142623 h 8304597"/>
              <a:gd name="connsiteX2320" fmla="*/ 133546 w 24377650"/>
              <a:gd name="connsiteY2320" fmla="*/ 5142623 h 8304597"/>
              <a:gd name="connsiteX2321" fmla="*/ 247517 w 24377650"/>
              <a:gd name="connsiteY2321" fmla="*/ 5104101 h 8304597"/>
              <a:gd name="connsiteX2322" fmla="*/ 56494 w 24377650"/>
              <a:gd name="connsiteY2322" fmla="*/ 5104101 h 8304597"/>
              <a:gd name="connsiteX2323" fmla="*/ 48920 w 24377650"/>
              <a:gd name="connsiteY2323" fmla="*/ 5059285 h 8304597"/>
              <a:gd name="connsiteX2324" fmla="*/ 0 w 24377650"/>
              <a:gd name="connsiteY2324" fmla="*/ 5031479 h 8304597"/>
              <a:gd name="connsiteX2325" fmla="*/ 0 w 24377650"/>
              <a:gd name="connsiteY2325" fmla="*/ 4915963 h 8304597"/>
              <a:gd name="connsiteX2326" fmla="*/ 17969 w 24377650"/>
              <a:gd name="connsiteY2326" fmla="*/ 4913099 h 8304597"/>
              <a:gd name="connsiteX2327" fmla="*/ 0 w 24377650"/>
              <a:gd name="connsiteY2327" fmla="*/ 4899884 h 8304597"/>
              <a:gd name="connsiteX2328" fmla="*/ 0 w 24377650"/>
              <a:gd name="connsiteY2328" fmla="*/ 4795698 h 8304597"/>
              <a:gd name="connsiteX2329" fmla="*/ 54964 w 24377650"/>
              <a:gd name="connsiteY2329" fmla="*/ 4803700 h 8304597"/>
              <a:gd name="connsiteX2330" fmla="*/ 247517 w 24377650"/>
              <a:gd name="connsiteY2330" fmla="*/ 4760617 h 8304597"/>
              <a:gd name="connsiteX2331" fmla="*/ 247517 w 24377650"/>
              <a:gd name="connsiteY2331" fmla="*/ 4837661 h 8304597"/>
              <a:gd name="connsiteX2332" fmla="*/ 322963 w 24377650"/>
              <a:gd name="connsiteY2332" fmla="*/ 4799139 h 8304597"/>
              <a:gd name="connsiteX2333" fmla="*/ 361489 w 24377650"/>
              <a:gd name="connsiteY2333" fmla="*/ 4799139 h 8304597"/>
              <a:gd name="connsiteX2334" fmla="*/ 436935 w 24377650"/>
              <a:gd name="connsiteY2334" fmla="*/ 4876182 h 8304597"/>
              <a:gd name="connsiteX2335" fmla="*/ 475460 w 24377650"/>
              <a:gd name="connsiteY2335" fmla="*/ 4837661 h 8304597"/>
              <a:gd name="connsiteX2336" fmla="*/ 400015 w 24377650"/>
              <a:gd name="connsiteY2336" fmla="*/ 4799139 h 8304597"/>
              <a:gd name="connsiteX2337" fmla="*/ 627957 w 24377650"/>
              <a:gd name="connsiteY2337" fmla="*/ 4876182 h 8304597"/>
              <a:gd name="connsiteX2338" fmla="*/ 627957 w 24377650"/>
              <a:gd name="connsiteY2338" fmla="*/ 4951620 h 8304597"/>
              <a:gd name="connsiteX2339" fmla="*/ 705009 w 24377650"/>
              <a:gd name="connsiteY2339" fmla="*/ 4913099 h 8304597"/>
              <a:gd name="connsiteX2340" fmla="*/ 741929 w 24377650"/>
              <a:gd name="connsiteY2340" fmla="*/ 4951620 h 8304597"/>
              <a:gd name="connsiteX2341" fmla="*/ 361489 w 24377650"/>
              <a:gd name="connsiteY2341" fmla="*/ 4990141 h 8304597"/>
              <a:gd name="connsiteX2342" fmla="*/ 322963 w 24377650"/>
              <a:gd name="connsiteY2342" fmla="*/ 5065579 h 8304597"/>
              <a:gd name="connsiteX2343" fmla="*/ 589432 w 24377650"/>
              <a:gd name="connsiteY2343" fmla="*/ 5104101 h 8304597"/>
              <a:gd name="connsiteX2344" fmla="*/ 627957 w 24377650"/>
              <a:gd name="connsiteY2344" fmla="*/ 5065579 h 8304597"/>
              <a:gd name="connsiteX2345" fmla="*/ 666483 w 24377650"/>
              <a:gd name="connsiteY2345" fmla="*/ 5028663 h 8304597"/>
              <a:gd name="connsiteX2346" fmla="*/ 741929 w 24377650"/>
              <a:gd name="connsiteY2346" fmla="*/ 4951620 h 8304597"/>
              <a:gd name="connsiteX2347" fmla="*/ 969873 w 24377650"/>
              <a:gd name="connsiteY2347" fmla="*/ 5028663 h 8304597"/>
              <a:gd name="connsiteX2348" fmla="*/ 932952 w 24377650"/>
              <a:gd name="connsiteY2348" fmla="*/ 5065579 h 8304597"/>
              <a:gd name="connsiteX2349" fmla="*/ 1122370 w 24377650"/>
              <a:gd name="connsiteY2349" fmla="*/ 5065579 h 8304597"/>
              <a:gd name="connsiteX2350" fmla="*/ 1085449 w 24377650"/>
              <a:gd name="connsiteY2350" fmla="*/ 4990141 h 8304597"/>
              <a:gd name="connsiteX2351" fmla="*/ 741929 w 24377650"/>
              <a:gd name="connsiteY2351" fmla="*/ 4913099 h 8304597"/>
              <a:gd name="connsiteX2352" fmla="*/ 932952 w 24377650"/>
              <a:gd name="connsiteY2352" fmla="*/ 4837661 h 8304597"/>
              <a:gd name="connsiteX2353" fmla="*/ 932952 w 24377650"/>
              <a:gd name="connsiteY2353" fmla="*/ 4913099 h 8304597"/>
              <a:gd name="connsiteX2354" fmla="*/ 1046923 w 24377650"/>
              <a:gd name="connsiteY2354" fmla="*/ 4876182 h 8304597"/>
              <a:gd name="connsiteX2355" fmla="*/ 1046923 w 24377650"/>
              <a:gd name="connsiteY2355" fmla="*/ 4913099 h 8304597"/>
              <a:gd name="connsiteX2356" fmla="*/ 1162501 w 24377650"/>
              <a:gd name="connsiteY2356" fmla="*/ 4913099 h 8304597"/>
              <a:gd name="connsiteX2357" fmla="*/ 1202128 w 24377650"/>
              <a:gd name="connsiteY2357" fmla="*/ 4907858 h 8304597"/>
              <a:gd name="connsiteX2358" fmla="*/ 1162501 w 24377650"/>
              <a:gd name="connsiteY2358" fmla="*/ 4951620 h 8304597"/>
              <a:gd name="connsiteX2359" fmla="*/ 1314997 w 24377650"/>
              <a:gd name="connsiteY2359" fmla="*/ 4913099 h 8304597"/>
              <a:gd name="connsiteX2360" fmla="*/ 1467495 w 24377650"/>
              <a:gd name="connsiteY2360" fmla="*/ 4951620 h 8304597"/>
              <a:gd name="connsiteX2361" fmla="*/ 1695438 w 24377650"/>
              <a:gd name="connsiteY2361" fmla="*/ 4837661 h 8304597"/>
              <a:gd name="connsiteX2362" fmla="*/ 1732358 w 24377650"/>
              <a:gd name="connsiteY2362" fmla="*/ 4876182 h 8304597"/>
              <a:gd name="connsiteX2363" fmla="*/ 1732358 w 24377650"/>
              <a:gd name="connsiteY2363" fmla="*/ 4837661 h 8304597"/>
              <a:gd name="connsiteX2364" fmla="*/ 1732358 w 24377650"/>
              <a:gd name="connsiteY2364" fmla="*/ 4876182 h 8304597"/>
              <a:gd name="connsiteX2365" fmla="*/ 1695438 w 24377650"/>
              <a:gd name="connsiteY2365" fmla="*/ 4837661 h 8304597"/>
              <a:gd name="connsiteX2366" fmla="*/ 1390444 w 24377650"/>
              <a:gd name="connsiteY2366" fmla="*/ 4876182 h 8304597"/>
              <a:gd name="connsiteX2367" fmla="*/ 1542941 w 24377650"/>
              <a:gd name="connsiteY2367" fmla="*/ 4799139 h 8304597"/>
              <a:gd name="connsiteX2368" fmla="*/ 1467495 w 24377650"/>
              <a:gd name="connsiteY2368" fmla="*/ 4760617 h 8304597"/>
              <a:gd name="connsiteX2369" fmla="*/ 1351918 w 24377650"/>
              <a:gd name="connsiteY2369" fmla="*/ 4723701 h 8304597"/>
              <a:gd name="connsiteX2370" fmla="*/ 1390444 w 24377650"/>
              <a:gd name="connsiteY2370" fmla="*/ 4685179 h 8304597"/>
              <a:gd name="connsiteX2371" fmla="*/ 1504415 w 24377650"/>
              <a:gd name="connsiteY2371" fmla="*/ 4685179 h 8304597"/>
              <a:gd name="connsiteX2372" fmla="*/ 1259909 w 24377650"/>
              <a:gd name="connsiteY2372" fmla="*/ 4698346 h 8304597"/>
              <a:gd name="connsiteX2373" fmla="*/ 1271720 w 24377650"/>
              <a:gd name="connsiteY2373" fmla="*/ 4718367 h 8304597"/>
              <a:gd name="connsiteX2374" fmla="*/ 1266289 w 24377650"/>
              <a:gd name="connsiteY2374" fmla="*/ 4722533 h 8304597"/>
              <a:gd name="connsiteX2375" fmla="*/ 1230673 w 24377650"/>
              <a:gd name="connsiteY2375" fmla="*/ 4717682 h 8304597"/>
              <a:gd name="connsiteX2376" fmla="*/ 1204237 w 24377650"/>
              <a:gd name="connsiteY2376" fmla="*/ 4704440 h 8304597"/>
              <a:gd name="connsiteX2377" fmla="*/ 1187634 w 24377650"/>
              <a:gd name="connsiteY2377" fmla="*/ 4692997 h 8304597"/>
              <a:gd name="connsiteX2378" fmla="*/ 1219888 w 24377650"/>
              <a:gd name="connsiteY2378" fmla="*/ 4685179 h 8304597"/>
              <a:gd name="connsiteX2379" fmla="*/ 1237947 w 24377650"/>
              <a:gd name="connsiteY2379" fmla="*/ 4646657 h 8304597"/>
              <a:gd name="connsiteX2380" fmla="*/ 1390444 w 24377650"/>
              <a:gd name="connsiteY2380" fmla="*/ 4646657 h 8304597"/>
              <a:gd name="connsiteX2381" fmla="*/ 361489 w 24377650"/>
              <a:gd name="connsiteY2381" fmla="*/ 4609741 h 8304597"/>
              <a:gd name="connsiteX2382" fmla="*/ 247517 w 24377650"/>
              <a:gd name="connsiteY2382" fmla="*/ 4646657 h 8304597"/>
              <a:gd name="connsiteX2383" fmla="*/ 208992 w 24377650"/>
              <a:gd name="connsiteY2383" fmla="*/ 4723701 h 8304597"/>
              <a:gd name="connsiteX2384" fmla="*/ 170466 w 24377650"/>
              <a:gd name="connsiteY2384" fmla="*/ 4760617 h 8304597"/>
              <a:gd name="connsiteX2385" fmla="*/ 95020 w 24377650"/>
              <a:gd name="connsiteY2385" fmla="*/ 4685179 h 8304597"/>
              <a:gd name="connsiteX2386" fmla="*/ 46487 w 24377650"/>
              <a:gd name="connsiteY2386" fmla="*/ 4605277 h 8304597"/>
              <a:gd name="connsiteX2387" fmla="*/ 0 w 24377650"/>
              <a:gd name="connsiteY2387" fmla="*/ 4602459 h 8304597"/>
              <a:gd name="connsiteX2388" fmla="*/ 0 w 24377650"/>
              <a:gd name="connsiteY2388" fmla="*/ 4513602 h 8304597"/>
              <a:gd name="connsiteX2389" fmla="*/ 51882 w 24377650"/>
              <a:gd name="connsiteY2389" fmla="*/ 4506745 h 8304597"/>
              <a:gd name="connsiteX2390" fmla="*/ 95020 w 24377650"/>
              <a:gd name="connsiteY2390" fmla="*/ 4494177 h 8304597"/>
              <a:gd name="connsiteX2391" fmla="*/ 208992 w 24377650"/>
              <a:gd name="connsiteY2391" fmla="*/ 4494177 h 8304597"/>
              <a:gd name="connsiteX2392" fmla="*/ 133546 w 24377650"/>
              <a:gd name="connsiteY2392" fmla="*/ 4457260 h 8304597"/>
              <a:gd name="connsiteX2393" fmla="*/ 95020 w 24377650"/>
              <a:gd name="connsiteY2393" fmla="*/ 4494177 h 8304597"/>
              <a:gd name="connsiteX2394" fmla="*/ 54337 w 24377650"/>
              <a:gd name="connsiteY2394" fmla="*/ 4478603 h 8304597"/>
              <a:gd name="connsiteX2395" fmla="*/ 0 w 24377650"/>
              <a:gd name="connsiteY2395" fmla="*/ 4480318 h 8304597"/>
              <a:gd name="connsiteX2396" fmla="*/ 0 w 24377650"/>
              <a:gd name="connsiteY2396" fmla="*/ 4454990 h 8304597"/>
              <a:gd name="connsiteX2397" fmla="*/ 31287 w 24377650"/>
              <a:gd name="connsiteY2397" fmla="*/ 4451241 h 8304597"/>
              <a:gd name="connsiteX2398" fmla="*/ 133546 w 24377650"/>
              <a:gd name="connsiteY2398" fmla="*/ 4418739 h 8304597"/>
              <a:gd name="connsiteX2399" fmla="*/ 133546 w 24377650"/>
              <a:gd name="connsiteY2399" fmla="*/ 4380217 h 8304597"/>
              <a:gd name="connsiteX2400" fmla="*/ 666483 w 24377650"/>
              <a:gd name="connsiteY2400" fmla="*/ 4418739 h 8304597"/>
              <a:gd name="connsiteX2401" fmla="*/ 857506 w 24377650"/>
              <a:gd name="connsiteY2401" fmla="*/ 4457260 h 8304597"/>
              <a:gd name="connsiteX2402" fmla="*/ 818981 w 24377650"/>
              <a:gd name="connsiteY2402" fmla="*/ 4418739 h 8304597"/>
              <a:gd name="connsiteX2403" fmla="*/ 705009 w 24377650"/>
              <a:gd name="connsiteY2403" fmla="*/ 4418739 h 8304597"/>
              <a:gd name="connsiteX2404" fmla="*/ 894426 w 24377650"/>
              <a:gd name="connsiteY2404" fmla="*/ 4418739 h 8304597"/>
              <a:gd name="connsiteX2405" fmla="*/ 894426 w 24377650"/>
              <a:gd name="connsiteY2405" fmla="*/ 4457260 h 8304597"/>
              <a:gd name="connsiteX2406" fmla="*/ 1122370 w 24377650"/>
              <a:gd name="connsiteY2406" fmla="*/ 4457260 h 8304597"/>
              <a:gd name="connsiteX2407" fmla="*/ 1274867 w 24377650"/>
              <a:gd name="connsiteY2407" fmla="*/ 4341695 h 8304597"/>
              <a:gd name="connsiteX2408" fmla="*/ 1237947 w 24377650"/>
              <a:gd name="connsiteY2408" fmla="*/ 4266257 h 8304597"/>
              <a:gd name="connsiteX2409" fmla="*/ 1351918 w 24377650"/>
              <a:gd name="connsiteY2409" fmla="*/ 4266257 h 8304597"/>
              <a:gd name="connsiteX2410" fmla="*/ 1356734 w 24377650"/>
              <a:gd name="connsiteY2410" fmla="*/ 4266257 h 8304597"/>
              <a:gd name="connsiteX2411" fmla="*/ 1367821 w 24377650"/>
              <a:gd name="connsiteY2411" fmla="*/ 4266257 h 8304597"/>
              <a:gd name="connsiteX2412" fmla="*/ 1351918 w 24377650"/>
              <a:gd name="connsiteY2412" fmla="*/ 4304779 h 8304597"/>
              <a:gd name="connsiteX2413" fmla="*/ 1314997 w 24377650"/>
              <a:gd name="connsiteY2413" fmla="*/ 4304779 h 8304597"/>
              <a:gd name="connsiteX2414" fmla="*/ 1314997 w 24377650"/>
              <a:gd name="connsiteY2414" fmla="*/ 4457260 h 8304597"/>
              <a:gd name="connsiteX2415" fmla="*/ 1467495 w 24377650"/>
              <a:gd name="connsiteY2415" fmla="*/ 4457260 h 8304597"/>
              <a:gd name="connsiteX2416" fmla="*/ 1461224 w 24377650"/>
              <a:gd name="connsiteY2416" fmla="*/ 4434990 h 8304597"/>
              <a:gd name="connsiteX2417" fmla="*/ 1447888 w 24377650"/>
              <a:gd name="connsiteY2417" fmla="*/ 4423934 h 8304597"/>
              <a:gd name="connsiteX2418" fmla="*/ 1451141 w 24377650"/>
              <a:gd name="connsiteY2418" fmla="*/ 4424758 h 8304597"/>
              <a:gd name="connsiteX2419" fmla="*/ 1504415 w 24377650"/>
              <a:gd name="connsiteY2419" fmla="*/ 4457260 h 8304597"/>
              <a:gd name="connsiteX2420" fmla="*/ 1351918 w 24377650"/>
              <a:gd name="connsiteY2420" fmla="*/ 4494177 h 8304597"/>
              <a:gd name="connsiteX2421" fmla="*/ 1351918 w 24377650"/>
              <a:gd name="connsiteY2421" fmla="*/ 4532698 h 8304597"/>
              <a:gd name="connsiteX2422" fmla="*/ 1324278 w 24377650"/>
              <a:gd name="connsiteY2422" fmla="*/ 4532698 h 8304597"/>
              <a:gd name="connsiteX2423" fmla="*/ 1199421 w 24377650"/>
              <a:gd name="connsiteY2423" fmla="*/ 4532698 h 8304597"/>
              <a:gd name="connsiteX2424" fmla="*/ 1010004 w 24377650"/>
              <a:gd name="connsiteY2424" fmla="*/ 4571219 h 8304597"/>
              <a:gd name="connsiteX2425" fmla="*/ 1199421 w 24377650"/>
              <a:gd name="connsiteY2425" fmla="*/ 4532698 h 8304597"/>
              <a:gd name="connsiteX2426" fmla="*/ 1504415 w 24377650"/>
              <a:gd name="connsiteY2426" fmla="*/ 4609741 h 8304597"/>
              <a:gd name="connsiteX2427" fmla="*/ 1847935 w 24377650"/>
              <a:gd name="connsiteY2427" fmla="*/ 4571219 h 8304597"/>
              <a:gd name="connsiteX2428" fmla="*/ 2077483 w 24377650"/>
              <a:gd name="connsiteY2428" fmla="*/ 4571219 h 8304597"/>
              <a:gd name="connsiteX2429" fmla="*/ 1961505 w 24377650"/>
              <a:gd name="connsiteY2429" fmla="*/ 4527883 h 8304597"/>
              <a:gd name="connsiteX2430" fmla="*/ 1960709 w 24377650"/>
              <a:gd name="connsiteY2430" fmla="*/ 4528074 h 8304597"/>
              <a:gd name="connsiteX2431" fmla="*/ 1956138 w 24377650"/>
              <a:gd name="connsiteY2431" fmla="*/ 4510428 h 8304597"/>
              <a:gd name="connsiteX2432" fmla="*/ 1924986 w 24377650"/>
              <a:gd name="connsiteY2432" fmla="*/ 4494177 h 8304597"/>
              <a:gd name="connsiteX2433" fmla="*/ 2077483 w 24377650"/>
              <a:gd name="connsiteY2433" fmla="*/ 4532698 h 8304597"/>
              <a:gd name="connsiteX2434" fmla="*/ 2229981 w 24377650"/>
              <a:gd name="connsiteY2434" fmla="*/ 4571219 h 8304597"/>
              <a:gd name="connsiteX2435" fmla="*/ 2494844 w 24377650"/>
              <a:gd name="connsiteY2435" fmla="*/ 4532698 h 8304597"/>
              <a:gd name="connsiteX2436" fmla="*/ 2382478 w 24377650"/>
              <a:gd name="connsiteY2436" fmla="*/ 4571219 h 8304597"/>
              <a:gd name="connsiteX2437" fmla="*/ 2419399 w 24377650"/>
              <a:gd name="connsiteY2437" fmla="*/ 4532698 h 8304597"/>
              <a:gd name="connsiteX2438" fmla="*/ 2305426 w 24377650"/>
              <a:gd name="connsiteY2438" fmla="*/ 4532698 h 8304597"/>
              <a:gd name="connsiteX2439" fmla="*/ 2305426 w 24377650"/>
              <a:gd name="connsiteY2439" fmla="*/ 4571219 h 8304597"/>
              <a:gd name="connsiteX2440" fmla="*/ 2266901 w 24377650"/>
              <a:gd name="connsiteY2440" fmla="*/ 4571219 h 8304597"/>
              <a:gd name="connsiteX2441" fmla="*/ 2229981 w 24377650"/>
              <a:gd name="connsiteY2441" fmla="*/ 4494177 h 8304597"/>
              <a:gd name="connsiteX2442" fmla="*/ 2229981 w 24377650"/>
              <a:gd name="connsiteY2442" fmla="*/ 4571219 h 8304597"/>
              <a:gd name="connsiteX2443" fmla="*/ 2077483 w 24377650"/>
              <a:gd name="connsiteY2443" fmla="*/ 4532698 h 8304597"/>
              <a:gd name="connsiteX2444" fmla="*/ 2189850 w 24377650"/>
              <a:gd name="connsiteY2444" fmla="*/ 4494177 h 8304597"/>
              <a:gd name="connsiteX2445" fmla="*/ 1996219 w 24377650"/>
              <a:gd name="connsiteY2445" fmla="*/ 4452044 h 8304597"/>
              <a:gd name="connsiteX2446" fmla="*/ 1963039 w 24377650"/>
              <a:gd name="connsiteY2446" fmla="*/ 4456856 h 8304597"/>
              <a:gd name="connsiteX2447" fmla="*/ 1978762 w 24377650"/>
              <a:gd name="connsiteY2447" fmla="*/ 4451241 h 8304597"/>
              <a:gd name="connsiteX2448" fmla="*/ 2000433 w 24377650"/>
              <a:gd name="connsiteY2448" fmla="*/ 4418739 h 8304597"/>
              <a:gd name="connsiteX2449" fmla="*/ 2305426 w 24377650"/>
              <a:gd name="connsiteY2449" fmla="*/ 4418739 h 8304597"/>
              <a:gd name="connsiteX2450" fmla="*/ 2189850 w 24377650"/>
              <a:gd name="connsiteY2450" fmla="*/ 4380217 h 8304597"/>
              <a:gd name="connsiteX2451" fmla="*/ 2571895 w 24377650"/>
              <a:gd name="connsiteY2451" fmla="*/ 4418739 h 8304597"/>
              <a:gd name="connsiteX2452" fmla="*/ 2494844 w 24377650"/>
              <a:gd name="connsiteY2452" fmla="*/ 4380217 h 8304597"/>
              <a:gd name="connsiteX2453" fmla="*/ 2799839 w 24377650"/>
              <a:gd name="connsiteY2453" fmla="*/ 4341695 h 8304597"/>
              <a:gd name="connsiteX2454" fmla="*/ 2799839 w 24377650"/>
              <a:gd name="connsiteY2454" fmla="*/ 4304779 h 8304597"/>
              <a:gd name="connsiteX2455" fmla="*/ 2952336 w 24377650"/>
              <a:gd name="connsiteY2455" fmla="*/ 4304779 h 8304597"/>
              <a:gd name="connsiteX2456" fmla="*/ 2839970 w 24377650"/>
              <a:gd name="connsiteY2456" fmla="*/ 4380217 h 8304597"/>
              <a:gd name="connsiteX2457" fmla="*/ 2990861 w 24377650"/>
              <a:gd name="connsiteY2457" fmla="*/ 4418739 h 8304597"/>
              <a:gd name="connsiteX2458" fmla="*/ 2990861 w 24377650"/>
              <a:gd name="connsiteY2458" fmla="*/ 4341695 h 8304597"/>
              <a:gd name="connsiteX2459" fmla="*/ 3181884 w 24377650"/>
              <a:gd name="connsiteY2459" fmla="*/ 4341695 h 8304597"/>
              <a:gd name="connsiteX2460" fmla="*/ 3104833 w 24377650"/>
              <a:gd name="connsiteY2460" fmla="*/ 4380217 h 8304597"/>
              <a:gd name="connsiteX2461" fmla="*/ 3295856 w 24377650"/>
              <a:gd name="connsiteY2461" fmla="*/ 4380217 h 8304597"/>
              <a:gd name="connsiteX2462" fmla="*/ 3295856 w 24377650"/>
              <a:gd name="connsiteY2462" fmla="*/ 4418739 h 8304597"/>
              <a:gd name="connsiteX2463" fmla="*/ 3366286 w 24377650"/>
              <a:gd name="connsiteY2463" fmla="*/ 4407905 h 8304597"/>
              <a:gd name="connsiteX2464" fmla="*/ 3366975 w 24377650"/>
              <a:gd name="connsiteY2464" fmla="*/ 4408095 h 8304597"/>
              <a:gd name="connsiteX2465" fmla="*/ 3371959 w 24377650"/>
              <a:gd name="connsiteY2465" fmla="*/ 4413545 h 8304597"/>
              <a:gd name="connsiteX2466" fmla="*/ 3372907 w 24377650"/>
              <a:gd name="connsiteY2466" fmla="*/ 4418739 h 8304597"/>
              <a:gd name="connsiteX2467" fmla="*/ 3372305 w 24377650"/>
              <a:gd name="connsiteY2467" fmla="*/ 4413924 h 8304597"/>
              <a:gd name="connsiteX2468" fmla="*/ 3371959 w 24377650"/>
              <a:gd name="connsiteY2468" fmla="*/ 4413545 h 8304597"/>
              <a:gd name="connsiteX2469" fmla="*/ 3371177 w 24377650"/>
              <a:gd name="connsiteY2469" fmla="*/ 4409259 h 8304597"/>
              <a:gd name="connsiteX2470" fmla="*/ 3366975 w 24377650"/>
              <a:gd name="connsiteY2470" fmla="*/ 4408095 h 8304597"/>
              <a:gd name="connsiteX2471" fmla="*/ 3361846 w 24377650"/>
              <a:gd name="connsiteY2471" fmla="*/ 4402488 h 8304597"/>
              <a:gd name="connsiteX2472" fmla="*/ 3372907 w 24377650"/>
              <a:gd name="connsiteY2472" fmla="*/ 4380217 h 8304597"/>
              <a:gd name="connsiteX2473" fmla="*/ 3486879 w 24377650"/>
              <a:gd name="connsiteY2473" fmla="*/ 4380217 h 8304597"/>
              <a:gd name="connsiteX2474" fmla="*/ 3600851 w 24377650"/>
              <a:gd name="connsiteY2474" fmla="*/ 4380217 h 8304597"/>
              <a:gd name="connsiteX2475" fmla="*/ 3600851 w 24377650"/>
              <a:gd name="connsiteY2475" fmla="*/ 4457260 h 8304597"/>
              <a:gd name="connsiteX2476" fmla="*/ 3676296 w 24377650"/>
              <a:gd name="connsiteY2476" fmla="*/ 4457260 h 8304597"/>
              <a:gd name="connsiteX2477" fmla="*/ 3828793 w 24377650"/>
              <a:gd name="connsiteY2477" fmla="*/ 4418739 h 8304597"/>
              <a:gd name="connsiteX2478" fmla="*/ 3867319 w 24377650"/>
              <a:gd name="connsiteY2478" fmla="*/ 4457260 h 8304597"/>
              <a:gd name="connsiteX2479" fmla="*/ 3944371 w 24377650"/>
              <a:gd name="connsiteY2479" fmla="*/ 4418739 h 8304597"/>
              <a:gd name="connsiteX2480" fmla="*/ 4019817 w 24377650"/>
              <a:gd name="connsiteY2480" fmla="*/ 4380217 h 8304597"/>
              <a:gd name="connsiteX2481" fmla="*/ 4058342 w 24377650"/>
              <a:gd name="connsiteY2481" fmla="*/ 4380217 h 8304597"/>
              <a:gd name="connsiteX2482" fmla="*/ 4133788 w 24377650"/>
              <a:gd name="connsiteY2482" fmla="*/ 4418739 h 8304597"/>
              <a:gd name="connsiteX2483" fmla="*/ 4172314 w 24377650"/>
              <a:gd name="connsiteY2483" fmla="*/ 4341695 h 8304597"/>
              <a:gd name="connsiteX2484" fmla="*/ 4210839 w 24377650"/>
              <a:gd name="connsiteY2484" fmla="*/ 4380217 h 8304597"/>
              <a:gd name="connsiteX2485" fmla="*/ 4172314 w 24377650"/>
              <a:gd name="connsiteY2485" fmla="*/ 4457260 h 8304597"/>
              <a:gd name="connsiteX2486" fmla="*/ 4058342 w 24377650"/>
              <a:gd name="connsiteY2486" fmla="*/ 4418739 h 8304597"/>
              <a:gd name="connsiteX2487" fmla="*/ 4172314 w 24377650"/>
              <a:gd name="connsiteY2487" fmla="*/ 4457260 h 8304597"/>
              <a:gd name="connsiteX2488" fmla="*/ 4286285 w 24377650"/>
              <a:gd name="connsiteY2488" fmla="*/ 4457260 h 8304597"/>
              <a:gd name="connsiteX2489" fmla="*/ 4629805 w 24377650"/>
              <a:gd name="connsiteY2489" fmla="*/ 4457260 h 8304597"/>
              <a:gd name="connsiteX2490" fmla="*/ 4591280 w 24377650"/>
              <a:gd name="connsiteY2490" fmla="*/ 4418739 h 8304597"/>
              <a:gd name="connsiteX2491" fmla="*/ 4591280 w 24377650"/>
              <a:gd name="connsiteY2491" fmla="*/ 4380217 h 8304597"/>
              <a:gd name="connsiteX2492" fmla="*/ 4666726 w 24377650"/>
              <a:gd name="connsiteY2492" fmla="*/ 4418739 h 8304597"/>
              <a:gd name="connsiteX2493" fmla="*/ 4743777 w 24377650"/>
              <a:gd name="connsiteY2493" fmla="*/ 4380217 h 8304597"/>
              <a:gd name="connsiteX2494" fmla="*/ 5011851 w 24377650"/>
              <a:gd name="connsiteY2494" fmla="*/ 4380217 h 8304597"/>
              <a:gd name="connsiteX2495" fmla="*/ 5011851 w 24377650"/>
              <a:gd name="connsiteY2495" fmla="*/ 4341695 h 8304597"/>
              <a:gd name="connsiteX2496" fmla="*/ 5048771 w 24377650"/>
              <a:gd name="connsiteY2496" fmla="*/ 4304779 h 8304597"/>
              <a:gd name="connsiteX2497" fmla="*/ 5048771 w 24377650"/>
              <a:gd name="connsiteY2497" fmla="*/ 4380217 h 8304597"/>
              <a:gd name="connsiteX2498" fmla="*/ 5087296 w 24377650"/>
              <a:gd name="connsiteY2498" fmla="*/ 4380217 h 8304597"/>
              <a:gd name="connsiteX2499" fmla="*/ 5087296 w 24377650"/>
              <a:gd name="connsiteY2499" fmla="*/ 4341695 h 8304597"/>
              <a:gd name="connsiteX2500" fmla="*/ 5239794 w 24377650"/>
              <a:gd name="connsiteY2500" fmla="*/ 4380217 h 8304597"/>
              <a:gd name="connsiteX2501" fmla="*/ 5353766 w 24377650"/>
              <a:gd name="connsiteY2501" fmla="*/ 4380217 h 8304597"/>
              <a:gd name="connsiteX2502" fmla="*/ 5316845 w 24377650"/>
              <a:gd name="connsiteY2502" fmla="*/ 4304779 h 8304597"/>
              <a:gd name="connsiteX2503" fmla="*/ 5353766 w 24377650"/>
              <a:gd name="connsiteY2503" fmla="*/ 4341695 h 8304597"/>
              <a:gd name="connsiteX2504" fmla="*/ 5735811 w 24377650"/>
              <a:gd name="connsiteY2504" fmla="*/ 4341695 h 8304597"/>
              <a:gd name="connsiteX2505" fmla="*/ 5888308 w 24377650"/>
              <a:gd name="connsiteY2505" fmla="*/ 4380217 h 8304597"/>
              <a:gd name="connsiteX2506" fmla="*/ 5888308 w 24377650"/>
              <a:gd name="connsiteY2506" fmla="*/ 4304779 h 8304597"/>
              <a:gd name="connsiteX2507" fmla="*/ 6002280 w 24377650"/>
              <a:gd name="connsiteY2507" fmla="*/ 4304779 h 8304597"/>
              <a:gd name="connsiteX2508" fmla="*/ 6002280 w 24377650"/>
              <a:gd name="connsiteY2508" fmla="*/ 4380217 h 8304597"/>
              <a:gd name="connsiteX2509" fmla="*/ 6116251 w 24377650"/>
              <a:gd name="connsiteY2509" fmla="*/ 4341695 h 8304597"/>
              <a:gd name="connsiteX2510" fmla="*/ 6079331 w 24377650"/>
              <a:gd name="connsiteY2510" fmla="*/ 4304779 h 8304597"/>
              <a:gd name="connsiteX2511" fmla="*/ 6154777 w 24377650"/>
              <a:gd name="connsiteY2511" fmla="*/ 4266257 h 8304597"/>
              <a:gd name="connsiteX2512" fmla="*/ 6154777 w 24377650"/>
              <a:gd name="connsiteY2512" fmla="*/ 4341695 h 8304597"/>
              <a:gd name="connsiteX2513" fmla="*/ 6268749 w 24377650"/>
              <a:gd name="connsiteY2513" fmla="*/ 4266257 h 8304597"/>
              <a:gd name="connsiteX2514" fmla="*/ 6621583 w 24377650"/>
              <a:gd name="connsiteY2514" fmla="*/ 4249931 h 8304597"/>
              <a:gd name="connsiteX2515" fmla="*/ 6677351 w 24377650"/>
              <a:gd name="connsiteY2515" fmla="*/ 4231214 h 8304597"/>
              <a:gd name="connsiteX2516" fmla="*/ 6702362 w 24377650"/>
              <a:gd name="connsiteY2516" fmla="*/ 4232551 h 8304597"/>
              <a:gd name="connsiteX2517" fmla="*/ 6764766 w 24377650"/>
              <a:gd name="connsiteY2517" fmla="*/ 4266257 h 8304597"/>
              <a:gd name="connsiteX2518" fmla="*/ 6803291 w 24377650"/>
              <a:gd name="connsiteY2518" fmla="*/ 4266257 h 8304597"/>
              <a:gd name="connsiteX2519" fmla="*/ 6764766 w 24377650"/>
              <a:gd name="connsiteY2519" fmla="*/ 4153903 h 8304597"/>
              <a:gd name="connsiteX2520" fmla="*/ 6803291 w 24377650"/>
              <a:gd name="connsiteY2520" fmla="*/ 4153903 h 8304597"/>
              <a:gd name="connsiteX2521" fmla="*/ 7145206 w 24377650"/>
              <a:gd name="connsiteY2521" fmla="*/ 4115382 h 8304597"/>
              <a:gd name="connsiteX2522" fmla="*/ 7031235 w 24377650"/>
              <a:gd name="connsiteY2522" fmla="*/ 4078465 h 8304597"/>
              <a:gd name="connsiteX2523" fmla="*/ 6955789 w 24377650"/>
              <a:gd name="connsiteY2523" fmla="*/ 4115382 h 8304597"/>
              <a:gd name="connsiteX2524" fmla="*/ 6955789 w 24377650"/>
              <a:gd name="connsiteY2524" fmla="*/ 4078465 h 8304597"/>
              <a:gd name="connsiteX2525" fmla="*/ 6917263 w 24377650"/>
              <a:gd name="connsiteY2525" fmla="*/ 4078465 h 8304597"/>
              <a:gd name="connsiteX2526" fmla="*/ 6535217 w 24377650"/>
              <a:gd name="connsiteY2526" fmla="*/ 4001422 h 8304597"/>
              <a:gd name="connsiteX2527" fmla="*/ 6650794 w 24377650"/>
              <a:gd name="connsiteY2527" fmla="*/ 4115382 h 8304597"/>
              <a:gd name="connsiteX2528" fmla="*/ 6535217 w 24377650"/>
              <a:gd name="connsiteY2528" fmla="*/ 4115382 h 8304597"/>
              <a:gd name="connsiteX2529" fmla="*/ 6535217 w 24377650"/>
              <a:gd name="connsiteY2529" fmla="*/ 4153903 h 8304597"/>
              <a:gd name="connsiteX2530" fmla="*/ 6612269 w 24377650"/>
              <a:gd name="connsiteY2530" fmla="*/ 4153903 h 8304597"/>
              <a:gd name="connsiteX2531" fmla="*/ 6459771 w 24377650"/>
              <a:gd name="connsiteY2531" fmla="*/ 4153903 h 8304597"/>
              <a:gd name="connsiteX2532" fmla="*/ 5888308 w 24377650"/>
              <a:gd name="connsiteY2532" fmla="*/ 4078465 h 8304597"/>
              <a:gd name="connsiteX2533" fmla="*/ 6002280 w 24377650"/>
              <a:gd name="connsiteY2533" fmla="*/ 4115382 h 8304597"/>
              <a:gd name="connsiteX2534" fmla="*/ 5774337 w 24377650"/>
              <a:gd name="connsiteY2534" fmla="*/ 4038339 h 8304597"/>
              <a:gd name="connsiteX2535" fmla="*/ 5888308 w 24377650"/>
              <a:gd name="connsiteY2535" fmla="*/ 4038339 h 8304597"/>
              <a:gd name="connsiteX2536" fmla="*/ 5774337 w 24377650"/>
              <a:gd name="connsiteY2536" fmla="*/ 4038339 h 8304597"/>
              <a:gd name="connsiteX2537" fmla="*/ 5774337 w 24377650"/>
              <a:gd name="connsiteY2537" fmla="*/ 4115382 h 8304597"/>
              <a:gd name="connsiteX2538" fmla="*/ 5658760 w 24377650"/>
              <a:gd name="connsiteY2538" fmla="*/ 4038339 h 8304597"/>
              <a:gd name="connsiteX2539" fmla="*/ 5697285 w 24377650"/>
              <a:gd name="connsiteY2539" fmla="*/ 4001422 h 8304597"/>
              <a:gd name="connsiteX2540" fmla="*/ 5926834 w 24377650"/>
              <a:gd name="connsiteY2540" fmla="*/ 4001422 h 8304597"/>
              <a:gd name="connsiteX2541" fmla="*/ 6498297 w 24377650"/>
              <a:gd name="connsiteY2541" fmla="*/ 4038339 h 8304597"/>
              <a:gd name="connsiteX2542" fmla="*/ 6421246 w 24377650"/>
              <a:gd name="connsiteY2542" fmla="*/ 3962901 h 8304597"/>
              <a:gd name="connsiteX2543" fmla="*/ 6307274 w 24377650"/>
              <a:gd name="connsiteY2543" fmla="*/ 4001422 h 8304597"/>
              <a:gd name="connsiteX2544" fmla="*/ 6193303 w 24377650"/>
              <a:gd name="connsiteY2544" fmla="*/ 3925984 h 8304597"/>
              <a:gd name="connsiteX2545" fmla="*/ 6079331 w 24377650"/>
              <a:gd name="connsiteY2545" fmla="*/ 3962901 h 8304597"/>
              <a:gd name="connsiteX2546" fmla="*/ 6002280 w 24377650"/>
              <a:gd name="connsiteY2546" fmla="*/ 3962901 h 8304597"/>
              <a:gd name="connsiteX2547" fmla="*/ 6079331 w 24377650"/>
              <a:gd name="connsiteY2547" fmla="*/ 3925984 h 8304597"/>
              <a:gd name="connsiteX2548" fmla="*/ 6016927 w 24377650"/>
              <a:gd name="connsiteY2548" fmla="*/ 3890874 h 8304597"/>
              <a:gd name="connsiteX2549" fmla="*/ 6001398 w 24377650"/>
              <a:gd name="connsiteY2549" fmla="*/ 3889164 h 8304597"/>
              <a:gd name="connsiteX2550" fmla="*/ 6002280 w 24377650"/>
              <a:gd name="connsiteY2550" fmla="*/ 3885858 h 8304597"/>
              <a:gd name="connsiteX2551" fmla="*/ 5998207 w 24377650"/>
              <a:gd name="connsiteY2551" fmla="*/ 3888812 h 8304597"/>
              <a:gd name="connsiteX2552" fmla="*/ 5977073 w 24377650"/>
              <a:gd name="connsiteY2552" fmla="*/ 3886485 h 8304597"/>
              <a:gd name="connsiteX2553" fmla="*/ 5963877 w 24377650"/>
              <a:gd name="connsiteY2553" fmla="*/ 3886320 h 8304597"/>
              <a:gd name="connsiteX2554" fmla="*/ 5963754 w 24377650"/>
              <a:gd name="connsiteY2554" fmla="*/ 3885858 h 8304597"/>
              <a:gd name="connsiteX2555" fmla="*/ 5963436 w 24377650"/>
              <a:gd name="connsiteY2555" fmla="*/ 3886315 h 8304597"/>
              <a:gd name="connsiteX2556" fmla="*/ 5926834 w 24377650"/>
              <a:gd name="connsiteY2556" fmla="*/ 3885858 h 8304597"/>
              <a:gd name="connsiteX2557" fmla="*/ 5935662 w 24377650"/>
              <a:gd name="connsiteY2557" fmla="*/ 3900905 h 8304597"/>
              <a:gd name="connsiteX2558" fmla="*/ 5952607 w 24377650"/>
              <a:gd name="connsiteY2558" fmla="*/ 3901866 h 8304597"/>
              <a:gd name="connsiteX2559" fmla="*/ 5947601 w 24377650"/>
              <a:gd name="connsiteY2559" fmla="*/ 3909056 h 8304597"/>
              <a:gd name="connsiteX2560" fmla="*/ 5926834 w 24377650"/>
              <a:gd name="connsiteY2560" fmla="*/ 3925984 h 8304597"/>
              <a:gd name="connsiteX2561" fmla="*/ 5621840 w 24377650"/>
              <a:gd name="connsiteY2561" fmla="*/ 3810420 h 8304597"/>
              <a:gd name="connsiteX2562" fmla="*/ 5626454 w 24377650"/>
              <a:gd name="connsiteY2562" fmla="*/ 3810420 h 8304597"/>
              <a:gd name="connsiteX2563" fmla="*/ 5697285 w 24377650"/>
              <a:gd name="connsiteY2563" fmla="*/ 3810420 h 8304597"/>
              <a:gd name="connsiteX2564" fmla="*/ 5621840 w 24377650"/>
              <a:gd name="connsiteY2564" fmla="*/ 3773503 h 8304597"/>
              <a:gd name="connsiteX2565" fmla="*/ 5697285 w 24377650"/>
              <a:gd name="connsiteY2565" fmla="*/ 3773503 h 8304597"/>
              <a:gd name="connsiteX2566" fmla="*/ 5735811 w 24377650"/>
              <a:gd name="connsiteY2566" fmla="*/ 3810420 h 8304597"/>
              <a:gd name="connsiteX2567" fmla="*/ 5849783 w 24377650"/>
              <a:gd name="connsiteY2567" fmla="*/ 3848941 h 8304597"/>
              <a:gd name="connsiteX2568" fmla="*/ 5926834 w 24377650"/>
              <a:gd name="connsiteY2568" fmla="*/ 3810420 h 8304597"/>
              <a:gd name="connsiteX2569" fmla="*/ 6116251 w 24377650"/>
              <a:gd name="connsiteY2569" fmla="*/ 3885858 h 8304597"/>
              <a:gd name="connsiteX2570" fmla="*/ 6231828 w 24377650"/>
              <a:gd name="connsiteY2570" fmla="*/ 3885858 h 8304597"/>
              <a:gd name="connsiteX2571" fmla="*/ 6345800 w 24377650"/>
              <a:gd name="connsiteY2571" fmla="*/ 3962901 h 8304597"/>
              <a:gd name="connsiteX2572" fmla="*/ 6231828 w 24377650"/>
              <a:gd name="connsiteY2572" fmla="*/ 3885858 h 8304597"/>
              <a:gd name="connsiteX2573" fmla="*/ 6252596 w 24377650"/>
              <a:gd name="connsiteY2573" fmla="*/ 3838458 h 8304597"/>
              <a:gd name="connsiteX2574" fmla="*/ 6246634 w 24377650"/>
              <a:gd name="connsiteY2574" fmla="*/ 3839154 h 8304597"/>
              <a:gd name="connsiteX2575" fmla="*/ 6266391 w 24377650"/>
              <a:gd name="connsiteY2575" fmla="*/ 3826094 h 8304597"/>
              <a:gd name="connsiteX2576" fmla="*/ 6421246 w 24377650"/>
              <a:gd name="connsiteY2576" fmla="*/ 3773503 h 8304597"/>
              <a:gd name="connsiteX2577" fmla="*/ 6498297 w 24377650"/>
              <a:gd name="connsiteY2577" fmla="*/ 3810420 h 8304597"/>
              <a:gd name="connsiteX2578" fmla="*/ 6401456 w 24377650"/>
              <a:gd name="connsiteY2578" fmla="*/ 3757152 h 8304597"/>
              <a:gd name="connsiteX2579" fmla="*/ 6360840 w 24377650"/>
              <a:gd name="connsiteY2579" fmla="*/ 3739802 h 8304597"/>
              <a:gd name="connsiteX2580" fmla="*/ 6371985 w 24377650"/>
              <a:gd name="connsiteY2580" fmla="*/ 3738518 h 8304597"/>
              <a:gd name="connsiteX2581" fmla="*/ 6345800 w 24377650"/>
              <a:gd name="connsiteY2581" fmla="*/ 3657939 h 8304597"/>
              <a:gd name="connsiteX2582" fmla="*/ 6307274 w 24377650"/>
              <a:gd name="connsiteY2582" fmla="*/ 3733377 h 8304597"/>
              <a:gd name="connsiteX2583" fmla="*/ 6307274 w 24377650"/>
              <a:gd name="connsiteY2583" fmla="*/ 3696460 h 8304597"/>
              <a:gd name="connsiteX2584" fmla="*/ 6307274 w 24377650"/>
              <a:gd name="connsiteY2584" fmla="*/ 3657939 h 8304597"/>
              <a:gd name="connsiteX2585" fmla="*/ 6154777 w 24377650"/>
              <a:gd name="connsiteY2585" fmla="*/ 3733377 h 8304597"/>
              <a:gd name="connsiteX2586" fmla="*/ 6149359 w 24377650"/>
              <a:gd name="connsiteY2586" fmla="*/ 3685977 h 8304597"/>
              <a:gd name="connsiteX2587" fmla="*/ 6141204 w 24377650"/>
              <a:gd name="connsiteY2587" fmla="*/ 3686732 h 8304597"/>
              <a:gd name="connsiteX2588" fmla="*/ 6148757 w 24377650"/>
              <a:gd name="connsiteY2588" fmla="*/ 3680209 h 8304597"/>
              <a:gd name="connsiteX2589" fmla="*/ 6154777 w 24377650"/>
              <a:gd name="connsiteY2589" fmla="*/ 3657939 h 8304597"/>
              <a:gd name="connsiteX2590" fmla="*/ 6116251 w 24377650"/>
              <a:gd name="connsiteY2590" fmla="*/ 3621022 h 8304597"/>
              <a:gd name="connsiteX2591" fmla="*/ 6002280 w 24377650"/>
              <a:gd name="connsiteY2591" fmla="*/ 3733377 h 8304597"/>
              <a:gd name="connsiteX2592" fmla="*/ 5963754 w 24377650"/>
              <a:gd name="connsiteY2592" fmla="*/ 3696460 h 8304597"/>
              <a:gd name="connsiteX2593" fmla="*/ 5926834 w 24377650"/>
              <a:gd name="connsiteY2593" fmla="*/ 3773503 h 8304597"/>
              <a:gd name="connsiteX2594" fmla="*/ 5888308 w 24377650"/>
              <a:gd name="connsiteY2594" fmla="*/ 3773503 h 8304597"/>
              <a:gd name="connsiteX2595" fmla="*/ 5849783 w 24377650"/>
              <a:gd name="connsiteY2595" fmla="*/ 3773503 h 8304597"/>
              <a:gd name="connsiteX2596" fmla="*/ 5849783 w 24377650"/>
              <a:gd name="connsiteY2596" fmla="*/ 3733377 h 8304597"/>
              <a:gd name="connsiteX2597" fmla="*/ 5658760 w 24377650"/>
              <a:gd name="connsiteY2597" fmla="*/ 3733377 h 8304597"/>
              <a:gd name="connsiteX2598" fmla="*/ 5544788 w 24377650"/>
              <a:gd name="connsiteY2598" fmla="*/ 3733377 h 8304597"/>
              <a:gd name="connsiteX2599" fmla="*/ 5583314 w 24377650"/>
              <a:gd name="connsiteY2599" fmla="*/ 3696460 h 8304597"/>
              <a:gd name="connsiteX2600" fmla="*/ 5621840 w 24377650"/>
              <a:gd name="connsiteY2600" fmla="*/ 3733377 h 8304597"/>
              <a:gd name="connsiteX2601" fmla="*/ 5849783 w 24377650"/>
              <a:gd name="connsiteY2601" fmla="*/ 3657939 h 8304597"/>
              <a:gd name="connsiteX2602" fmla="*/ 5926834 w 24377650"/>
              <a:gd name="connsiteY2602" fmla="*/ 3696460 h 8304597"/>
              <a:gd name="connsiteX2603" fmla="*/ 5926834 w 24377650"/>
              <a:gd name="connsiteY2603" fmla="*/ 3657939 h 8304597"/>
              <a:gd name="connsiteX2604" fmla="*/ 6002280 w 24377650"/>
              <a:gd name="connsiteY2604" fmla="*/ 3657939 h 8304597"/>
              <a:gd name="connsiteX2605" fmla="*/ 5697285 w 24377650"/>
              <a:gd name="connsiteY2605" fmla="*/ 3657939 h 8304597"/>
              <a:gd name="connsiteX2606" fmla="*/ 5621840 w 24377650"/>
              <a:gd name="connsiteY2606" fmla="*/ 3580895 h 8304597"/>
              <a:gd name="connsiteX2607" fmla="*/ 5774337 w 24377650"/>
              <a:gd name="connsiteY2607" fmla="*/ 3621022 h 8304597"/>
              <a:gd name="connsiteX2608" fmla="*/ 5621840 w 24377650"/>
              <a:gd name="connsiteY2608" fmla="*/ 3580895 h 8304597"/>
              <a:gd name="connsiteX2609" fmla="*/ 5583314 w 24377650"/>
              <a:gd name="connsiteY2609" fmla="*/ 3657939 h 8304597"/>
              <a:gd name="connsiteX2610" fmla="*/ 5544788 w 24377650"/>
              <a:gd name="connsiteY2610" fmla="*/ 3580895 h 8304597"/>
              <a:gd name="connsiteX2611" fmla="*/ 5614540 w 24377650"/>
              <a:gd name="connsiteY2611" fmla="*/ 3533496 h 8304597"/>
              <a:gd name="connsiteX2612" fmla="*/ 5621077 w 24377650"/>
              <a:gd name="connsiteY2612" fmla="*/ 3533839 h 8304597"/>
              <a:gd name="connsiteX2613" fmla="*/ 5658760 w 24377650"/>
              <a:gd name="connsiteY2613" fmla="*/ 3543979 h 8304597"/>
              <a:gd name="connsiteX2614" fmla="*/ 5633781 w 24377650"/>
              <a:gd name="connsiteY2614" fmla="*/ 3534505 h 8304597"/>
              <a:gd name="connsiteX2615" fmla="*/ 5621077 w 24377650"/>
              <a:gd name="connsiteY2615" fmla="*/ 3533839 h 8304597"/>
              <a:gd name="connsiteX2616" fmla="*/ 5596130 w 24377650"/>
              <a:gd name="connsiteY2616" fmla="*/ 3527126 h 8304597"/>
              <a:gd name="connsiteX2617" fmla="*/ 5392291 w 24377650"/>
              <a:gd name="connsiteY2617" fmla="*/ 3505457 h 8304597"/>
              <a:gd name="connsiteX2618" fmla="*/ 5544788 w 24377650"/>
              <a:gd name="connsiteY2618" fmla="*/ 3468541 h 8304597"/>
              <a:gd name="connsiteX2619" fmla="*/ 5316845 w 24377650"/>
              <a:gd name="connsiteY2619" fmla="*/ 3468541 h 8304597"/>
              <a:gd name="connsiteX2620" fmla="*/ 5392291 w 24377650"/>
              <a:gd name="connsiteY2620" fmla="*/ 3543979 h 8304597"/>
              <a:gd name="connsiteX2621" fmla="*/ 5353766 w 24377650"/>
              <a:gd name="connsiteY2621" fmla="*/ 3580895 h 8304597"/>
              <a:gd name="connsiteX2622" fmla="*/ 5273303 w 24377650"/>
              <a:gd name="connsiteY2622" fmla="*/ 3557622 h 8304597"/>
              <a:gd name="connsiteX2623" fmla="*/ 5273631 w 24377650"/>
              <a:gd name="connsiteY2623" fmla="*/ 3547445 h 8304597"/>
              <a:gd name="connsiteX2624" fmla="*/ 5278320 w 24377650"/>
              <a:gd name="connsiteY2624" fmla="*/ 3543979 h 8304597"/>
              <a:gd name="connsiteX2625" fmla="*/ 5273826 w 24377650"/>
              <a:gd name="connsiteY2625" fmla="*/ 3541398 h 8304597"/>
              <a:gd name="connsiteX2626" fmla="*/ 5274081 w 24377650"/>
              <a:gd name="connsiteY2626" fmla="*/ 3533496 h 8304597"/>
              <a:gd name="connsiteX2627" fmla="*/ 5278320 w 24377650"/>
              <a:gd name="connsiteY2627" fmla="*/ 3505457 h 8304597"/>
              <a:gd name="connsiteX2628" fmla="*/ 5201268 w 24377650"/>
              <a:gd name="connsiteY2628" fmla="*/ 3543979 h 8304597"/>
              <a:gd name="connsiteX2629" fmla="*/ 5250027 w 24377650"/>
              <a:gd name="connsiteY2629" fmla="*/ 3527728 h 8304597"/>
              <a:gd name="connsiteX2630" fmla="*/ 5273826 w 24377650"/>
              <a:gd name="connsiteY2630" fmla="*/ 3541398 h 8304597"/>
              <a:gd name="connsiteX2631" fmla="*/ 5273631 w 24377650"/>
              <a:gd name="connsiteY2631" fmla="*/ 3547445 h 8304597"/>
              <a:gd name="connsiteX2632" fmla="*/ 5249450 w 24377650"/>
              <a:gd name="connsiteY2632" fmla="*/ 3565321 h 8304597"/>
              <a:gd name="connsiteX2633" fmla="*/ 5164348 w 24377650"/>
              <a:gd name="connsiteY2633" fmla="*/ 3580895 h 8304597"/>
              <a:gd name="connsiteX2634" fmla="*/ 5087296 w 24377650"/>
              <a:gd name="connsiteY2634" fmla="*/ 3505457 h 8304597"/>
              <a:gd name="connsiteX2635" fmla="*/ 5125822 w 24377650"/>
              <a:gd name="connsiteY2635" fmla="*/ 3505457 h 8304597"/>
              <a:gd name="connsiteX2636" fmla="*/ 5048771 w 24377650"/>
              <a:gd name="connsiteY2636" fmla="*/ 3468541 h 8304597"/>
              <a:gd name="connsiteX2637" fmla="*/ 5048771 w 24377650"/>
              <a:gd name="connsiteY2637" fmla="*/ 3505457 h 8304597"/>
              <a:gd name="connsiteX2638" fmla="*/ 5087296 w 24377650"/>
              <a:gd name="connsiteY2638" fmla="*/ 3505457 h 8304597"/>
              <a:gd name="connsiteX2639" fmla="*/ 5011851 w 24377650"/>
              <a:gd name="connsiteY2639" fmla="*/ 3543979 h 8304597"/>
              <a:gd name="connsiteX2640" fmla="*/ 4973325 w 24377650"/>
              <a:gd name="connsiteY2640" fmla="*/ 3468541 h 8304597"/>
              <a:gd name="connsiteX2641" fmla="*/ 4859354 w 24377650"/>
              <a:gd name="connsiteY2641" fmla="*/ 3543979 h 8304597"/>
              <a:gd name="connsiteX2642" fmla="*/ 4782302 w 24377650"/>
              <a:gd name="connsiteY2642" fmla="*/ 3580895 h 8304597"/>
              <a:gd name="connsiteX2643" fmla="*/ 4820828 w 24377650"/>
              <a:gd name="connsiteY2643" fmla="*/ 3543979 h 8304597"/>
              <a:gd name="connsiteX2644" fmla="*/ 4666726 w 24377650"/>
              <a:gd name="connsiteY2644" fmla="*/ 3543979 h 8304597"/>
              <a:gd name="connsiteX2645" fmla="*/ 4782302 w 24377650"/>
              <a:gd name="connsiteY2645" fmla="*/ 3543979 h 8304597"/>
              <a:gd name="connsiteX2646" fmla="*/ 4706856 w 24377650"/>
              <a:gd name="connsiteY2646" fmla="*/ 3505457 h 8304597"/>
              <a:gd name="connsiteX2647" fmla="*/ 4554359 w 24377650"/>
              <a:gd name="connsiteY2647" fmla="*/ 3468541 h 8304597"/>
              <a:gd name="connsiteX2648" fmla="*/ 4477308 w 24377650"/>
              <a:gd name="connsiteY2648" fmla="*/ 3543979 h 8304597"/>
              <a:gd name="connsiteX2649" fmla="*/ 4554359 w 24377650"/>
              <a:gd name="connsiteY2649" fmla="*/ 3543979 h 8304597"/>
              <a:gd name="connsiteX2650" fmla="*/ 4438782 w 24377650"/>
              <a:gd name="connsiteY2650" fmla="*/ 3580895 h 8304597"/>
              <a:gd name="connsiteX2651" fmla="*/ 4477308 w 24377650"/>
              <a:gd name="connsiteY2651" fmla="*/ 3428415 h 8304597"/>
              <a:gd name="connsiteX2652" fmla="*/ 4706856 w 24377650"/>
              <a:gd name="connsiteY2652" fmla="*/ 3428415 h 8304597"/>
              <a:gd name="connsiteX2653" fmla="*/ 4637304 w 24377650"/>
              <a:gd name="connsiteY2653" fmla="*/ 3412841 h 8304597"/>
              <a:gd name="connsiteX2654" fmla="*/ 4595903 w 24377650"/>
              <a:gd name="connsiteY2654" fmla="*/ 3413698 h 8304597"/>
              <a:gd name="connsiteX2655" fmla="*/ 4590928 w 24377650"/>
              <a:gd name="connsiteY2655" fmla="*/ 3406470 h 8304597"/>
              <a:gd name="connsiteX2656" fmla="*/ 4554359 w 24377650"/>
              <a:gd name="connsiteY2656" fmla="*/ 3352977 h 8304597"/>
              <a:gd name="connsiteX2657" fmla="*/ 4210839 w 24377650"/>
              <a:gd name="connsiteY2657" fmla="*/ 3316060 h 8304597"/>
              <a:gd name="connsiteX2658" fmla="*/ 4210839 w 24377650"/>
              <a:gd name="connsiteY2658" fmla="*/ 3391498 h 8304597"/>
              <a:gd name="connsiteX2659" fmla="*/ 4096868 w 24377650"/>
              <a:gd name="connsiteY2659" fmla="*/ 3391498 h 8304597"/>
              <a:gd name="connsiteX2660" fmla="*/ 4133788 w 24377650"/>
              <a:gd name="connsiteY2660" fmla="*/ 3391498 h 8304597"/>
              <a:gd name="connsiteX2661" fmla="*/ 4058342 w 24377650"/>
              <a:gd name="connsiteY2661" fmla="*/ 3428415 h 8304597"/>
              <a:gd name="connsiteX2662" fmla="*/ 4172314 w 24377650"/>
              <a:gd name="connsiteY2662" fmla="*/ 3428415 h 8304597"/>
              <a:gd name="connsiteX2663" fmla="*/ 4172313 w 24377650"/>
              <a:gd name="connsiteY2663" fmla="*/ 3477845 h 8304597"/>
              <a:gd name="connsiteX2664" fmla="*/ 4181885 w 24377650"/>
              <a:gd name="connsiteY2664" fmla="*/ 3477567 h 8304597"/>
              <a:gd name="connsiteX2665" fmla="*/ 4167497 w 24377650"/>
              <a:gd name="connsiteY2665" fmla="*/ 3484115 h 8304597"/>
              <a:gd name="connsiteX2666" fmla="*/ 4172314 w 24377650"/>
              <a:gd name="connsiteY2666" fmla="*/ 3505457 h 8304597"/>
              <a:gd name="connsiteX2667" fmla="*/ 4058342 w 24377650"/>
              <a:gd name="connsiteY2667" fmla="*/ 3468541 h 8304597"/>
              <a:gd name="connsiteX2668" fmla="*/ 3925108 w 24377650"/>
              <a:gd name="connsiteY2668" fmla="*/ 3468541 h 8304597"/>
              <a:gd name="connsiteX2669" fmla="*/ 3867319 w 24377650"/>
              <a:gd name="connsiteY2669" fmla="*/ 3468541 h 8304597"/>
              <a:gd name="connsiteX2670" fmla="*/ 3981290 w 24377650"/>
              <a:gd name="connsiteY2670" fmla="*/ 3428415 h 8304597"/>
              <a:gd name="connsiteX2671" fmla="*/ 3944371 w 24377650"/>
              <a:gd name="connsiteY2671" fmla="*/ 3391498 h 8304597"/>
              <a:gd name="connsiteX2672" fmla="*/ 3867319 w 24377650"/>
              <a:gd name="connsiteY2672" fmla="*/ 3468541 h 8304597"/>
              <a:gd name="connsiteX2673" fmla="*/ 3865563 w 24377650"/>
              <a:gd name="connsiteY2673" fmla="*/ 3468541 h 8304597"/>
              <a:gd name="connsiteX2674" fmla="*/ 3828793 w 24377650"/>
              <a:gd name="connsiteY2674" fmla="*/ 3468541 h 8304597"/>
              <a:gd name="connsiteX2675" fmla="*/ 3676296 w 24377650"/>
              <a:gd name="connsiteY2675" fmla="*/ 3468541 h 8304597"/>
              <a:gd name="connsiteX2676" fmla="*/ 3714822 w 24377650"/>
              <a:gd name="connsiteY2676" fmla="*/ 3468541 h 8304597"/>
              <a:gd name="connsiteX2677" fmla="*/ 3600851 w 24377650"/>
              <a:gd name="connsiteY2677" fmla="*/ 3505457 h 8304597"/>
              <a:gd name="connsiteX2678" fmla="*/ 3639376 w 24377650"/>
              <a:gd name="connsiteY2678" fmla="*/ 3468541 h 8304597"/>
              <a:gd name="connsiteX2679" fmla="*/ 3600851 w 24377650"/>
              <a:gd name="connsiteY2679" fmla="*/ 3428415 h 8304597"/>
              <a:gd name="connsiteX2680" fmla="*/ 3562324 w 24377650"/>
              <a:gd name="connsiteY2680" fmla="*/ 3468541 h 8304597"/>
              <a:gd name="connsiteX2681" fmla="*/ 3525405 w 24377650"/>
              <a:gd name="connsiteY2681" fmla="*/ 3468541 h 8304597"/>
              <a:gd name="connsiteX2682" fmla="*/ 3486879 w 24377650"/>
              <a:gd name="connsiteY2682" fmla="*/ 3468541 h 8304597"/>
              <a:gd name="connsiteX2683" fmla="*/ 3486879 w 24377650"/>
              <a:gd name="connsiteY2683" fmla="*/ 3428415 h 8304597"/>
              <a:gd name="connsiteX2684" fmla="*/ 3295856 w 24377650"/>
              <a:gd name="connsiteY2684" fmla="*/ 3543979 h 8304597"/>
              <a:gd name="connsiteX2685" fmla="*/ 3257531 w 24377650"/>
              <a:gd name="connsiteY2685" fmla="*/ 3524718 h 8304597"/>
              <a:gd name="connsiteX2686" fmla="*/ 3245370 w 24377650"/>
              <a:gd name="connsiteY2686" fmla="*/ 3514106 h 8304597"/>
              <a:gd name="connsiteX2687" fmla="*/ 3257330 w 24377650"/>
              <a:gd name="connsiteY2687" fmla="*/ 3505457 h 8304597"/>
              <a:gd name="connsiteX2688" fmla="*/ 3220410 w 24377650"/>
              <a:gd name="connsiteY2688" fmla="*/ 3505457 h 8304597"/>
              <a:gd name="connsiteX2689" fmla="*/ 3242356 w 24377650"/>
              <a:gd name="connsiteY2689" fmla="*/ 3511476 h 8304597"/>
              <a:gd name="connsiteX2690" fmla="*/ 3245370 w 24377650"/>
              <a:gd name="connsiteY2690" fmla="*/ 3514106 h 8304597"/>
              <a:gd name="connsiteX2691" fmla="*/ 3227379 w 24377650"/>
              <a:gd name="connsiteY2691" fmla="*/ 3527116 h 8304597"/>
              <a:gd name="connsiteX2692" fmla="*/ 3124698 w 24377650"/>
              <a:gd name="connsiteY2692" fmla="*/ 3533746 h 8304597"/>
              <a:gd name="connsiteX2693" fmla="*/ 3117871 w 24377650"/>
              <a:gd name="connsiteY2693" fmla="*/ 3532029 h 8304597"/>
              <a:gd name="connsiteX2694" fmla="*/ 3108696 w 24377650"/>
              <a:gd name="connsiteY2694" fmla="*/ 3527728 h 8304597"/>
              <a:gd name="connsiteX2695" fmla="*/ 3101933 w 24377650"/>
              <a:gd name="connsiteY2695" fmla="*/ 3528021 h 8304597"/>
              <a:gd name="connsiteX2696" fmla="*/ 3054394 w 24377650"/>
              <a:gd name="connsiteY2696" fmla="*/ 3516066 h 8304597"/>
              <a:gd name="connsiteX2697" fmla="*/ 2990861 w 24377650"/>
              <a:gd name="connsiteY2697" fmla="*/ 3505457 h 8304597"/>
              <a:gd name="connsiteX2698" fmla="*/ 2990861 w 24377650"/>
              <a:gd name="connsiteY2698" fmla="*/ 3543979 h 8304597"/>
              <a:gd name="connsiteX2699" fmla="*/ 3067110 w 24377650"/>
              <a:gd name="connsiteY2699" fmla="*/ 3529533 h 8304597"/>
              <a:gd name="connsiteX2700" fmla="*/ 3101933 w 24377650"/>
              <a:gd name="connsiteY2700" fmla="*/ 3528021 h 8304597"/>
              <a:gd name="connsiteX2701" fmla="*/ 3117871 w 24377650"/>
              <a:gd name="connsiteY2701" fmla="*/ 3532029 h 8304597"/>
              <a:gd name="connsiteX2702" fmla="*/ 3143358 w 24377650"/>
              <a:gd name="connsiteY2702" fmla="*/ 3543979 h 8304597"/>
              <a:gd name="connsiteX2703" fmla="*/ 3220410 w 24377650"/>
              <a:gd name="connsiteY2703" fmla="*/ 3543979 h 8304597"/>
              <a:gd name="connsiteX2704" fmla="*/ 3143358 w 24377650"/>
              <a:gd name="connsiteY2704" fmla="*/ 3580895 h 8304597"/>
              <a:gd name="connsiteX2705" fmla="*/ 2876890 w 24377650"/>
              <a:gd name="connsiteY2705" fmla="*/ 3505457 h 8304597"/>
              <a:gd name="connsiteX2706" fmla="*/ 2876890 w 24377650"/>
              <a:gd name="connsiteY2706" fmla="*/ 3543979 h 8304597"/>
              <a:gd name="connsiteX2707" fmla="*/ 2839970 w 24377650"/>
              <a:gd name="connsiteY2707" fmla="*/ 3505457 h 8304597"/>
              <a:gd name="connsiteX2708" fmla="*/ 2876890 w 24377650"/>
              <a:gd name="connsiteY2708" fmla="*/ 3468541 h 8304597"/>
              <a:gd name="connsiteX2709" fmla="*/ 2799839 w 24377650"/>
              <a:gd name="connsiteY2709" fmla="*/ 3505457 h 8304597"/>
              <a:gd name="connsiteX2710" fmla="*/ 2724392 w 24377650"/>
              <a:gd name="connsiteY2710" fmla="*/ 3468541 h 8304597"/>
              <a:gd name="connsiteX2711" fmla="*/ 2571895 w 24377650"/>
              <a:gd name="connsiteY2711" fmla="*/ 3543979 h 8304597"/>
              <a:gd name="connsiteX2712" fmla="*/ 2647342 w 24377650"/>
              <a:gd name="connsiteY2712" fmla="*/ 3468541 h 8304597"/>
              <a:gd name="connsiteX2713" fmla="*/ 2494844 w 24377650"/>
              <a:gd name="connsiteY2713" fmla="*/ 3468541 h 8304597"/>
              <a:gd name="connsiteX2714" fmla="*/ 2037353 w 24377650"/>
              <a:gd name="connsiteY2714" fmla="*/ 3468541 h 8304597"/>
              <a:gd name="connsiteX2715" fmla="*/ 1809410 w 24377650"/>
              <a:gd name="connsiteY2715" fmla="*/ 3543979 h 8304597"/>
              <a:gd name="connsiteX2716" fmla="*/ 1847935 w 24377650"/>
              <a:gd name="connsiteY2716" fmla="*/ 3505457 h 8304597"/>
              <a:gd name="connsiteX2717" fmla="*/ 1695438 w 24377650"/>
              <a:gd name="connsiteY2717" fmla="*/ 3468541 h 8304597"/>
              <a:gd name="connsiteX2718" fmla="*/ 1427364 w 24377650"/>
              <a:gd name="connsiteY2718" fmla="*/ 3505457 h 8304597"/>
              <a:gd name="connsiteX2719" fmla="*/ 1579861 w 24377650"/>
              <a:gd name="connsiteY2719" fmla="*/ 3428415 h 8304597"/>
              <a:gd name="connsiteX2720" fmla="*/ 1504415 w 24377650"/>
              <a:gd name="connsiteY2720" fmla="*/ 3428415 h 8304597"/>
              <a:gd name="connsiteX2721" fmla="*/ 1427364 w 24377650"/>
              <a:gd name="connsiteY2721" fmla="*/ 3428415 h 8304597"/>
              <a:gd name="connsiteX2722" fmla="*/ 1351918 w 24377650"/>
              <a:gd name="connsiteY2722" fmla="*/ 3428415 h 8304597"/>
              <a:gd name="connsiteX2723" fmla="*/ 1375796 w 24377650"/>
              <a:gd name="connsiteY2723" fmla="*/ 3390696 h 8304597"/>
              <a:gd name="connsiteX2724" fmla="*/ 1378574 w 24377650"/>
              <a:gd name="connsiteY2724" fmla="*/ 3385307 h 8304597"/>
              <a:gd name="connsiteX2725" fmla="*/ 1379157 w 24377650"/>
              <a:gd name="connsiteY2725" fmla="*/ 3384902 h 8304597"/>
              <a:gd name="connsiteX2726" fmla="*/ 1378980 w 24377650"/>
              <a:gd name="connsiteY2726" fmla="*/ 3384519 h 8304597"/>
              <a:gd name="connsiteX2727" fmla="*/ 1389164 w 24377650"/>
              <a:gd name="connsiteY2727" fmla="*/ 3364764 h 8304597"/>
              <a:gd name="connsiteX2728" fmla="*/ 1427364 w 24377650"/>
              <a:gd name="connsiteY2728" fmla="*/ 3352977 h 8304597"/>
              <a:gd name="connsiteX2729" fmla="*/ 1467495 w 24377650"/>
              <a:gd name="connsiteY2729" fmla="*/ 3428415 h 8304597"/>
              <a:gd name="connsiteX2730" fmla="*/ 1619992 w 24377650"/>
              <a:gd name="connsiteY2730" fmla="*/ 3428415 h 8304597"/>
              <a:gd name="connsiteX2731" fmla="*/ 1579861 w 24377650"/>
              <a:gd name="connsiteY2731" fmla="*/ 3468541 h 8304597"/>
              <a:gd name="connsiteX2732" fmla="*/ 1619992 w 24377650"/>
              <a:gd name="connsiteY2732" fmla="*/ 3468541 h 8304597"/>
              <a:gd name="connsiteX2733" fmla="*/ 1772489 w 24377650"/>
              <a:gd name="connsiteY2733" fmla="*/ 3391498 h 8304597"/>
              <a:gd name="connsiteX2734" fmla="*/ 1656913 w 24377650"/>
              <a:gd name="connsiteY2734" fmla="*/ 3391498 h 8304597"/>
              <a:gd name="connsiteX2735" fmla="*/ 1656913 w 24377650"/>
              <a:gd name="connsiteY2735" fmla="*/ 3352977 h 8304597"/>
              <a:gd name="connsiteX2736" fmla="*/ 1619992 w 24377650"/>
              <a:gd name="connsiteY2736" fmla="*/ 3391498 h 8304597"/>
              <a:gd name="connsiteX2737" fmla="*/ 1390444 w 24377650"/>
              <a:gd name="connsiteY2737" fmla="*/ 3316060 h 8304597"/>
              <a:gd name="connsiteX2738" fmla="*/ 1371181 w 24377650"/>
              <a:gd name="connsiteY2738" fmla="*/ 3367623 h 8304597"/>
              <a:gd name="connsiteX2739" fmla="*/ 1378980 w 24377650"/>
              <a:gd name="connsiteY2739" fmla="*/ 3384519 h 8304597"/>
              <a:gd name="connsiteX2740" fmla="*/ 1378574 w 24377650"/>
              <a:gd name="connsiteY2740" fmla="*/ 3385307 h 8304597"/>
              <a:gd name="connsiteX2741" fmla="*/ 1372140 w 24377650"/>
              <a:gd name="connsiteY2741" fmla="*/ 3389771 h 8304597"/>
              <a:gd name="connsiteX2742" fmla="*/ 1351918 w 24377650"/>
              <a:gd name="connsiteY2742" fmla="*/ 3391498 h 8304597"/>
              <a:gd name="connsiteX2743" fmla="*/ 1314997 w 24377650"/>
              <a:gd name="connsiteY2743" fmla="*/ 3352977 h 8304597"/>
              <a:gd name="connsiteX2744" fmla="*/ 1085449 w 24377650"/>
              <a:gd name="connsiteY2744" fmla="*/ 3391498 h 8304597"/>
              <a:gd name="connsiteX2745" fmla="*/ 1122370 w 24377650"/>
              <a:gd name="connsiteY2745" fmla="*/ 3352977 h 8304597"/>
              <a:gd name="connsiteX2746" fmla="*/ 969873 w 24377650"/>
              <a:gd name="connsiteY2746" fmla="*/ 3352977 h 8304597"/>
              <a:gd name="connsiteX2747" fmla="*/ 780455 w 24377650"/>
              <a:gd name="connsiteY2747" fmla="*/ 3352977 h 8304597"/>
              <a:gd name="connsiteX2748" fmla="*/ 818981 w 24377650"/>
              <a:gd name="connsiteY2748" fmla="*/ 3352977 h 8304597"/>
              <a:gd name="connsiteX2749" fmla="*/ 475460 w 24377650"/>
              <a:gd name="connsiteY2749" fmla="*/ 3352977 h 8304597"/>
              <a:gd name="connsiteX2750" fmla="*/ 400015 w 24377650"/>
              <a:gd name="connsiteY2750" fmla="*/ 3275933 h 8304597"/>
              <a:gd name="connsiteX2751" fmla="*/ 284438 w 24377650"/>
              <a:gd name="connsiteY2751" fmla="*/ 3275933 h 8304597"/>
              <a:gd name="connsiteX2752" fmla="*/ 247517 w 24377650"/>
              <a:gd name="connsiteY2752" fmla="*/ 3275933 h 8304597"/>
              <a:gd name="connsiteX2753" fmla="*/ 361489 w 24377650"/>
              <a:gd name="connsiteY2753" fmla="*/ 3352977 h 8304597"/>
              <a:gd name="connsiteX2754" fmla="*/ 89602 w 24377650"/>
              <a:gd name="connsiteY2754" fmla="*/ 3305627 h 8304597"/>
              <a:gd name="connsiteX2755" fmla="*/ 0 w 24377650"/>
              <a:gd name="connsiteY2755" fmla="*/ 3301865 h 8304597"/>
              <a:gd name="connsiteX2756" fmla="*/ 0 w 24377650"/>
              <a:gd name="connsiteY2756" fmla="*/ 3244393 h 8304597"/>
              <a:gd name="connsiteX2757" fmla="*/ 12579 w 24377650"/>
              <a:gd name="connsiteY2757" fmla="*/ 3247961 h 8304597"/>
              <a:gd name="connsiteX2758" fmla="*/ 247517 w 24377650"/>
              <a:gd name="connsiteY2758" fmla="*/ 3200495 h 8304597"/>
              <a:gd name="connsiteX2759" fmla="*/ 247517 w 24377650"/>
              <a:gd name="connsiteY2759" fmla="*/ 3239017 h 8304597"/>
              <a:gd name="connsiteX2760" fmla="*/ 322963 w 24377650"/>
              <a:gd name="connsiteY2760" fmla="*/ 3200495 h 8304597"/>
              <a:gd name="connsiteX2761" fmla="*/ 284438 w 24377650"/>
              <a:gd name="connsiteY2761" fmla="*/ 3200495 h 8304597"/>
              <a:gd name="connsiteX2762" fmla="*/ 247517 w 24377650"/>
              <a:gd name="connsiteY2762" fmla="*/ 3200495 h 8304597"/>
              <a:gd name="connsiteX2763" fmla="*/ 170466 w 24377650"/>
              <a:gd name="connsiteY2763" fmla="*/ 3200495 h 8304597"/>
              <a:gd name="connsiteX2764" fmla="*/ 475460 w 24377650"/>
              <a:gd name="connsiteY2764" fmla="*/ 3239017 h 8304597"/>
              <a:gd name="connsiteX2765" fmla="*/ 552512 w 24377650"/>
              <a:gd name="connsiteY2765" fmla="*/ 3200495 h 8304597"/>
              <a:gd name="connsiteX2766" fmla="*/ 513986 w 24377650"/>
              <a:gd name="connsiteY2766" fmla="*/ 3239017 h 8304597"/>
              <a:gd name="connsiteX2767" fmla="*/ 1085449 w 24377650"/>
              <a:gd name="connsiteY2767" fmla="*/ 3163579 h 8304597"/>
              <a:gd name="connsiteX2768" fmla="*/ 1010004 w 24377650"/>
              <a:gd name="connsiteY2768" fmla="*/ 3086536 h 8304597"/>
              <a:gd name="connsiteX2769" fmla="*/ 1122370 w 24377650"/>
              <a:gd name="connsiteY2769" fmla="*/ 3163579 h 8304597"/>
              <a:gd name="connsiteX2770" fmla="*/ 1542941 w 24377650"/>
              <a:gd name="connsiteY2770" fmla="*/ 3123453 h 8304597"/>
              <a:gd name="connsiteX2771" fmla="*/ 1619992 w 24377650"/>
              <a:gd name="connsiteY2771" fmla="*/ 3163579 h 8304597"/>
              <a:gd name="connsiteX2772" fmla="*/ 1695438 w 24377650"/>
              <a:gd name="connsiteY2772" fmla="*/ 3163579 h 8304597"/>
              <a:gd name="connsiteX2773" fmla="*/ 1695438 w 24377650"/>
              <a:gd name="connsiteY2773" fmla="*/ 3123453 h 8304597"/>
              <a:gd name="connsiteX2774" fmla="*/ 1772489 w 24377650"/>
              <a:gd name="connsiteY2774" fmla="*/ 3163579 h 8304597"/>
              <a:gd name="connsiteX2775" fmla="*/ 2152929 w 24377650"/>
              <a:gd name="connsiteY2775" fmla="*/ 3123453 h 8304597"/>
              <a:gd name="connsiteX2776" fmla="*/ 2152929 w 24377650"/>
              <a:gd name="connsiteY2776" fmla="*/ 3163579 h 8304597"/>
              <a:gd name="connsiteX2777" fmla="*/ 2382478 w 24377650"/>
              <a:gd name="connsiteY2777" fmla="*/ 3163579 h 8304597"/>
              <a:gd name="connsiteX2778" fmla="*/ 2419399 w 24377650"/>
              <a:gd name="connsiteY2778" fmla="*/ 3123453 h 8304597"/>
              <a:gd name="connsiteX2779" fmla="*/ 2762918 w 24377650"/>
              <a:gd name="connsiteY2779" fmla="*/ 3086536 h 8304597"/>
              <a:gd name="connsiteX2780" fmla="*/ 2762918 w 24377650"/>
              <a:gd name="connsiteY2780" fmla="*/ 3123453 h 8304597"/>
              <a:gd name="connsiteX2781" fmla="*/ 2799839 w 24377650"/>
              <a:gd name="connsiteY2781" fmla="*/ 3163579 h 8304597"/>
              <a:gd name="connsiteX2782" fmla="*/ 2839970 w 24377650"/>
              <a:gd name="connsiteY2782" fmla="*/ 3086536 h 8304597"/>
              <a:gd name="connsiteX2783" fmla="*/ 3067913 w 24377650"/>
              <a:gd name="connsiteY2783" fmla="*/ 3009493 h 8304597"/>
              <a:gd name="connsiteX2784" fmla="*/ 3029387 w 24377650"/>
              <a:gd name="connsiteY2784" fmla="*/ 2970972 h 8304597"/>
              <a:gd name="connsiteX2785" fmla="*/ 2915416 w 24377650"/>
              <a:gd name="connsiteY2785" fmla="*/ 2895534 h 8304597"/>
              <a:gd name="connsiteX2786" fmla="*/ 2915416 w 24377650"/>
              <a:gd name="connsiteY2786" fmla="*/ 2934055 h 8304597"/>
              <a:gd name="connsiteX2787" fmla="*/ 3029387 w 24377650"/>
              <a:gd name="connsiteY2787" fmla="*/ 2970972 h 8304597"/>
              <a:gd name="connsiteX2788" fmla="*/ 2990861 w 24377650"/>
              <a:gd name="connsiteY2788" fmla="*/ 3009493 h 8304597"/>
              <a:gd name="connsiteX2789" fmla="*/ 2915416 w 24377650"/>
              <a:gd name="connsiteY2789" fmla="*/ 3009493 h 8304597"/>
              <a:gd name="connsiteX2790" fmla="*/ 2952336 w 24377650"/>
              <a:gd name="connsiteY2790" fmla="*/ 3048015 h 8304597"/>
              <a:gd name="connsiteX2791" fmla="*/ 2799839 w 24377650"/>
              <a:gd name="connsiteY2791" fmla="*/ 3086536 h 8304597"/>
              <a:gd name="connsiteX2792" fmla="*/ 2839970 w 24377650"/>
              <a:gd name="connsiteY2792" fmla="*/ 3009493 h 8304597"/>
              <a:gd name="connsiteX2793" fmla="*/ 2990861 w 24377650"/>
              <a:gd name="connsiteY2793" fmla="*/ 2970972 h 8304597"/>
              <a:gd name="connsiteX2794" fmla="*/ 2876890 w 24377650"/>
              <a:gd name="connsiteY2794" fmla="*/ 2970972 h 8304597"/>
              <a:gd name="connsiteX2795" fmla="*/ 2839970 w 24377650"/>
              <a:gd name="connsiteY2795" fmla="*/ 2895534 h 8304597"/>
              <a:gd name="connsiteX2796" fmla="*/ 2762918 w 24377650"/>
              <a:gd name="connsiteY2796" fmla="*/ 2895534 h 8304597"/>
              <a:gd name="connsiteX2797" fmla="*/ 2876890 w 24377650"/>
              <a:gd name="connsiteY2797" fmla="*/ 2970972 h 8304597"/>
              <a:gd name="connsiteX2798" fmla="*/ 2762918 w 24377650"/>
              <a:gd name="connsiteY2798" fmla="*/ 3009493 h 8304597"/>
              <a:gd name="connsiteX2799" fmla="*/ 2724392 w 24377650"/>
              <a:gd name="connsiteY2799" fmla="*/ 2970972 h 8304597"/>
              <a:gd name="connsiteX2800" fmla="*/ 2762918 w 24377650"/>
              <a:gd name="connsiteY2800" fmla="*/ 2934055 h 8304597"/>
              <a:gd name="connsiteX2801" fmla="*/ 2534975 w 24377650"/>
              <a:gd name="connsiteY2801" fmla="*/ 2934055 h 8304597"/>
              <a:gd name="connsiteX2802" fmla="*/ 2571895 w 24377650"/>
              <a:gd name="connsiteY2802" fmla="*/ 2895534 h 8304597"/>
              <a:gd name="connsiteX2803" fmla="*/ 2457924 w 24377650"/>
              <a:gd name="connsiteY2803" fmla="*/ 2934055 h 8304597"/>
              <a:gd name="connsiteX2804" fmla="*/ 2342347 w 24377650"/>
              <a:gd name="connsiteY2804" fmla="*/ 2895534 h 8304597"/>
              <a:gd name="connsiteX2805" fmla="*/ 2342347 w 24377650"/>
              <a:gd name="connsiteY2805" fmla="*/ 2934055 h 8304597"/>
              <a:gd name="connsiteX2806" fmla="*/ 2189850 w 24377650"/>
              <a:gd name="connsiteY2806" fmla="*/ 2858617 h 8304597"/>
              <a:gd name="connsiteX2807" fmla="*/ 1961907 w 24377650"/>
              <a:gd name="connsiteY2807" fmla="*/ 2895534 h 8304597"/>
              <a:gd name="connsiteX2808" fmla="*/ 1884855 w 24377650"/>
              <a:gd name="connsiteY2808" fmla="*/ 2934055 h 8304597"/>
              <a:gd name="connsiteX2809" fmla="*/ 1695438 w 24377650"/>
              <a:gd name="connsiteY2809" fmla="*/ 2934055 h 8304597"/>
              <a:gd name="connsiteX2810" fmla="*/ 1809410 w 24377650"/>
              <a:gd name="connsiteY2810" fmla="*/ 2895534 h 8304597"/>
              <a:gd name="connsiteX2811" fmla="*/ 1656913 w 24377650"/>
              <a:gd name="connsiteY2811" fmla="*/ 2895534 h 8304597"/>
              <a:gd name="connsiteX2812" fmla="*/ 1656913 w 24377650"/>
              <a:gd name="connsiteY2812" fmla="*/ 2895534 h 8304597"/>
              <a:gd name="connsiteX2813" fmla="*/ 1542941 w 24377650"/>
              <a:gd name="connsiteY2813" fmla="*/ 2858617 h 8304597"/>
              <a:gd name="connsiteX2814" fmla="*/ 1314997 w 24377650"/>
              <a:gd name="connsiteY2814" fmla="*/ 2895534 h 8304597"/>
              <a:gd name="connsiteX2815" fmla="*/ 1390444 w 24377650"/>
              <a:gd name="connsiteY2815" fmla="*/ 2895534 h 8304597"/>
              <a:gd name="connsiteX2816" fmla="*/ 1162501 w 24377650"/>
              <a:gd name="connsiteY2816" fmla="*/ 2895534 h 8304597"/>
              <a:gd name="connsiteX2817" fmla="*/ 1162501 w 24377650"/>
              <a:gd name="connsiteY2817" fmla="*/ 2934055 h 8304597"/>
              <a:gd name="connsiteX2818" fmla="*/ 247517 w 24377650"/>
              <a:gd name="connsiteY2818" fmla="*/ 2895534 h 8304597"/>
              <a:gd name="connsiteX2819" fmla="*/ 13956 w 24377650"/>
              <a:gd name="connsiteY2819" fmla="*/ 2928638 h 8304597"/>
              <a:gd name="connsiteX2820" fmla="*/ 0 w 24377650"/>
              <a:gd name="connsiteY2820" fmla="*/ 2928001 h 8304597"/>
              <a:gd name="connsiteX2821" fmla="*/ 0 w 24377650"/>
              <a:gd name="connsiteY2821" fmla="*/ 2889285 h 8304597"/>
              <a:gd name="connsiteX2822" fmla="*/ 26403 w 24377650"/>
              <a:gd name="connsiteY2822" fmla="*/ 2880424 h 8304597"/>
              <a:gd name="connsiteX2823" fmla="*/ 56494 w 24377650"/>
              <a:gd name="connsiteY2823" fmla="*/ 2858617 h 8304597"/>
              <a:gd name="connsiteX2824" fmla="*/ 95020 w 24377650"/>
              <a:gd name="connsiteY2824" fmla="*/ 2895534 h 8304597"/>
              <a:gd name="connsiteX2825" fmla="*/ 322963 w 24377650"/>
              <a:gd name="connsiteY2825" fmla="*/ 2818491 h 8304597"/>
              <a:gd name="connsiteX2826" fmla="*/ 322963 w 24377650"/>
              <a:gd name="connsiteY2826" fmla="*/ 2895534 h 8304597"/>
              <a:gd name="connsiteX2827" fmla="*/ 436935 w 24377650"/>
              <a:gd name="connsiteY2827" fmla="*/ 2895534 h 8304597"/>
              <a:gd name="connsiteX2828" fmla="*/ 475460 w 24377650"/>
              <a:gd name="connsiteY2828" fmla="*/ 2818491 h 8304597"/>
              <a:gd name="connsiteX2829" fmla="*/ 513986 w 24377650"/>
              <a:gd name="connsiteY2829" fmla="*/ 2858617 h 8304597"/>
              <a:gd name="connsiteX2830" fmla="*/ 705009 w 24377650"/>
              <a:gd name="connsiteY2830" fmla="*/ 2895534 h 8304597"/>
              <a:gd name="connsiteX2831" fmla="*/ 666483 w 24377650"/>
              <a:gd name="connsiteY2831" fmla="*/ 2858617 h 8304597"/>
              <a:gd name="connsiteX2832" fmla="*/ 741929 w 24377650"/>
              <a:gd name="connsiteY2832" fmla="*/ 2818491 h 8304597"/>
              <a:gd name="connsiteX2833" fmla="*/ 1122370 w 24377650"/>
              <a:gd name="connsiteY2833" fmla="*/ 2818491 h 8304597"/>
              <a:gd name="connsiteX2834" fmla="*/ 1122370 w 24377650"/>
              <a:gd name="connsiteY2834" fmla="*/ 2858617 h 8304597"/>
              <a:gd name="connsiteX2835" fmla="*/ 1237947 w 24377650"/>
              <a:gd name="connsiteY2835" fmla="*/ 2858617 h 8304597"/>
              <a:gd name="connsiteX2836" fmla="*/ 1162501 w 24377650"/>
              <a:gd name="connsiteY2836" fmla="*/ 2781574 h 8304597"/>
              <a:gd name="connsiteX2837" fmla="*/ 1199421 w 24377650"/>
              <a:gd name="connsiteY2837" fmla="*/ 2743053 h 8304597"/>
              <a:gd name="connsiteX2838" fmla="*/ 1314997 w 24377650"/>
              <a:gd name="connsiteY2838" fmla="*/ 2743053 h 8304597"/>
              <a:gd name="connsiteX2839" fmla="*/ 1314997 w 24377650"/>
              <a:gd name="connsiteY2839" fmla="*/ 2818491 h 8304597"/>
              <a:gd name="connsiteX2840" fmla="*/ 1467495 w 24377650"/>
              <a:gd name="connsiteY2840" fmla="*/ 2743053 h 8304597"/>
              <a:gd name="connsiteX2841" fmla="*/ 1732358 w 24377650"/>
              <a:gd name="connsiteY2841" fmla="*/ 2781574 h 8304597"/>
              <a:gd name="connsiteX2842" fmla="*/ 1809410 w 24377650"/>
              <a:gd name="connsiteY2842" fmla="*/ 2818491 h 8304597"/>
              <a:gd name="connsiteX2843" fmla="*/ 1732358 w 24377650"/>
              <a:gd name="connsiteY2843" fmla="*/ 2818491 h 8304597"/>
              <a:gd name="connsiteX2844" fmla="*/ 1884855 w 24377650"/>
              <a:gd name="connsiteY2844" fmla="*/ 2818491 h 8304597"/>
              <a:gd name="connsiteX2845" fmla="*/ 1884855 w 24377650"/>
              <a:gd name="connsiteY2845" fmla="*/ 2781574 h 8304597"/>
              <a:gd name="connsiteX2846" fmla="*/ 2114404 w 24377650"/>
              <a:gd name="connsiteY2846" fmla="*/ 2781574 h 8304597"/>
              <a:gd name="connsiteX2847" fmla="*/ 2229981 w 24377650"/>
              <a:gd name="connsiteY2847" fmla="*/ 2743053 h 8304597"/>
              <a:gd name="connsiteX2848" fmla="*/ 2342347 w 24377650"/>
              <a:gd name="connsiteY2848" fmla="*/ 2706136 h 8304597"/>
              <a:gd name="connsiteX2849" fmla="*/ 2419399 w 24377650"/>
              <a:gd name="connsiteY2849" fmla="*/ 2743053 h 8304597"/>
              <a:gd name="connsiteX2850" fmla="*/ 2534975 w 24377650"/>
              <a:gd name="connsiteY2850" fmla="*/ 2743053 h 8304597"/>
              <a:gd name="connsiteX2851" fmla="*/ 2494844 w 24377650"/>
              <a:gd name="connsiteY2851" fmla="*/ 2667615 h 8304597"/>
              <a:gd name="connsiteX2852" fmla="*/ 2610421 w 24377650"/>
              <a:gd name="connsiteY2852" fmla="*/ 2667615 h 8304597"/>
              <a:gd name="connsiteX2853" fmla="*/ 2687472 w 24377650"/>
              <a:gd name="connsiteY2853" fmla="*/ 2629093 h 8304597"/>
              <a:gd name="connsiteX2854" fmla="*/ 2610421 w 24377650"/>
              <a:gd name="connsiteY2854" fmla="*/ 2629093 h 8304597"/>
              <a:gd name="connsiteX2855" fmla="*/ 2610421 w 24377650"/>
              <a:gd name="connsiteY2855" fmla="*/ 2553655 h 8304597"/>
              <a:gd name="connsiteX2856" fmla="*/ 2839970 w 24377650"/>
              <a:gd name="connsiteY2856" fmla="*/ 2629093 h 8304597"/>
              <a:gd name="connsiteX2857" fmla="*/ 3104833 w 24377650"/>
              <a:gd name="connsiteY2857" fmla="*/ 2515134 h 8304597"/>
              <a:gd name="connsiteX2858" fmla="*/ 2915416 w 24377650"/>
              <a:gd name="connsiteY2858" fmla="*/ 2629093 h 8304597"/>
              <a:gd name="connsiteX2859" fmla="*/ 3067913 w 24377650"/>
              <a:gd name="connsiteY2859" fmla="*/ 2706136 h 8304597"/>
              <a:gd name="connsiteX2860" fmla="*/ 2799839 w 24377650"/>
              <a:gd name="connsiteY2860" fmla="*/ 2667615 h 8304597"/>
              <a:gd name="connsiteX2861" fmla="*/ 2952336 w 24377650"/>
              <a:gd name="connsiteY2861" fmla="*/ 2706136 h 8304597"/>
              <a:gd name="connsiteX2862" fmla="*/ 2571895 w 24377650"/>
              <a:gd name="connsiteY2862" fmla="*/ 2706136 h 8304597"/>
              <a:gd name="connsiteX2863" fmla="*/ 2610421 w 24377650"/>
              <a:gd name="connsiteY2863" fmla="*/ 2818491 h 8304597"/>
              <a:gd name="connsiteX2864" fmla="*/ 2876890 w 24377650"/>
              <a:gd name="connsiteY2864" fmla="*/ 2818491 h 8304597"/>
              <a:gd name="connsiteX2865" fmla="*/ 2876890 w 24377650"/>
              <a:gd name="connsiteY2865" fmla="*/ 2781574 h 8304597"/>
              <a:gd name="connsiteX2866" fmla="*/ 2915416 w 24377650"/>
              <a:gd name="connsiteY2866" fmla="*/ 2743053 h 8304597"/>
              <a:gd name="connsiteX2867" fmla="*/ 3029387 w 24377650"/>
              <a:gd name="connsiteY2867" fmla="*/ 2781574 h 8304597"/>
              <a:gd name="connsiteX2868" fmla="*/ 2990861 w 24377650"/>
              <a:gd name="connsiteY2868" fmla="*/ 2743053 h 8304597"/>
              <a:gd name="connsiteX2869" fmla="*/ 3448353 w 24377650"/>
              <a:gd name="connsiteY2869" fmla="*/ 2743053 h 8304597"/>
              <a:gd name="connsiteX2870" fmla="*/ 3486879 w 24377650"/>
              <a:gd name="connsiteY2870" fmla="*/ 2743053 h 8304597"/>
              <a:gd name="connsiteX2871" fmla="*/ 3486879 w 24377650"/>
              <a:gd name="connsiteY2871" fmla="*/ 2781574 h 8304597"/>
              <a:gd name="connsiteX2872" fmla="*/ 3486879 w 24377650"/>
              <a:gd name="connsiteY2872" fmla="*/ 2818491 h 8304597"/>
              <a:gd name="connsiteX2873" fmla="*/ 3372907 w 24377650"/>
              <a:gd name="connsiteY2873" fmla="*/ 2781574 h 8304597"/>
              <a:gd name="connsiteX2874" fmla="*/ 3334382 w 24377650"/>
              <a:gd name="connsiteY2874" fmla="*/ 2781574 h 8304597"/>
              <a:gd name="connsiteX2875" fmla="*/ 3448353 w 24377650"/>
              <a:gd name="connsiteY2875" fmla="*/ 2818491 h 8304597"/>
              <a:gd name="connsiteX2876" fmla="*/ 3486879 w 24377650"/>
              <a:gd name="connsiteY2876" fmla="*/ 2858617 h 8304597"/>
              <a:gd name="connsiteX2877" fmla="*/ 3448353 w 24377650"/>
              <a:gd name="connsiteY2877" fmla="*/ 2858617 h 8304597"/>
              <a:gd name="connsiteX2878" fmla="*/ 3372907 w 24377650"/>
              <a:gd name="connsiteY2878" fmla="*/ 2818491 h 8304597"/>
              <a:gd name="connsiteX2879" fmla="*/ 3067913 w 24377650"/>
              <a:gd name="connsiteY2879" fmla="*/ 2895534 h 8304597"/>
              <a:gd name="connsiteX2880" fmla="*/ 3181884 w 24377650"/>
              <a:gd name="connsiteY2880" fmla="*/ 2970972 h 8304597"/>
              <a:gd name="connsiteX2881" fmla="*/ 3486879 w 24377650"/>
              <a:gd name="connsiteY2881" fmla="*/ 3009493 h 8304597"/>
              <a:gd name="connsiteX2882" fmla="*/ 3295856 w 24377650"/>
              <a:gd name="connsiteY2882" fmla="*/ 2970972 h 8304597"/>
              <a:gd name="connsiteX2883" fmla="*/ 3372907 w 24377650"/>
              <a:gd name="connsiteY2883" fmla="*/ 3009493 h 8304597"/>
              <a:gd name="connsiteX2884" fmla="*/ 3181884 w 24377650"/>
              <a:gd name="connsiteY2884" fmla="*/ 3048015 h 8304597"/>
              <a:gd name="connsiteX2885" fmla="*/ 3143358 w 24377650"/>
              <a:gd name="connsiteY2885" fmla="*/ 2970972 h 8304597"/>
              <a:gd name="connsiteX2886" fmla="*/ 2990861 w 24377650"/>
              <a:gd name="connsiteY2886" fmla="*/ 3086536 h 8304597"/>
              <a:gd name="connsiteX2887" fmla="*/ 3029387 w 24377650"/>
              <a:gd name="connsiteY2887" fmla="*/ 3123453 h 8304597"/>
              <a:gd name="connsiteX2888" fmla="*/ 2952336 w 24377650"/>
              <a:gd name="connsiteY2888" fmla="*/ 3123453 h 8304597"/>
              <a:gd name="connsiteX2889" fmla="*/ 2952336 w 24377650"/>
              <a:gd name="connsiteY2889" fmla="*/ 3163579 h 8304597"/>
              <a:gd name="connsiteX2890" fmla="*/ 3067913 w 24377650"/>
              <a:gd name="connsiteY2890" fmla="*/ 3163579 h 8304597"/>
              <a:gd name="connsiteX2891" fmla="*/ 3181884 w 24377650"/>
              <a:gd name="connsiteY2891" fmla="*/ 3163579 h 8304597"/>
              <a:gd name="connsiteX2892" fmla="*/ 3448353 w 24377650"/>
              <a:gd name="connsiteY2892" fmla="*/ 3123453 h 8304597"/>
              <a:gd name="connsiteX2893" fmla="*/ 3486879 w 24377650"/>
              <a:gd name="connsiteY2893" fmla="*/ 3123453 h 8304597"/>
              <a:gd name="connsiteX2894" fmla="*/ 3524727 w 24377650"/>
              <a:gd name="connsiteY2894" fmla="*/ 3123453 h 8304597"/>
              <a:gd name="connsiteX2895" fmla="*/ 3525405 w 24377650"/>
              <a:gd name="connsiteY2895" fmla="*/ 3123453 h 8304597"/>
              <a:gd name="connsiteX2896" fmla="*/ 3530020 w 24377650"/>
              <a:gd name="connsiteY2896" fmla="*/ 3123453 h 8304597"/>
              <a:gd name="connsiteX2897" fmla="*/ 3534434 w 24377650"/>
              <a:gd name="connsiteY2897" fmla="*/ 3123453 h 8304597"/>
              <a:gd name="connsiteX2898" fmla="*/ 3562324 w 24377650"/>
              <a:gd name="connsiteY2898" fmla="*/ 3123453 h 8304597"/>
              <a:gd name="connsiteX2899" fmla="*/ 3600851 w 24377650"/>
              <a:gd name="connsiteY2899" fmla="*/ 3123453 h 8304597"/>
              <a:gd name="connsiteX2900" fmla="*/ 3562324 w 24377650"/>
              <a:gd name="connsiteY2900" fmla="*/ 3163579 h 8304597"/>
              <a:gd name="connsiteX2901" fmla="*/ 3676296 w 24377650"/>
              <a:gd name="connsiteY2901" fmla="*/ 3163579 h 8304597"/>
              <a:gd name="connsiteX2902" fmla="*/ 3639376 w 24377650"/>
              <a:gd name="connsiteY2902" fmla="*/ 3123453 h 8304597"/>
              <a:gd name="connsiteX2903" fmla="*/ 3828793 w 24377650"/>
              <a:gd name="connsiteY2903" fmla="*/ 3163579 h 8304597"/>
              <a:gd name="connsiteX2904" fmla="*/ 3867319 w 24377650"/>
              <a:gd name="connsiteY2904" fmla="*/ 3123453 h 8304597"/>
              <a:gd name="connsiteX2905" fmla="*/ 3981290 w 24377650"/>
              <a:gd name="connsiteY2905" fmla="*/ 3123453 h 8304597"/>
              <a:gd name="connsiteX2906" fmla="*/ 3905845 w 24377650"/>
              <a:gd name="connsiteY2906" fmla="*/ 3086536 h 8304597"/>
              <a:gd name="connsiteX2907" fmla="*/ 4096868 w 24377650"/>
              <a:gd name="connsiteY2907" fmla="*/ 3086536 h 8304597"/>
              <a:gd name="connsiteX2908" fmla="*/ 4096868 w 24377650"/>
              <a:gd name="connsiteY2908" fmla="*/ 3048015 h 8304597"/>
              <a:gd name="connsiteX2909" fmla="*/ 4210839 w 24377650"/>
              <a:gd name="connsiteY2909" fmla="*/ 3048015 h 8304597"/>
              <a:gd name="connsiteX2910" fmla="*/ 4203170 w 24377650"/>
              <a:gd name="connsiteY2910" fmla="*/ 3069749 h 8304597"/>
              <a:gd name="connsiteX2911" fmla="*/ 4205165 w 24377650"/>
              <a:gd name="connsiteY2911" fmla="*/ 3074587 h 8304597"/>
              <a:gd name="connsiteX2912" fmla="*/ 4195188 w 24377650"/>
              <a:gd name="connsiteY2912" fmla="*/ 3070862 h 8304597"/>
              <a:gd name="connsiteX2913" fmla="*/ 4172314 w 24377650"/>
              <a:gd name="connsiteY2913" fmla="*/ 3086536 h 8304597"/>
              <a:gd name="connsiteX2914" fmla="*/ 4172314 w 24377650"/>
              <a:gd name="connsiteY2914" fmla="*/ 3123453 h 8304597"/>
              <a:gd name="connsiteX2915" fmla="*/ 4249365 w 24377650"/>
              <a:gd name="connsiteY2915" fmla="*/ 3123453 h 8304597"/>
              <a:gd name="connsiteX2916" fmla="*/ 4226490 w 24377650"/>
              <a:gd name="connsiteY2916" fmla="*/ 3096693 h 8304597"/>
              <a:gd name="connsiteX2917" fmla="*/ 4214868 w 24377650"/>
              <a:gd name="connsiteY2917" fmla="*/ 3081850 h 8304597"/>
              <a:gd name="connsiteX2918" fmla="*/ 4221844 w 24377650"/>
              <a:gd name="connsiteY2918" fmla="*/ 3083198 h 8304597"/>
              <a:gd name="connsiteX2919" fmla="*/ 4333081 w 24377650"/>
              <a:gd name="connsiteY2919" fmla="*/ 3076915 h 8304597"/>
              <a:gd name="connsiteX2920" fmla="*/ 4347878 w 24377650"/>
              <a:gd name="connsiteY2920" fmla="*/ 3081620 h 8304597"/>
              <a:gd name="connsiteX2921" fmla="*/ 4339257 w 24377650"/>
              <a:gd name="connsiteY2921" fmla="*/ 3086335 h 8304597"/>
              <a:gd name="connsiteX2922" fmla="*/ 4337905 w 24377650"/>
              <a:gd name="connsiteY2922" fmla="*/ 3086913 h 8304597"/>
              <a:gd name="connsiteX2923" fmla="*/ 4324434 w 24377650"/>
              <a:gd name="connsiteY2923" fmla="*/ 3087113 h 8304597"/>
              <a:gd name="connsiteX2924" fmla="*/ 4286285 w 24377650"/>
              <a:gd name="connsiteY2924" fmla="*/ 3123453 h 8304597"/>
              <a:gd name="connsiteX2925" fmla="*/ 4303741 w 24377650"/>
              <a:gd name="connsiteY2925" fmla="*/ 3101509 h 8304597"/>
              <a:gd name="connsiteX2926" fmla="*/ 4337905 w 24377650"/>
              <a:gd name="connsiteY2926" fmla="*/ 3086913 h 8304597"/>
              <a:gd name="connsiteX2927" fmla="*/ 4363336 w 24377650"/>
              <a:gd name="connsiteY2927" fmla="*/ 3086536 h 8304597"/>
              <a:gd name="connsiteX2928" fmla="*/ 4347878 w 24377650"/>
              <a:gd name="connsiteY2928" fmla="*/ 3081620 h 8304597"/>
              <a:gd name="connsiteX2929" fmla="*/ 4367550 w 24377650"/>
              <a:gd name="connsiteY2929" fmla="*/ 3070862 h 8304597"/>
              <a:gd name="connsiteX2930" fmla="*/ 4363336 w 24377650"/>
              <a:gd name="connsiteY2930" fmla="*/ 3048015 h 8304597"/>
              <a:gd name="connsiteX2931" fmla="*/ 3905845 w 24377650"/>
              <a:gd name="connsiteY2931" fmla="*/ 3009493 h 8304597"/>
              <a:gd name="connsiteX2932" fmla="*/ 3562324 w 24377650"/>
              <a:gd name="connsiteY2932" fmla="*/ 3009493 h 8304597"/>
              <a:gd name="connsiteX2933" fmla="*/ 3525405 w 24377650"/>
              <a:gd name="connsiteY2933" fmla="*/ 2934055 h 8304597"/>
              <a:gd name="connsiteX2934" fmla="*/ 3639376 w 24377650"/>
              <a:gd name="connsiteY2934" fmla="*/ 2895534 h 8304597"/>
              <a:gd name="connsiteX2935" fmla="*/ 3714822 w 24377650"/>
              <a:gd name="connsiteY2935" fmla="*/ 2895534 h 8304597"/>
              <a:gd name="connsiteX2936" fmla="*/ 3905845 w 24377650"/>
              <a:gd name="connsiteY2936" fmla="*/ 2858617 h 8304597"/>
              <a:gd name="connsiteX2937" fmla="*/ 3791873 w 24377650"/>
              <a:gd name="connsiteY2937" fmla="*/ 2858617 h 8304597"/>
              <a:gd name="connsiteX2938" fmla="*/ 3791873 w 24377650"/>
              <a:gd name="connsiteY2938" fmla="*/ 2895534 h 8304597"/>
              <a:gd name="connsiteX2939" fmla="*/ 3600851 w 24377650"/>
              <a:gd name="connsiteY2939" fmla="*/ 2858617 h 8304597"/>
              <a:gd name="connsiteX2940" fmla="*/ 3639376 w 24377650"/>
              <a:gd name="connsiteY2940" fmla="*/ 2781574 h 8304597"/>
              <a:gd name="connsiteX2941" fmla="*/ 3600851 w 24377650"/>
              <a:gd name="connsiteY2941" fmla="*/ 2781574 h 8304597"/>
              <a:gd name="connsiteX2942" fmla="*/ 3562324 w 24377650"/>
              <a:gd name="connsiteY2942" fmla="*/ 2781574 h 8304597"/>
              <a:gd name="connsiteX2943" fmla="*/ 3562324 w 24377650"/>
              <a:gd name="connsiteY2943" fmla="*/ 2743053 h 8304597"/>
              <a:gd name="connsiteX2944" fmla="*/ 3486879 w 24377650"/>
              <a:gd name="connsiteY2944" fmla="*/ 2743053 h 8304597"/>
              <a:gd name="connsiteX2945" fmla="*/ 3372907 w 24377650"/>
              <a:gd name="connsiteY2945" fmla="*/ 2706136 h 8304597"/>
              <a:gd name="connsiteX2946" fmla="*/ 3334382 w 24377650"/>
              <a:gd name="connsiteY2946" fmla="*/ 2667615 h 8304597"/>
              <a:gd name="connsiteX2947" fmla="*/ 3295856 w 24377650"/>
              <a:gd name="connsiteY2947" fmla="*/ 2743053 h 8304597"/>
              <a:gd name="connsiteX2948" fmla="*/ 3257330 w 24377650"/>
              <a:gd name="connsiteY2948" fmla="*/ 2667615 h 8304597"/>
              <a:gd name="connsiteX2949" fmla="*/ 3220410 w 24377650"/>
              <a:gd name="connsiteY2949" fmla="*/ 2706136 h 8304597"/>
              <a:gd name="connsiteX2950" fmla="*/ 3067913 w 24377650"/>
              <a:gd name="connsiteY2950" fmla="*/ 2629093 h 8304597"/>
              <a:gd name="connsiteX2951" fmla="*/ 3143358 w 24377650"/>
              <a:gd name="connsiteY2951" fmla="*/ 2590572 h 8304597"/>
              <a:gd name="connsiteX2952" fmla="*/ 3181884 w 24377650"/>
              <a:gd name="connsiteY2952" fmla="*/ 2629093 h 8304597"/>
              <a:gd name="connsiteX2953" fmla="*/ 3143358 w 24377650"/>
              <a:gd name="connsiteY2953" fmla="*/ 2553655 h 8304597"/>
              <a:gd name="connsiteX2954" fmla="*/ 3295856 w 24377650"/>
              <a:gd name="connsiteY2954" fmla="*/ 2553655 h 8304597"/>
              <a:gd name="connsiteX2955" fmla="*/ 3486879 w 24377650"/>
              <a:gd name="connsiteY2955" fmla="*/ 2629093 h 8304597"/>
              <a:gd name="connsiteX2956" fmla="*/ 3295856 w 24377650"/>
              <a:gd name="connsiteY2956" fmla="*/ 2553655 h 8304597"/>
              <a:gd name="connsiteX2957" fmla="*/ 3295856 w 24377650"/>
              <a:gd name="connsiteY2957" fmla="*/ 2515134 h 8304597"/>
              <a:gd name="connsiteX2958" fmla="*/ 2990861 w 24377650"/>
              <a:gd name="connsiteY2958" fmla="*/ 2476612 h 8304597"/>
              <a:gd name="connsiteX2959" fmla="*/ 2915416 w 24377650"/>
              <a:gd name="connsiteY2959" fmla="*/ 2553655 h 8304597"/>
              <a:gd name="connsiteX2960" fmla="*/ 2610421 w 24377650"/>
              <a:gd name="connsiteY2960" fmla="*/ 2515134 h 8304597"/>
              <a:gd name="connsiteX2961" fmla="*/ 2647342 w 24377650"/>
              <a:gd name="connsiteY2961" fmla="*/ 2476612 h 8304597"/>
              <a:gd name="connsiteX2962" fmla="*/ 2687472 w 24377650"/>
              <a:gd name="connsiteY2962" fmla="*/ 2476612 h 8304597"/>
              <a:gd name="connsiteX2963" fmla="*/ 2762918 w 24377650"/>
              <a:gd name="connsiteY2963" fmla="*/ 2515134 h 8304597"/>
              <a:gd name="connsiteX2964" fmla="*/ 2839970 w 24377650"/>
              <a:gd name="connsiteY2964" fmla="*/ 2476612 h 8304597"/>
              <a:gd name="connsiteX2965" fmla="*/ 2724392 w 24377650"/>
              <a:gd name="connsiteY2965" fmla="*/ 2476612 h 8304597"/>
              <a:gd name="connsiteX2966" fmla="*/ 2799839 w 24377650"/>
              <a:gd name="connsiteY2966" fmla="*/ 2438091 h 8304597"/>
              <a:gd name="connsiteX2967" fmla="*/ 2762918 w 24377650"/>
              <a:gd name="connsiteY2967" fmla="*/ 2399569 h 8304597"/>
              <a:gd name="connsiteX2968" fmla="*/ 2571895 w 24377650"/>
              <a:gd name="connsiteY2968" fmla="*/ 2438091 h 8304597"/>
              <a:gd name="connsiteX2969" fmla="*/ 2534975 w 24377650"/>
              <a:gd name="connsiteY2969" fmla="*/ 2476612 h 8304597"/>
              <a:gd name="connsiteX2970" fmla="*/ 2266901 w 24377650"/>
              <a:gd name="connsiteY2970" fmla="*/ 2476612 h 8304597"/>
              <a:gd name="connsiteX2971" fmla="*/ 2152929 w 24377650"/>
              <a:gd name="connsiteY2971" fmla="*/ 2476612 h 8304597"/>
              <a:gd name="connsiteX2972" fmla="*/ 2189850 w 24377650"/>
              <a:gd name="connsiteY2972" fmla="*/ 2438091 h 8304597"/>
              <a:gd name="connsiteX2973" fmla="*/ 2305426 w 24377650"/>
              <a:gd name="connsiteY2973" fmla="*/ 2399569 h 8304597"/>
              <a:gd name="connsiteX2974" fmla="*/ 2534975 w 24377650"/>
              <a:gd name="connsiteY2974" fmla="*/ 2399569 h 8304597"/>
              <a:gd name="connsiteX2975" fmla="*/ 2494844 w 24377650"/>
              <a:gd name="connsiteY2975" fmla="*/ 2324131 h 8304597"/>
              <a:gd name="connsiteX2976" fmla="*/ 2571895 w 24377650"/>
              <a:gd name="connsiteY2976" fmla="*/ 2399569 h 8304597"/>
              <a:gd name="connsiteX2977" fmla="*/ 2687472 w 24377650"/>
              <a:gd name="connsiteY2977" fmla="*/ 2362653 h 8304597"/>
              <a:gd name="connsiteX2978" fmla="*/ 2647342 w 24377650"/>
              <a:gd name="connsiteY2978" fmla="*/ 2324131 h 8304597"/>
              <a:gd name="connsiteX2979" fmla="*/ 2724392 w 24377650"/>
              <a:gd name="connsiteY2979" fmla="*/ 2362653 h 8304597"/>
              <a:gd name="connsiteX2980" fmla="*/ 2839970 w 24377650"/>
              <a:gd name="connsiteY2980" fmla="*/ 2285609 h 8304597"/>
              <a:gd name="connsiteX2981" fmla="*/ 2724392 w 24377650"/>
              <a:gd name="connsiteY2981" fmla="*/ 2285609 h 8304597"/>
              <a:gd name="connsiteX2982" fmla="*/ 2724392 w 24377650"/>
              <a:gd name="connsiteY2982" fmla="*/ 2248693 h 8304597"/>
              <a:gd name="connsiteX2983" fmla="*/ 2687472 w 24377650"/>
              <a:gd name="connsiteY2983" fmla="*/ 2285609 h 8304597"/>
              <a:gd name="connsiteX2984" fmla="*/ 2647342 w 24377650"/>
              <a:gd name="connsiteY2984" fmla="*/ 2248693 h 8304597"/>
              <a:gd name="connsiteX2985" fmla="*/ 2342347 w 24377650"/>
              <a:gd name="connsiteY2985" fmla="*/ 2210172 h 8304597"/>
              <a:gd name="connsiteX2986" fmla="*/ 2342347 w 24377650"/>
              <a:gd name="connsiteY2986" fmla="*/ 2171650 h 8304597"/>
              <a:gd name="connsiteX2987" fmla="*/ 2571895 w 24377650"/>
              <a:gd name="connsiteY2987" fmla="*/ 2171650 h 8304597"/>
              <a:gd name="connsiteX2988" fmla="*/ 2114404 w 24377650"/>
              <a:gd name="connsiteY2988" fmla="*/ 2019169 h 8304597"/>
              <a:gd name="connsiteX2989" fmla="*/ 2077483 w 24377650"/>
              <a:gd name="connsiteY2989" fmla="*/ 2096212 h 8304597"/>
              <a:gd name="connsiteX2990" fmla="*/ 2000433 w 24377650"/>
              <a:gd name="connsiteY2990" fmla="*/ 2057691 h 8304597"/>
              <a:gd name="connsiteX2991" fmla="*/ 2037353 w 24377650"/>
              <a:gd name="connsiteY2991" fmla="*/ 2057691 h 8304597"/>
              <a:gd name="connsiteX2992" fmla="*/ 1809410 w 24377650"/>
              <a:gd name="connsiteY2992" fmla="*/ 2019169 h 8304597"/>
              <a:gd name="connsiteX2993" fmla="*/ 1809410 w 24377650"/>
              <a:gd name="connsiteY2993" fmla="*/ 1943731 h 8304597"/>
              <a:gd name="connsiteX2994" fmla="*/ 1390444 w 24377650"/>
              <a:gd name="connsiteY2994" fmla="*/ 1982253 h 8304597"/>
              <a:gd name="connsiteX2995" fmla="*/ 1390444 w 24377650"/>
              <a:gd name="connsiteY2995" fmla="*/ 1943731 h 8304597"/>
              <a:gd name="connsiteX2996" fmla="*/ 1467495 w 24377650"/>
              <a:gd name="connsiteY2996" fmla="*/ 1905210 h 8304597"/>
              <a:gd name="connsiteX2997" fmla="*/ 1351918 w 24377650"/>
              <a:gd name="connsiteY2997" fmla="*/ 1905210 h 8304597"/>
              <a:gd name="connsiteX2998" fmla="*/ 1237947 w 24377650"/>
              <a:gd name="connsiteY2998" fmla="*/ 1866688 h 8304597"/>
              <a:gd name="connsiteX2999" fmla="*/ 1162501 w 24377650"/>
              <a:gd name="connsiteY2999" fmla="*/ 1905210 h 8304597"/>
              <a:gd name="connsiteX3000" fmla="*/ 1010004 w 24377650"/>
              <a:gd name="connsiteY3000" fmla="*/ 1905210 h 8304597"/>
              <a:gd name="connsiteX3001" fmla="*/ 969873 w 24377650"/>
              <a:gd name="connsiteY3001" fmla="*/ 1866688 h 8304597"/>
              <a:gd name="connsiteX3002" fmla="*/ 969873 w 24377650"/>
              <a:gd name="connsiteY3002" fmla="*/ 1789645 h 8304597"/>
              <a:gd name="connsiteX3003" fmla="*/ 1162501 w 24377650"/>
              <a:gd name="connsiteY3003" fmla="*/ 1752728 h 8304597"/>
              <a:gd name="connsiteX3004" fmla="*/ 1579861 w 24377650"/>
              <a:gd name="connsiteY3004" fmla="*/ 1789645 h 8304597"/>
              <a:gd name="connsiteX3005" fmla="*/ 1579861 w 24377650"/>
              <a:gd name="connsiteY3005" fmla="*/ 1829772 h 8304597"/>
              <a:gd name="connsiteX3006" fmla="*/ 1619992 w 24377650"/>
              <a:gd name="connsiteY3006" fmla="*/ 1789645 h 8304597"/>
              <a:gd name="connsiteX3007" fmla="*/ 1695438 w 24377650"/>
              <a:gd name="connsiteY3007" fmla="*/ 1829772 h 8304597"/>
              <a:gd name="connsiteX3008" fmla="*/ 1695438 w 24377650"/>
              <a:gd name="connsiteY3008" fmla="*/ 1789645 h 8304597"/>
              <a:gd name="connsiteX3009" fmla="*/ 1884855 w 24377650"/>
              <a:gd name="connsiteY3009" fmla="*/ 1829772 h 8304597"/>
              <a:gd name="connsiteX3010" fmla="*/ 2077483 w 24377650"/>
              <a:gd name="connsiteY3010" fmla="*/ 1789645 h 8304597"/>
              <a:gd name="connsiteX3011" fmla="*/ 2114404 w 24377650"/>
              <a:gd name="connsiteY3011" fmla="*/ 1829772 h 8304597"/>
              <a:gd name="connsiteX3012" fmla="*/ 2114404 w 24377650"/>
              <a:gd name="connsiteY3012" fmla="*/ 1752728 h 8304597"/>
              <a:gd name="connsiteX3013" fmla="*/ 2189850 w 24377650"/>
              <a:gd name="connsiteY3013" fmla="*/ 1752728 h 8304597"/>
              <a:gd name="connsiteX3014" fmla="*/ 2229981 w 24377650"/>
              <a:gd name="connsiteY3014" fmla="*/ 1829772 h 8304597"/>
              <a:gd name="connsiteX3015" fmla="*/ 2266901 w 24377650"/>
              <a:gd name="connsiteY3015" fmla="*/ 1752728 h 8304597"/>
              <a:gd name="connsiteX3016" fmla="*/ 2382478 w 24377650"/>
              <a:gd name="connsiteY3016" fmla="*/ 1752728 h 8304597"/>
              <a:gd name="connsiteX3017" fmla="*/ 2457924 w 24377650"/>
              <a:gd name="connsiteY3017" fmla="*/ 1829772 h 8304597"/>
              <a:gd name="connsiteX3018" fmla="*/ 2266901 w 24377650"/>
              <a:gd name="connsiteY3018" fmla="*/ 1752728 h 8304597"/>
              <a:gd name="connsiteX3019" fmla="*/ 2457924 w 24377650"/>
              <a:gd name="connsiteY3019" fmla="*/ 1714207 h 8304597"/>
              <a:gd name="connsiteX3020" fmla="*/ 2534975 w 24377650"/>
              <a:gd name="connsiteY3020" fmla="*/ 1829772 h 8304597"/>
              <a:gd name="connsiteX3021" fmla="*/ 2610421 w 24377650"/>
              <a:gd name="connsiteY3021" fmla="*/ 1752728 h 8304597"/>
              <a:gd name="connsiteX3022" fmla="*/ 2534975 w 24377650"/>
              <a:gd name="connsiteY3022" fmla="*/ 1789645 h 8304597"/>
              <a:gd name="connsiteX3023" fmla="*/ 2534975 w 24377650"/>
              <a:gd name="connsiteY3023" fmla="*/ 1714207 h 8304597"/>
              <a:gd name="connsiteX3024" fmla="*/ 2687472 w 24377650"/>
              <a:gd name="connsiteY3024" fmla="*/ 1714207 h 8304597"/>
              <a:gd name="connsiteX3025" fmla="*/ 2647342 w 24377650"/>
              <a:gd name="connsiteY3025" fmla="*/ 1789645 h 8304597"/>
              <a:gd name="connsiteX3026" fmla="*/ 2762918 w 24377650"/>
              <a:gd name="connsiteY3026" fmla="*/ 1752728 h 8304597"/>
              <a:gd name="connsiteX3027" fmla="*/ 2876890 w 24377650"/>
              <a:gd name="connsiteY3027" fmla="*/ 1714207 h 8304597"/>
              <a:gd name="connsiteX3028" fmla="*/ 3067913 w 24377650"/>
              <a:gd name="connsiteY3028" fmla="*/ 1677291 h 8304597"/>
              <a:gd name="connsiteX3029" fmla="*/ 3143358 w 24377650"/>
              <a:gd name="connsiteY3029" fmla="*/ 1677291 h 8304597"/>
              <a:gd name="connsiteX3030" fmla="*/ 3143358 w 24377650"/>
              <a:gd name="connsiteY3030" fmla="*/ 1829772 h 8304597"/>
              <a:gd name="connsiteX3031" fmla="*/ 3181884 w 24377650"/>
              <a:gd name="connsiteY3031" fmla="*/ 1714207 h 8304597"/>
              <a:gd name="connsiteX3032" fmla="*/ 3372907 w 24377650"/>
              <a:gd name="connsiteY3032" fmla="*/ 1789645 h 8304597"/>
              <a:gd name="connsiteX3033" fmla="*/ 3486879 w 24377650"/>
              <a:gd name="connsiteY3033" fmla="*/ 1752728 h 8304597"/>
              <a:gd name="connsiteX3034" fmla="*/ 3562324 w 24377650"/>
              <a:gd name="connsiteY3034" fmla="*/ 1714207 h 8304597"/>
              <a:gd name="connsiteX3035" fmla="*/ 3600851 w 24377650"/>
              <a:gd name="connsiteY3035" fmla="*/ 1752728 h 8304597"/>
              <a:gd name="connsiteX3036" fmla="*/ 3639376 w 24377650"/>
              <a:gd name="connsiteY3036" fmla="*/ 1752728 h 8304597"/>
              <a:gd name="connsiteX3037" fmla="*/ 3828793 w 24377650"/>
              <a:gd name="connsiteY3037" fmla="*/ 1714207 h 8304597"/>
              <a:gd name="connsiteX3038" fmla="*/ 3791873 w 24377650"/>
              <a:gd name="connsiteY3038" fmla="*/ 1677291 h 8304597"/>
              <a:gd name="connsiteX3039" fmla="*/ 3828793 w 24377650"/>
              <a:gd name="connsiteY3039" fmla="*/ 1677291 h 8304597"/>
              <a:gd name="connsiteX3040" fmla="*/ 3867319 w 24377650"/>
              <a:gd name="connsiteY3040" fmla="*/ 1714207 h 8304597"/>
              <a:gd name="connsiteX3041" fmla="*/ 4019817 w 24377650"/>
              <a:gd name="connsiteY3041" fmla="*/ 1677291 h 8304597"/>
              <a:gd name="connsiteX3042" fmla="*/ 3981290 w 24377650"/>
              <a:gd name="connsiteY3042" fmla="*/ 1714207 h 8304597"/>
              <a:gd name="connsiteX3043" fmla="*/ 4820828 w 24377650"/>
              <a:gd name="connsiteY3043" fmla="*/ 1714207 h 8304597"/>
              <a:gd name="connsiteX3044" fmla="*/ 4629805 w 24377650"/>
              <a:gd name="connsiteY3044" fmla="*/ 1677291 h 8304597"/>
              <a:gd name="connsiteX3045" fmla="*/ 5087296 w 24377650"/>
              <a:gd name="connsiteY3045" fmla="*/ 1638769 h 8304597"/>
              <a:gd name="connsiteX3046" fmla="*/ 5011851 w 24377650"/>
              <a:gd name="connsiteY3046" fmla="*/ 1600247 h 8304597"/>
              <a:gd name="connsiteX3047" fmla="*/ 5430817 w 24377650"/>
              <a:gd name="connsiteY3047" fmla="*/ 1561726 h 8304597"/>
              <a:gd name="connsiteX3048" fmla="*/ 5164348 w 24377650"/>
              <a:gd name="connsiteY3048" fmla="*/ 1447767 h 8304597"/>
              <a:gd name="connsiteX3049" fmla="*/ 5239794 w 24377650"/>
              <a:gd name="connsiteY3049" fmla="*/ 1447767 h 8304597"/>
              <a:gd name="connsiteX3050" fmla="*/ 5164348 w 24377650"/>
              <a:gd name="connsiteY3050" fmla="*/ 1372328 h 8304597"/>
              <a:gd name="connsiteX3051" fmla="*/ 5125822 w 24377650"/>
              <a:gd name="connsiteY3051" fmla="*/ 1409245 h 8304597"/>
              <a:gd name="connsiteX3052" fmla="*/ 4706856 w 24377650"/>
              <a:gd name="connsiteY3052" fmla="*/ 1372328 h 8304597"/>
              <a:gd name="connsiteX3053" fmla="*/ 4820828 w 24377650"/>
              <a:gd name="connsiteY3053" fmla="*/ 1295285 h 8304597"/>
              <a:gd name="connsiteX3054" fmla="*/ 4666726 w 24377650"/>
              <a:gd name="connsiteY3054" fmla="*/ 1219848 h 8304597"/>
              <a:gd name="connsiteX3055" fmla="*/ 4554359 w 24377650"/>
              <a:gd name="connsiteY3055" fmla="*/ 1256764 h 8304597"/>
              <a:gd name="connsiteX3056" fmla="*/ 4515834 w 24377650"/>
              <a:gd name="connsiteY3056" fmla="*/ 1219848 h 8304597"/>
              <a:gd name="connsiteX3057" fmla="*/ 4438782 w 24377650"/>
              <a:gd name="connsiteY3057" fmla="*/ 1256764 h 8304597"/>
              <a:gd name="connsiteX3058" fmla="*/ 4249365 w 24377650"/>
              <a:gd name="connsiteY3058" fmla="*/ 1256764 h 8304597"/>
              <a:gd name="connsiteX3059" fmla="*/ 3867319 w 24377650"/>
              <a:gd name="connsiteY3059" fmla="*/ 1179721 h 8304597"/>
              <a:gd name="connsiteX3060" fmla="*/ 3714822 w 24377650"/>
              <a:gd name="connsiteY3060" fmla="*/ 1219848 h 8304597"/>
              <a:gd name="connsiteX3061" fmla="*/ 3639376 w 24377650"/>
              <a:gd name="connsiteY3061" fmla="*/ 1179721 h 8304597"/>
              <a:gd name="connsiteX3062" fmla="*/ 3600851 w 24377650"/>
              <a:gd name="connsiteY3062" fmla="*/ 1179721 h 8304597"/>
              <a:gd name="connsiteX3063" fmla="*/ 3600851 w 24377650"/>
              <a:gd name="connsiteY3063" fmla="*/ 1219848 h 8304597"/>
              <a:gd name="connsiteX3064" fmla="*/ 3562324 w 24377650"/>
              <a:gd name="connsiteY3064" fmla="*/ 1219848 h 8304597"/>
              <a:gd name="connsiteX3065" fmla="*/ 3486879 w 24377650"/>
              <a:gd name="connsiteY3065" fmla="*/ 1179721 h 8304597"/>
              <a:gd name="connsiteX3066" fmla="*/ 3372907 w 24377650"/>
              <a:gd name="connsiteY3066" fmla="*/ 1179721 h 8304597"/>
              <a:gd name="connsiteX3067" fmla="*/ 3181884 w 24377650"/>
              <a:gd name="connsiteY3067" fmla="*/ 1219848 h 8304597"/>
              <a:gd name="connsiteX3068" fmla="*/ 3295856 w 24377650"/>
              <a:gd name="connsiteY3068" fmla="*/ 1179721 h 8304597"/>
              <a:gd name="connsiteX3069" fmla="*/ 3104833 w 24377650"/>
              <a:gd name="connsiteY3069" fmla="*/ 1104283 h 8304597"/>
              <a:gd name="connsiteX3070" fmla="*/ 3067913 w 24377650"/>
              <a:gd name="connsiteY3070" fmla="*/ 1142804 h 8304597"/>
              <a:gd name="connsiteX3071" fmla="*/ 2990861 w 24377650"/>
              <a:gd name="connsiteY3071" fmla="*/ 1067366 h 8304597"/>
              <a:gd name="connsiteX3072" fmla="*/ 3104833 w 24377650"/>
              <a:gd name="connsiteY3072" fmla="*/ 1067366 h 8304597"/>
              <a:gd name="connsiteX3073" fmla="*/ 3372907 w 24377650"/>
              <a:gd name="connsiteY3073" fmla="*/ 990324 h 8304597"/>
              <a:gd name="connsiteX3074" fmla="*/ 3448353 w 24377650"/>
              <a:gd name="connsiteY3074" fmla="*/ 990324 h 8304597"/>
              <a:gd name="connsiteX3075" fmla="*/ 3486879 w 24377650"/>
              <a:gd name="connsiteY3075" fmla="*/ 1028845 h 8304597"/>
              <a:gd name="connsiteX3076" fmla="*/ 3600851 w 24377650"/>
              <a:gd name="connsiteY3076" fmla="*/ 990324 h 8304597"/>
              <a:gd name="connsiteX3077" fmla="*/ 3600851 w 24377650"/>
              <a:gd name="connsiteY3077" fmla="*/ 1028845 h 8304597"/>
              <a:gd name="connsiteX3078" fmla="*/ 3639376 w 24377650"/>
              <a:gd name="connsiteY3078" fmla="*/ 1028845 h 8304597"/>
              <a:gd name="connsiteX3079" fmla="*/ 3714822 w 24377650"/>
              <a:gd name="connsiteY3079" fmla="*/ 990324 h 8304597"/>
              <a:gd name="connsiteX3080" fmla="*/ 3676296 w 24377650"/>
              <a:gd name="connsiteY3080" fmla="*/ 914885 h 8304597"/>
              <a:gd name="connsiteX3081" fmla="*/ 3981290 w 24377650"/>
              <a:gd name="connsiteY3081" fmla="*/ 876364 h 8304597"/>
              <a:gd name="connsiteX3082" fmla="*/ 4286285 w 24377650"/>
              <a:gd name="connsiteY3082" fmla="*/ 914885 h 8304597"/>
              <a:gd name="connsiteX3083" fmla="*/ 4629805 w 24377650"/>
              <a:gd name="connsiteY3083" fmla="*/ 876364 h 8304597"/>
              <a:gd name="connsiteX3084" fmla="*/ 4666726 w 24377650"/>
              <a:gd name="connsiteY3084" fmla="*/ 951802 h 8304597"/>
              <a:gd name="connsiteX3085" fmla="*/ 4706856 w 24377650"/>
              <a:gd name="connsiteY3085" fmla="*/ 951802 h 8304597"/>
              <a:gd name="connsiteX3086" fmla="*/ 5239794 w 24377650"/>
              <a:gd name="connsiteY3086" fmla="*/ 914885 h 8304597"/>
              <a:gd name="connsiteX3087" fmla="*/ 5544788 w 24377650"/>
              <a:gd name="connsiteY3087" fmla="*/ 914885 h 8304597"/>
              <a:gd name="connsiteX3088" fmla="*/ 5506262 w 24377650"/>
              <a:gd name="connsiteY3088" fmla="*/ 876364 h 8304597"/>
              <a:gd name="connsiteX3089" fmla="*/ 6040805 w 24377650"/>
              <a:gd name="connsiteY3089" fmla="*/ 762404 h 8304597"/>
              <a:gd name="connsiteX3090" fmla="*/ 6017705 w 24377650"/>
              <a:gd name="connsiteY3090" fmla="*/ 753849 h 8304597"/>
              <a:gd name="connsiteX3091" fmla="*/ 6039501 w 24377650"/>
              <a:gd name="connsiteY3091" fmla="*/ 749464 h 8304597"/>
              <a:gd name="connsiteX3092" fmla="*/ 6650794 w 24377650"/>
              <a:gd name="connsiteY3092" fmla="*/ 685361 h 8304597"/>
              <a:gd name="connsiteX3093" fmla="*/ 6955789 w 24377650"/>
              <a:gd name="connsiteY3093" fmla="*/ 723883 h 8304597"/>
              <a:gd name="connsiteX3094" fmla="*/ 7031235 w 24377650"/>
              <a:gd name="connsiteY3094" fmla="*/ 685361 h 8304597"/>
              <a:gd name="connsiteX3095" fmla="*/ 7108286 w 24377650"/>
              <a:gd name="connsiteY3095" fmla="*/ 723883 h 8304597"/>
              <a:gd name="connsiteX3096" fmla="*/ 7145206 w 24377650"/>
              <a:gd name="connsiteY3096" fmla="*/ 685361 h 8304597"/>
              <a:gd name="connsiteX3097" fmla="*/ 7260783 w 24377650"/>
              <a:gd name="connsiteY3097" fmla="*/ 723883 h 8304597"/>
              <a:gd name="connsiteX3098" fmla="*/ 7870772 w 24377650"/>
              <a:gd name="connsiteY3098" fmla="*/ 685361 h 8304597"/>
              <a:gd name="connsiteX3099" fmla="*/ 8440628 w 24377650"/>
              <a:gd name="connsiteY3099" fmla="*/ 685361 h 8304597"/>
              <a:gd name="connsiteX3100" fmla="*/ 8975172 w 24377650"/>
              <a:gd name="connsiteY3100" fmla="*/ 646840 h 8304597"/>
              <a:gd name="connsiteX3101" fmla="*/ 9471188 w 24377650"/>
              <a:gd name="connsiteY3101" fmla="*/ 609923 h 8304597"/>
              <a:gd name="connsiteX3102" fmla="*/ 9471188 w 24377650"/>
              <a:gd name="connsiteY3102" fmla="*/ 685361 h 8304597"/>
              <a:gd name="connsiteX3103" fmla="*/ 9546635 w 24377650"/>
              <a:gd name="connsiteY3103" fmla="*/ 609923 h 8304597"/>
              <a:gd name="connsiteX3104" fmla="*/ 9585161 w 24377650"/>
              <a:gd name="connsiteY3104" fmla="*/ 685361 h 8304597"/>
              <a:gd name="connsiteX3105" fmla="*/ 9699133 w 24377650"/>
              <a:gd name="connsiteY3105" fmla="*/ 646840 h 8304597"/>
              <a:gd name="connsiteX3106" fmla="*/ 9623686 w 24377650"/>
              <a:gd name="connsiteY3106" fmla="*/ 609923 h 8304597"/>
              <a:gd name="connsiteX3107" fmla="*/ 9813104 w 24377650"/>
              <a:gd name="connsiteY3107" fmla="*/ 685361 h 8304597"/>
              <a:gd name="connsiteX3108" fmla="*/ 9890154 w 24377650"/>
              <a:gd name="connsiteY3108" fmla="*/ 609923 h 8304597"/>
              <a:gd name="connsiteX3109" fmla="*/ 10305647 w 24377650"/>
              <a:gd name="connsiteY3109" fmla="*/ 656314 h 8304597"/>
              <a:gd name="connsiteX3110" fmla="*/ 10369487 w 24377650"/>
              <a:gd name="connsiteY3110" fmla="*/ 648650 h 8304597"/>
              <a:gd name="connsiteX3111" fmla="*/ 10370722 w 24377650"/>
              <a:gd name="connsiteY3111" fmla="*/ 651655 h 8304597"/>
              <a:gd name="connsiteX3112" fmla="*/ 10384567 w 24377650"/>
              <a:gd name="connsiteY3112" fmla="*/ 685361 h 8304597"/>
              <a:gd name="connsiteX3113" fmla="*/ 10500143 w 24377650"/>
              <a:gd name="connsiteY3113" fmla="*/ 646840 h 8304597"/>
              <a:gd name="connsiteX3114" fmla="*/ 10575589 w 24377650"/>
              <a:gd name="connsiteY3114" fmla="*/ 646840 h 8304597"/>
              <a:gd name="connsiteX3115" fmla="*/ 10766612 w 24377650"/>
              <a:gd name="connsiteY3115" fmla="*/ 609923 h 8304597"/>
              <a:gd name="connsiteX3116" fmla="*/ 10917504 w 24377650"/>
              <a:gd name="connsiteY3116" fmla="*/ 646840 h 8304597"/>
              <a:gd name="connsiteX3117" fmla="*/ 11031475 w 24377650"/>
              <a:gd name="connsiteY3117" fmla="*/ 609923 h 8304597"/>
              <a:gd name="connsiteX3118" fmla="*/ 10992950 w 24377650"/>
              <a:gd name="connsiteY3118" fmla="*/ 646840 h 8304597"/>
              <a:gd name="connsiteX3119" fmla="*/ 11413521 w 24377650"/>
              <a:gd name="connsiteY3119" fmla="*/ 609923 h 8304597"/>
              <a:gd name="connsiteX3120" fmla="*/ 11679990 w 24377650"/>
              <a:gd name="connsiteY3120" fmla="*/ 609923 h 8304597"/>
              <a:gd name="connsiteX3121" fmla="*/ 11830882 w 24377650"/>
              <a:gd name="connsiteY3121" fmla="*/ 646840 h 8304597"/>
              <a:gd name="connsiteX3122" fmla="*/ 12098956 w 24377650"/>
              <a:gd name="connsiteY3122" fmla="*/ 685361 h 8304597"/>
              <a:gd name="connsiteX3123" fmla="*/ 12708944 w 24377650"/>
              <a:gd name="connsiteY3123" fmla="*/ 646840 h 8304597"/>
              <a:gd name="connsiteX3124" fmla="*/ 12936888 w 24377650"/>
              <a:gd name="connsiteY3124" fmla="*/ 646840 h 8304597"/>
              <a:gd name="connsiteX3125" fmla="*/ 12975414 w 24377650"/>
              <a:gd name="connsiteY3125" fmla="*/ 609923 h 8304597"/>
              <a:gd name="connsiteX3126" fmla="*/ 13127910 w 24377650"/>
              <a:gd name="connsiteY3126" fmla="*/ 609923 h 8304597"/>
              <a:gd name="connsiteX3127" fmla="*/ 13165834 w 24377650"/>
              <a:gd name="connsiteY3127" fmla="*/ 609322 h 8304597"/>
              <a:gd name="connsiteX3128" fmla="*/ 13166408 w 24377650"/>
              <a:gd name="connsiteY3128" fmla="*/ 608875 h 8304597"/>
              <a:gd name="connsiteX3129" fmla="*/ 13166436 w 24377650"/>
              <a:gd name="connsiteY3129" fmla="*/ 609923 h 8304597"/>
              <a:gd name="connsiteX3130" fmla="*/ 13699374 w 24377650"/>
              <a:gd name="connsiteY3130" fmla="*/ 571402 h 8304597"/>
              <a:gd name="connsiteX3131" fmla="*/ 14004368 w 24377650"/>
              <a:gd name="connsiteY3131" fmla="*/ 532881 h 8304597"/>
              <a:gd name="connsiteX3132" fmla="*/ 14079814 w 24377650"/>
              <a:gd name="connsiteY3132" fmla="*/ 571402 h 8304597"/>
              <a:gd name="connsiteX3133" fmla="*/ 14156864 w 24377650"/>
              <a:gd name="connsiteY3133" fmla="*/ 532881 h 8304597"/>
              <a:gd name="connsiteX3134" fmla="*/ 14461860 w 24377650"/>
              <a:gd name="connsiteY3134" fmla="*/ 532881 h 8304597"/>
              <a:gd name="connsiteX3135" fmla="*/ 14652882 w 24377650"/>
              <a:gd name="connsiteY3135" fmla="*/ 494359 h 8304597"/>
              <a:gd name="connsiteX3136" fmla="*/ 15034928 w 24377650"/>
              <a:gd name="connsiteY3136" fmla="*/ 494359 h 8304597"/>
              <a:gd name="connsiteX3137" fmla="*/ 15034928 w 24377650"/>
              <a:gd name="connsiteY3137" fmla="*/ 457443 h 8304597"/>
              <a:gd name="connsiteX3138" fmla="*/ 15529340 w 24377650"/>
              <a:gd name="connsiteY3138" fmla="*/ 418921 h 8304597"/>
              <a:gd name="connsiteX3139" fmla="*/ 15643312 w 24377650"/>
              <a:gd name="connsiteY3139" fmla="*/ 494359 h 8304597"/>
              <a:gd name="connsiteX3140" fmla="*/ 15795808 w 24377650"/>
              <a:gd name="connsiteY3140" fmla="*/ 418921 h 8304597"/>
              <a:gd name="connsiteX3141" fmla="*/ 15948306 w 24377650"/>
              <a:gd name="connsiteY3141" fmla="*/ 457443 h 8304597"/>
              <a:gd name="connsiteX3142" fmla="*/ 16214774 w 24377650"/>
              <a:gd name="connsiteY3142" fmla="*/ 457443 h 8304597"/>
              <a:gd name="connsiteX3143" fmla="*/ 16328746 w 24377650"/>
              <a:gd name="connsiteY3143" fmla="*/ 494359 h 8304597"/>
              <a:gd name="connsiteX3144" fmla="*/ 16481242 w 24377650"/>
              <a:gd name="connsiteY3144" fmla="*/ 457443 h 8304597"/>
              <a:gd name="connsiteX3145" fmla="*/ 16672266 w 24377650"/>
              <a:gd name="connsiteY3145" fmla="*/ 494359 h 8304597"/>
              <a:gd name="connsiteX3146" fmla="*/ 17091232 w 24377650"/>
              <a:gd name="connsiteY3146" fmla="*/ 494359 h 8304597"/>
              <a:gd name="connsiteX3147" fmla="*/ 17129758 w 24377650"/>
              <a:gd name="connsiteY3147" fmla="*/ 532881 h 8304597"/>
              <a:gd name="connsiteX3148" fmla="*/ 17511802 w 24377650"/>
              <a:gd name="connsiteY3148" fmla="*/ 532881 h 8304597"/>
              <a:gd name="connsiteX3149" fmla="*/ 17434752 w 24377650"/>
              <a:gd name="connsiteY3149" fmla="*/ 457443 h 8304597"/>
              <a:gd name="connsiteX3150" fmla="*/ 17892244 w 24377650"/>
              <a:gd name="connsiteY3150" fmla="*/ 494359 h 8304597"/>
              <a:gd name="connsiteX3151" fmla="*/ 17739746 w 24377650"/>
              <a:gd name="connsiteY3151" fmla="*/ 418921 h 8304597"/>
              <a:gd name="connsiteX3152" fmla="*/ 17434752 w 24377650"/>
              <a:gd name="connsiteY3152" fmla="*/ 457443 h 8304597"/>
              <a:gd name="connsiteX3153" fmla="*/ 18349734 w 24377650"/>
              <a:gd name="connsiteY3153" fmla="*/ 304961 h 8304597"/>
              <a:gd name="connsiteX3154" fmla="*/ 17816798 w 24377650"/>
              <a:gd name="connsiteY3154" fmla="*/ 266440 h 8304597"/>
              <a:gd name="connsiteX3155" fmla="*/ 17587248 w 24377650"/>
              <a:gd name="connsiteY3155" fmla="*/ 304961 h 8304597"/>
              <a:gd name="connsiteX3156" fmla="*/ 17548724 w 24377650"/>
              <a:gd name="connsiteY3156" fmla="*/ 227918 h 8304597"/>
              <a:gd name="connsiteX3157" fmla="*/ 17129758 w 24377650"/>
              <a:gd name="connsiteY3157" fmla="*/ 341878 h 8304597"/>
              <a:gd name="connsiteX3158" fmla="*/ 16938734 w 24377650"/>
              <a:gd name="connsiteY3158" fmla="*/ 304961 h 8304597"/>
              <a:gd name="connsiteX3159" fmla="*/ 17015786 w 24377650"/>
              <a:gd name="connsiteY3159" fmla="*/ 304961 h 8304597"/>
              <a:gd name="connsiteX3160" fmla="*/ 16786238 w 24377650"/>
              <a:gd name="connsiteY3160" fmla="*/ 304961 h 8304597"/>
              <a:gd name="connsiteX3161" fmla="*/ 16405796 w 24377650"/>
              <a:gd name="connsiteY3161" fmla="*/ 341878 h 8304597"/>
              <a:gd name="connsiteX3162" fmla="*/ 15948306 w 24377650"/>
              <a:gd name="connsiteY3162" fmla="*/ 341878 h 8304597"/>
              <a:gd name="connsiteX3163" fmla="*/ 15872860 w 24377650"/>
              <a:gd name="connsiteY3163" fmla="*/ 304961 h 8304597"/>
              <a:gd name="connsiteX3164" fmla="*/ 15376842 w 24377650"/>
              <a:gd name="connsiteY3164" fmla="*/ 304961 h 8304597"/>
              <a:gd name="connsiteX3165" fmla="*/ 15795808 w 24377650"/>
              <a:gd name="connsiteY3165" fmla="*/ 227918 h 8304597"/>
              <a:gd name="connsiteX3166" fmla="*/ 15757282 w 24377650"/>
              <a:gd name="connsiteY3166" fmla="*/ 191002 h 8304597"/>
              <a:gd name="connsiteX3167" fmla="*/ 15604786 w 24377650"/>
              <a:gd name="connsiteY3167" fmla="*/ 191002 h 8304597"/>
              <a:gd name="connsiteX3168" fmla="*/ 15376842 w 24377650"/>
              <a:gd name="connsiteY3168" fmla="*/ 227918 h 8304597"/>
              <a:gd name="connsiteX3169" fmla="*/ 15147294 w 24377650"/>
              <a:gd name="connsiteY3169" fmla="*/ 304961 h 8304597"/>
              <a:gd name="connsiteX3170" fmla="*/ 15071848 w 24377650"/>
              <a:gd name="connsiteY3170" fmla="*/ 266440 h 8304597"/>
              <a:gd name="connsiteX3171" fmla="*/ 15909780 w 24377650"/>
              <a:gd name="connsiteY3171" fmla="*/ 152480 h 8304597"/>
              <a:gd name="connsiteX3172" fmla="*/ 16062278 w 24377650"/>
              <a:gd name="connsiteY3172" fmla="*/ 152480 h 8304597"/>
              <a:gd name="connsiteX3173" fmla="*/ 16176248 w 24377650"/>
              <a:gd name="connsiteY3173" fmla="*/ 227918 h 8304597"/>
              <a:gd name="connsiteX3174" fmla="*/ 16253300 w 24377650"/>
              <a:gd name="connsiteY3174" fmla="*/ 152480 h 8304597"/>
              <a:gd name="connsiteX3175" fmla="*/ 16291826 w 24377650"/>
              <a:gd name="connsiteY3175" fmla="*/ 191002 h 8304597"/>
              <a:gd name="connsiteX3176" fmla="*/ 16405796 w 24377650"/>
              <a:gd name="connsiteY3176" fmla="*/ 152480 h 8304597"/>
              <a:gd name="connsiteX3177" fmla="*/ 16444322 w 24377650"/>
              <a:gd name="connsiteY3177" fmla="*/ 152480 h 8304597"/>
              <a:gd name="connsiteX3178" fmla="*/ 17054312 w 24377650"/>
              <a:gd name="connsiteY3178" fmla="*/ 113959 h 8304597"/>
              <a:gd name="connsiteX3179" fmla="*/ 17587248 w 24377650"/>
              <a:gd name="connsiteY3179" fmla="*/ 113959 h 8304597"/>
              <a:gd name="connsiteX3180" fmla="*/ 17853718 w 24377650"/>
              <a:gd name="connsiteY3180" fmla="*/ 113959 h 8304597"/>
              <a:gd name="connsiteX3181" fmla="*/ 17930768 w 24377650"/>
              <a:gd name="connsiteY3181" fmla="*/ 75437 h 8304597"/>
              <a:gd name="connsiteX3182" fmla="*/ 17924748 w 24377650"/>
              <a:gd name="connsiteY3182" fmla="*/ 54095 h 8304597"/>
              <a:gd name="connsiteX3183" fmla="*/ 17924568 w 24377650"/>
              <a:gd name="connsiteY3183" fmla="*/ 53945 h 8304597"/>
              <a:gd name="connsiteX3184" fmla="*/ 17954646 w 24377650"/>
              <a:gd name="connsiteY3184" fmla="*/ 52365 h 8304597"/>
              <a:gd name="connsiteX3185" fmla="*/ 18044740 w 24377650"/>
              <a:gd name="connsiteY3185" fmla="*/ 38521 h 8304597"/>
              <a:gd name="connsiteX3186" fmla="*/ 18618788 w 24377650"/>
              <a:gd name="connsiteY3186" fmla="*/ 38521 h 8304597"/>
              <a:gd name="connsiteX3187" fmla="*/ 18730176 w 24377650"/>
              <a:gd name="connsiteY3187" fmla="*/ 38521 h 8304597"/>
              <a:gd name="connsiteX3188" fmla="*/ 18730176 w 24377650"/>
              <a:gd name="connsiteY3188" fmla="*/ 75437 h 8304597"/>
              <a:gd name="connsiteX3189" fmla="*/ 18768700 w 24377650"/>
              <a:gd name="connsiteY3189" fmla="*/ 75437 h 8304597"/>
              <a:gd name="connsiteX3190" fmla="*/ 18768700 w 24377650"/>
              <a:gd name="connsiteY3190" fmla="*/ 113959 h 8304597"/>
              <a:gd name="connsiteX3191" fmla="*/ 19264718 w 24377650"/>
              <a:gd name="connsiteY3191" fmla="*/ 113959 h 8304597"/>
              <a:gd name="connsiteX3192" fmla="*/ 19226192 w 24377650"/>
              <a:gd name="connsiteY3192" fmla="*/ 75437 h 8304597"/>
              <a:gd name="connsiteX3193" fmla="*/ 19797656 w 24377650"/>
              <a:gd name="connsiteY3193" fmla="*/ 38521 h 8304597"/>
              <a:gd name="connsiteX3194" fmla="*/ 19836180 w 24377650"/>
              <a:gd name="connsiteY3194" fmla="*/ 0 h 830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Lst>
            <a:rect l="l" t="t" r="r" b="b"/>
            <a:pathLst>
              <a:path w="24377650" h="8304597">
                <a:moveTo>
                  <a:pt x="13890396" y="7962719"/>
                </a:moveTo>
                <a:cubicBezTo>
                  <a:pt x="13814950" y="7962719"/>
                  <a:pt x="13851870" y="8039762"/>
                  <a:pt x="13814950" y="8039762"/>
                </a:cubicBezTo>
                <a:cubicBezTo>
                  <a:pt x="13890396" y="8039762"/>
                  <a:pt x="13890396" y="7999635"/>
                  <a:pt x="13890396" y="7962719"/>
                </a:cubicBezTo>
                <a:close/>
                <a:moveTo>
                  <a:pt x="14760458" y="7723063"/>
                </a:moveTo>
                <a:cubicBezTo>
                  <a:pt x="14764546" y="7722060"/>
                  <a:pt x="14766854" y="7724768"/>
                  <a:pt x="14766854" y="7734800"/>
                </a:cubicBezTo>
                <a:lnTo>
                  <a:pt x="14757792" y="7724707"/>
                </a:lnTo>
                <a:close/>
                <a:moveTo>
                  <a:pt x="17359306" y="7657757"/>
                </a:moveTo>
                <a:cubicBezTo>
                  <a:pt x="17282254" y="7657757"/>
                  <a:pt x="17320780" y="7694673"/>
                  <a:pt x="17243728" y="7694673"/>
                </a:cubicBezTo>
                <a:cubicBezTo>
                  <a:pt x="17282254" y="7734800"/>
                  <a:pt x="17359306" y="7694673"/>
                  <a:pt x="17320780" y="7734800"/>
                </a:cubicBezTo>
                <a:cubicBezTo>
                  <a:pt x="17320780" y="7734800"/>
                  <a:pt x="17320780" y="7734800"/>
                  <a:pt x="17396226" y="7734800"/>
                </a:cubicBezTo>
                <a:cubicBezTo>
                  <a:pt x="17396226" y="7694673"/>
                  <a:pt x="17359306" y="7694673"/>
                  <a:pt x="17359306" y="7657757"/>
                </a:cubicBezTo>
                <a:close/>
                <a:moveTo>
                  <a:pt x="13583520" y="7413486"/>
                </a:moveTo>
                <a:cubicBezTo>
                  <a:pt x="13558012" y="7409574"/>
                  <a:pt x="13479455" y="7439067"/>
                  <a:pt x="13508350" y="7466754"/>
                </a:cubicBezTo>
                <a:cubicBezTo>
                  <a:pt x="13546876" y="7429838"/>
                  <a:pt x="13546876" y="7429838"/>
                  <a:pt x="13585402" y="7429838"/>
                </a:cubicBezTo>
                <a:cubicBezTo>
                  <a:pt x="13594632" y="7419806"/>
                  <a:pt x="13592023" y="7414790"/>
                  <a:pt x="13583520" y="7413486"/>
                </a:cubicBezTo>
                <a:close/>
                <a:moveTo>
                  <a:pt x="15834334" y="7389711"/>
                </a:moveTo>
                <a:cubicBezTo>
                  <a:pt x="15872860" y="7389711"/>
                  <a:pt x="15872860" y="7429838"/>
                  <a:pt x="15948306" y="7429838"/>
                </a:cubicBezTo>
                <a:cubicBezTo>
                  <a:pt x="15909780" y="7429838"/>
                  <a:pt x="15872860" y="7429838"/>
                  <a:pt x="15872860" y="7429838"/>
                </a:cubicBezTo>
                <a:cubicBezTo>
                  <a:pt x="15834334" y="7389711"/>
                  <a:pt x="15795808" y="7429838"/>
                  <a:pt x="15757282" y="7429838"/>
                </a:cubicBezTo>
                <a:cubicBezTo>
                  <a:pt x="15795808" y="7389711"/>
                  <a:pt x="15834334" y="7389711"/>
                  <a:pt x="15834334" y="7389711"/>
                </a:cubicBezTo>
                <a:close/>
                <a:moveTo>
                  <a:pt x="18011594" y="7200313"/>
                </a:moveTo>
                <a:lnTo>
                  <a:pt x="18121792" y="7200313"/>
                </a:lnTo>
                <a:cubicBezTo>
                  <a:pt x="18102530" y="7218772"/>
                  <a:pt x="18064404" y="7218772"/>
                  <a:pt x="18031096" y="7209342"/>
                </a:cubicBezTo>
                <a:close/>
                <a:moveTo>
                  <a:pt x="17778272" y="7200313"/>
                </a:moveTo>
                <a:cubicBezTo>
                  <a:pt x="17816798" y="7237230"/>
                  <a:pt x="17816798" y="7200313"/>
                  <a:pt x="17853718" y="7200313"/>
                </a:cubicBezTo>
                <a:cubicBezTo>
                  <a:pt x="17853718" y="7237230"/>
                  <a:pt x="17816798" y="7237230"/>
                  <a:pt x="17816798" y="7237230"/>
                </a:cubicBezTo>
                <a:cubicBezTo>
                  <a:pt x="17778272" y="7237230"/>
                  <a:pt x="17778272" y="7200313"/>
                  <a:pt x="17778272" y="7200313"/>
                </a:cubicBezTo>
                <a:close/>
                <a:moveTo>
                  <a:pt x="18010608" y="7199857"/>
                </a:moveTo>
                <a:lnTo>
                  <a:pt x="18011594" y="7200313"/>
                </a:lnTo>
                <a:lnTo>
                  <a:pt x="18006214" y="7200313"/>
                </a:lnTo>
                <a:close/>
                <a:moveTo>
                  <a:pt x="17282254" y="7161792"/>
                </a:moveTo>
                <a:cubicBezTo>
                  <a:pt x="17282254" y="7161792"/>
                  <a:pt x="17282254" y="7161792"/>
                  <a:pt x="17282254" y="7200313"/>
                </a:cubicBezTo>
                <a:cubicBezTo>
                  <a:pt x="17320780" y="7200313"/>
                  <a:pt x="17359306" y="7161792"/>
                  <a:pt x="17396226" y="7161792"/>
                </a:cubicBezTo>
                <a:cubicBezTo>
                  <a:pt x="17359306" y="7161792"/>
                  <a:pt x="17320780" y="7161792"/>
                  <a:pt x="17282254" y="7161792"/>
                </a:cubicBezTo>
                <a:close/>
                <a:moveTo>
                  <a:pt x="17206808" y="7086354"/>
                </a:moveTo>
                <a:cubicBezTo>
                  <a:pt x="17168282" y="7086354"/>
                  <a:pt x="17129758" y="7086354"/>
                  <a:pt x="17091232" y="7124875"/>
                </a:cubicBezTo>
                <a:cubicBezTo>
                  <a:pt x="17168282" y="7086354"/>
                  <a:pt x="17129758" y="7161792"/>
                  <a:pt x="17206808" y="7161792"/>
                </a:cubicBezTo>
                <a:cubicBezTo>
                  <a:pt x="17206808" y="7124875"/>
                  <a:pt x="17243728" y="7124875"/>
                  <a:pt x="17206808" y="7086354"/>
                </a:cubicBezTo>
                <a:close/>
                <a:moveTo>
                  <a:pt x="10728086" y="7047833"/>
                </a:moveTo>
                <a:cubicBezTo>
                  <a:pt x="10689562" y="7086354"/>
                  <a:pt x="10652641" y="7086354"/>
                  <a:pt x="10652641" y="7086354"/>
                </a:cubicBezTo>
                <a:cubicBezTo>
                  <a:pt x="10689562" y="7124875"/>
                  <a:pt x="10766612" y="7124875"/>
                  <a:pt x="10728086" y="7047833"/>
                </a:cubicBezTo>
                <a:close/>
                <a:moveTo>
                  <a:pt x="21780118" y="6933873"/>
                </a:moveTo>
                <a:cubicBezTo>
                  <a:pt x="21703068" y="6972395"/>
                  <a:pt x="21666148" y="6895351"/>
                  <a:pt x="21666148" y="6972395"/>
                </a:cubicBezTo>
                <a:cubicBezTo>
                  <a:pt x="21741594" y="6972395"/>
                  <a:pt x="21780118" y="7009311"/>
                  <a:pt x="21780118" y="6933873"/>
                </a:cubicBezTo>
                <a:close/>
                <a:moveTo>
                  <a:pt x="18813768" y="6896986"/>
                </a:moveTo>
                <a:lnTo>
                  <a:pt x="18826490" y="6900166"/>
                </a:lnTo>
                <a:lnTo>
                  <a:pt x="18832052" y="6904970"/>
                </a:lnTo>
                <a:lnTo>
                  <a:pt x="18823478" y="6906186"/>
                </a:lnTo>
                <a:close/>
                <a:moveTo>
                  <a:pt x="16749316" y="6895351"/>
                </a:moveTo>
                <a:cubicBezTo>
                  <a:pt x="16749316" y="6933873"/>
                  <a:pt x="16633740" y="6933873"/>
                  <a:pt x="16672266" y="6972395"/>
                </a:cubicBezTo>
                <a:cubicBezTo>
                  <a:pt x="16710792" y="6933873"/>
                  <a:pt x="16824762" y="6933873"/>
                  <a:pt x="16749316" y="6895351"/>
                </a:cubicBezTo>
                <a:close/>
                <a:moveTo>
                  <a:pt x="18807828" y="6884517"/>
                </a:moveTo>
                <a:cubicBezTo>
                  <a:pt x="18808430" y="6885721"/>
                  <a:pt x="18809634" y="6890536"/>
                  <a:pt x="18812042" y="6895351"/>
                </a:cubicBezTo>
                <a:lnTo>
                  <a:pt x="18813768" y="6896986"/>
                </a:lnTo>
                <a:lnTo>
                  <a:pt x="18807226" y="6895351"/>
                </a:lnTo>
                <a:cubicBezTo>
                  <a:pt x="18807226" y="6885721"/>
                  <a:pt x="18807226" y="6883313"/>
                  <a:pt x="18807828" y="6884517"/>
                </a:cubicBezTo>
                <a:close/>
                <a:moveTo>
                  <a:pt x="9548756" y="6874222"/>
                </a:moveTo>
                <a:lnTo>
                  <a:pt x="9570714" y="6876091"/>
                </a:lnTo>
                <a:cubicBezTo>
                  <a:pt x="9594792" y="6876090"/>
                  <a:pt x="9623686" y="6876090"/>
                  <a:pt x="9623686" y="6895351"/>
                </a:cubicBezTo>
                <a:cubicBezTo>
                  <a:pt x="9594792" y="6909797"/>
                  <a:pt x="9576733" y="6902800"/>
                  <a:pt x="9561468" y="6888411"/>
                </a:cubicBezTo>
                <a:close/>
                <a:moveTo>
                  <a:pt x="9543709" y="6868532"/>
                </a:moveTo>
                <a:lnTo>
                  <a:pt x="9546835" y="6872078"/>
                </a:lnTo>
                <a:lnTo>
                  <a:pt x="9548756" y="6874222"/>
                </a:lnTo>
                <a:lnTo>
                  <a:pt x="9542421" y="6873683"/>
                </a:lnTo>
                <a:close/>
                <a:moveTo>
                  <a:pt x="18436784" y="6786879"/>
                </a:moveTo>
                <a:lnTo>
                  <a:pt x="18446938" y="6792452"/>
                </a:lnTo>
                <a:cubicBezTo>
                  <a:pt x="18459694" y="6800352"/>
                  <a:pt x="18452470" y="6799449"/>
                  <a:pt x="18445246" y="6795837"/>
                </a:cubicBezTo>
                <a:close/>
                <a:moveTo>
                  <a:pt x="18998250" y="6742871"/>
                </a:moveTo>
                <a:cubicBezTo>
                  <a:pt x="18998250" y="6781392"/>
                  <a:pt x="19035170" y="6781392"/>
                  <a:pt x="19035170" y="6819913"/>
                </a:cubicBezTo>
                <a:cubicBezTo>
                  <a:pt x="19073694" y="6819913"/>
                  <a:pt x="19073694" y="6856830"/>
                  <a:pt x="19150746" y="6819913"/>
                </a:cubicBezTo>
                <a:cubicBezTo>
                  <a:pt x="19112220" y="6781392"/>
                  <a:pt x="19187666" y="6781392"/>
                  <a:pt x="19226192" y="6781392"/>
                </a:cubicBezTo>
                <a:cubicBezTo>
                  <a:pt x="19187666" y="6704349"/>
                  <a:pt x="19073694" y="6781392"/>
                  <a:pt x="18998250" y="6742871"/>
                </a:cubicBezTo>
                <a:close/>
                <a:moveTo>
                  <a:pt x="9318691" y="6742871"/>
                </a:moveTo>
                <a:cubicBezTo>
                  <a:pt x="9346382" y="6771762"/>
                  <a:pt x="9396646" y="6800653"/>
                  <a:pt x="9451876" y="6797041"/>
                </a:cubicBezTo>
                <a:lnTo>
                  <a:pt x="9474508" y="6790743"/>
                </a:lnTo>
                <a:lnTo>
                  <a:pt x="9476957" y="6797643"/>
                </a:lnTo>
                <a:cubicBezTo>
                  <a:pt x="9487341" y="6803060"/>
                  <a:pt x="9508109" y="6781392"/>
                  <a:pt x="9508109" y="6781392"/>
                </a:cubicBezTo>
                <a:lnTo>
                  <a:pt x="9474508" y="6790743"/>
                </a:lnTo>
                <a:lnTo>
                  <a:pt x="9471188" y="6781392"/>
                </a:lnTo>
                <a:cubicBezTo>
                  <a:pt x="9508109" y="6781392"/>
                  <a:pt x="9585161" y="6781392"/>
                  <a:pt x="9585161" y="6742871"/>
                </a:cubicBezTo>
                <a:cubicBezTo>
                  <a:pt x="9471188" y="6781392"/>
                  <a:pt x="9394138" y="6742871"/>
                  <a:pt x="9318691" y="6742871"/>
                </a:cubicBezTo>
                <a:close/>
                <a:moveTo>
                  <a:pt x="18044740" y="6704349"/>
                </a:moveTo>
                <a:cubicBezTo>
                  <a:pt x="18121792" y="6704349"/>
                  <a:pt x="18083266" y="6742871"/>
                  <a:pt x="18158712" y="6742871"/>
                </a:cubicBezTo>
                <a:cubicBezTo>
                  <a:pt x="18121792" y="6742871"/>
                  <a:pt x="18083266" y="6742871"/>
                  <a:pt x="18044740" y="6704349"/>
                </a:cubicBezTo>
                <a:close/>
                <a:moveTo>
                  <a:pt x="17015786" y="6704349"/>
                </a:moveTo>
                <a:cubicBezTo>
                  <a:pt x="16977260" y="6704349"/>
                  <a:pt x="16977260" y="6742871"/>
                  <a:pt x="16977260" y="6742871"/>
                </a:cubicBezTo>
                <a:cubicBezTo>
                  <a:pt x="17015786" y="6704349"/>
                  <a:pt x="17091232" y="6742871"/>
                  <a:pt x="17091232" y="6704349"/>
                </a:cubicBezTo>
                <a:cubicBezTo>
                  <a:pt x="17091232" y="6704349"/>
                  <a:pt x="17091232" y="6704349"/>
                  <a:pt x="17015786" y="6704349"/>
                </a:cubicBezTo>
                <a:close/>
                <a:moveTo>
                  <a:pt x="16938734" y="6704349"/>
                </a:moveTo>
                <a:cubicBezTo>
                  <a:pt x="16901814" y="6704349"/>
                  <a:pt x="16863288" y="6704349"/>
                  <a:pt x="16863288" y="6742871"/>
                </a:cubicBezTo>
                <a:cubicBezTo>
                  <a:pt x="16901814" y="6704349"/>
                  <a:pt x="16901814" y="6742871"/>
                  <a:pt x="16938734" y="6742871"/>
                </a:cubicBezTo>
                <a:cubicBezTo>
                  <a:pt x="16938734" y="6742871"/>
                  <a:pt x="16938734" y="6742871"/>
                  <a:pt x="16938734" y="6704349"/>
                </a:cubicBezTo>
                <a:close/>
                <a:moveTo>
                  <a:pt x="18034462" y="6693797"/>
                </a:moveTo>
                <a:lnTo>
                  <a:pt x="18030292" y="6700337"/>
                </a:lnTo>
                <a:cubicBezTo>
                  <a:pt x="18025476" y="6714381"/>
                  <a:pt x="18025476" y="6723610"/>
                  <a:pt x="18006214" y="6704349"/>
                </a:cubicBezTo>
                <a:close/>
                <a:moveTo>
                  <a:pt x="17129758" y="6667433"/>
                </a:moveTo>
                <a:cubicBezTo>
                  <a:pt x="17129758" y="6704349"/>
                  <a:pt x="17091232" y="6704349"/>
                  <a:pt x="17091232" y="6742871"/>
                </a:cubicBezTo>
                <a:cubicBezTo>
                  <a:pt x="17168282" y="6742871"/>
                  <a:pt x="17129758" y="6781392"/>
                  <a:pt x="17168282" y="6781392"/>
                </a:cubicBezTo>
                <a:cubicBezTo>
                  <a:pt x="17206808" y="6781392"/>
                  <a:pt x="17243728" y="6742871"/>
                  <a:pt x="17282254" y="6742871"/>
                </a:cubicBezTo>
                <a:cubicBezTo>
                  <a:pt x="17359306" y="6819913"/>
                  <a:pt x="17206808" y="6819913"/>
                  <a:pt x="17282254" y="6856830"/>
                </a:cubicBezTo>
                <a:cubicBezTo>
                  <a:pt x="17129758" y="6895351"/>
                  <a:pt x="17015786" y="6856830"/>
                  <a:pt x="16786238" y="6895351"/>
                </a:cubicBezTo>
                <a:cubicBezTo>
                  <a:pt x="16786238" y="6933873"/>
                  <a:pt x="16824762" y="6895351"/>
                  <a:pt x="16824762" y="6933873"/>
                </a:cubicBezTo>
                <a:cubicBezTo>
                  <a:pt x="16749316" y="6933873"/>
                  <a:pt x="16710792" y="6972395"/>
                  <a:pt x="16710792" y="7009311"/>
                </a:cubicBezTo>
                <a:cubicBezTo>
                  <a:pt x="16786238" y="7047833"/>
                  <a:pt x="16863288" y="7009311"/>
                  <a:pt x="16824762" y="7086354"/>
                </a:cubicBezTo>
                <a:cubicBezTo>
                  <a:pt x="16901814" y="7047833"/>
                  <a:pt x="16901814" y="7086354"/>
                  <a:pt x="16938734" y="7086354"/>
                </a:cubicBezTo>
                <a:cubicBezTo>
                  <a:pt x="16977260" y="7047833"/>
                  <a:pt x="16938734" y="7047833"/>
                  <a:pt x="16901814" y="7047833"/>
                </a:cubicBezTo>
                <a:cubicBezTo>
                  <a:pt x="17054312" y="7047833"/>
                  <a:pt x="17168282" y="6972395"/>
                  <a:pt x="17243728" y="7009311"/>
                </a:cubicBezTo>
                <a:cubicBezTo>
                  <a:pt x="17282254" y="7047833"/>
                  <a:pt x="17243728" y="7047833"/>
                  <a:pt x="17243728" y="7047833"/>
                </a:cubicBezTo>
                <a:cubicBezTo>
                  <a:pt x="17282254" y="7086354"/>
                  <a:pt x="17320780" y="7047833"/>
                  <a:pt x="17359306" y="7047833"/>
                </a:cubicBezTo>
                <a:cubicBezTo>
                  <a:pt x="17320780" y="7047833"/>
                  <a:pt x="17320780" y="7086354"/>
                  <a:pt x="17359306" y="7086354"/>
                </a:cubicBezTo>
                <a:cubicBezTo>
                  <a:pt x="17359306" y="7047833"/>
                  <a:pt x="17359306" y="7047833"/>
                  <a:pt x="17359306" y="7047833"/>
                </a:cubicBezTo>
                <a:cubicBezTo>
                  <a:pt x="17396226" y="7047833"/>
                  <a:pt x="17396226" y="7086354"/>
                  <a:pt x="17473278" y="7086354"/>
                </a:cubicBezTo>
                <a:cubicBezTo>
                  <a:pt x="17396226" y="7009311"/>
                  <a:pt x="17511802" y="7047833"/>
                  <a:pt x="17511802" y="7009311"/>
                </a:cubicBezTo>
                <a:cubicBezTo>
                  <a:pt x="17434752" y="7009311"/>
                  <a:pt x="17396226" y="7009311"/>
                  <a:pt x="17359306" y="7009311"/>
                </a:cubicBezTo>
                <a:cubicBezTo>
                  <a:pt x="17396226" y="7009311"/>
                  <a:pt x="17359306" y="7009311"/>
                  <a:pt x="17359306" y="6972395"/>
                </a:cubicBezTo>
                <a:cubicBezTo>
                  <a:pt x="17396226" y="6972395"/>
                  <a:pt x="17434752" y="6972395"/>
                  <a:pt x="17434752" y="6933873"/>
                </a:cubicBezTo>
                <a:cubicBezTo>
                  <a:pt x="17320780" y="6933873"/>
                  <a:pt x="17320780" y="6895351"/>
                  <a:pt x="17282254" y="6895351"/>
                </a:cubicBezTo>
                <a:cubicBezTo>
                  <a:pt x="17359306" y="6895351"/>
                  <a:pt x="17396226" y="6895351"/>
                  <a:pt x="17434752" y="6856830"/>
                </a:cubicBezTo>
                <a:cubicBezTo>
                  <a:pt x="17434752" y="6856830"/>
                  <a:pt x="17359306" y="6856830"/>
                  <a:pt x="17320780" y="6856830"/>
                </a:cubicBezTo>
                <a:cubicBezTo>
                  <a:pt x="17359306" y="6819913"/>
                  <a:pt x="17396226" y="6819913"/>
                  <a:pt x="17434752" y="6819913"/>
                </a:cubicBezTo>
                <a:cubicBezTo>
                  <a:pt x="17434752" y="6819913"/>
                  <a:pt x="17473278" y="6819913"/>
                  <a:pt x="17473278" y="6781392"/>
                </a:cubicBezTo>
                <a:cubicBezTo>
                  <a:pt x="17473278" y="6742871"/>
                  <a:pt x="17473278" y="6704349"/>
                  <a:pt x="17434752" y="6704349"/>
                </a:cubicBezTo>
                <a:cubicBezTo>
                  <a:pt x="17434752" y="6742871"/>
                  <a:pt x="17396226" y="6742871"/>
                  <a:pt x="17434752" y="6781392"/>
                </a:cubicBezTo>
                <a:lnTo>
                  <a:pt x="17473278" y="6781392"/>
                </a:lnTo>
                <a:cubicBezTo>
                  <a:pt x="17434752" y="6781392"/>
                  <a:pt x="17359306" y="6819913"/>
                  <a:pt x="17359306" y="6781392"/>
                </a:cubicBezTo>
                <a:cubicBezTo>
                  <a:pt x="17396226" y="6742871"/>
                  <a:pt x="17320780" y="6781392"/>
                  <a:pt x="17320780" y="6704349"/>
                </a:cubicBezTo>
                <a:cubicBezTo>
                  <a:pt x="17282254" y="6704349"/>
                  <a:pt x="17168282" y="6704349"/>
                  <a:pt x="17168282" y="6742871"/>
                </a:cubicBezTo>
                <a:cubicBezTo>
                  <a:pt x="17168282" y="6704349"/>
                  <a:pt x="17206808" y="6704349"/>
                  <a:pt x="17168282" y="6704349"/>
                </a:cubicBezTo>
                <a:cubicBezTo>
                  <a:pt x="17091232" y="6704349"/>
                  <a:pt x="17206808" y="6667433"/>
                  <a:pt x="17129758" y="6667433"/>
                </a:cubicBezTo>
                <a:close/>
                <a:moveTo>
                  <a:pt x="19085734" y="6651182"/>
                </a:moveTo>
                <a:cubicBezTo>
                  <a:pt x="19078510" y="6652987"/>
                  <a:pt x="19073694" y="6657802"/>
                  <a:pt x="19073694" y="6667433"/>
                </a:cubicBezTo>
                <a:cubicBezTo>
                  <a:pt x="19073694" y="6667433"/>
                  <a:pt x="19150746" y="6704349"/>
                  <a:pt x="19150746" y="6667433"/>
                </a:cubicBezTo>
                <a:cubicBezTo>
                  <a:pt x="19150746" y="6667433"/>
                  <a:pt x="19107404" y="6645764"/>
                  <a:pt x="19085734" y="6651182"/>
                </a:cubicBezTo>
                <a:close/>
                <a:moveTo>
                  <a:pt x="21475124" y="6628911"/>
                </a:moveTo>
                <a:lnTo>
                  <a:pt x="21490406" y="6630963"/>
                </a:lnTo>
                <a:lnTo>
                  <a:pt x="21475124" y="6632030"/>
                </a:lnTo>
                <a:close/>
                <a:moveTo>
                  <a:pt x="22672674" y="6604740"/>
                </a:moveTo>
                <a:lnTo>
                  <a:pt x="22672830" y="6606064"/>
                </a:lnTo>
                <a:cubicBezTo>
                  <a:pt x="22671024" y="6612058"/>
                  <a:pt x="22666208" y="6619281"/>
                  <a:pt x="22656576" y="6628911"/>
                </a:cubicBezTo>
                <a:cubicBezTo>
                  <a:pt x="22656576" y="6619281"/>
                  <a:pt x="22661292" y="6612058"/>
                  <a:pt x="22668364" y="6606640"/>
                </a:cubicBezTo>
                <a:close/>
                <a:moveTo>
                  <a:pt x="22656576" y="6553473"/>
                </a:moveTo>
                <a:cubicBezTo>
                  <a:pt x="22695102" y="6553473"/>
                  <a:pt x="22732022" y="6590389"/>
                  <a:pt x="22732022" y="6590389"/>
                </a:cubicBezTo>
                <a:cubicBezTo>
                  <a:pt x="22732022" y="6590389"/>
                  <a:pt x="22713160" y="6590389"/>
                  <a:pt x="22694300" y="6595204"/>
                </a:cubicBezTo>
                <a:lnTo>
                  <a:pt x="22672674" y="6604740"/>
                </a:lnTo>
                <a:lnTo>
                  <a:pt x="22671024" y="6590590"/>
                </a:lnTo>
                <a:cubicBezTo>
                  <a:pt x="22666208" y="6581160"/>
                  <a:pt x="22656576" y="6571931"/>
                  <a:pt x="22656576" y="6553473"/>
                </a:cubicBezTo>
                <a:close/>
                <a:moveTo>
                  <a:pt x="6553275" y="6346821"/>
                </a:moveTo>
                <a:cubicBezTo>
                  <a:pt x="6542440" y="6348025"/>
                  <a:pt x="6535217" y="6352841"/>
                  <a:pt x="6535217" y="6362471"/>
                </a:cubicBezTo>
                <a:cubicBezTo>
                  <a:pt x="6612269" y="6362471"/>
                  <a:pt x="6612269" y="6400992"/>
                  <a:pt x="6650794" y="6400992"/>
                </a:cubicBezTo>
                <a:cubicBezTo>
                  <a:pt x="6650794" y="6372101"/>
                  <a:pt x="6585782" y="6343210"/>
                  <a:pt x="6553275" y="6346821"/>
                </a:cubicBezTo>
                <a:close/>
                <a:moveTo>
                  <a:pt x="1503075" y="6304489"/>
                </a:moveTo>
                <a:lnTo>
                  <a:pt x="1505218" y="6304688"/>
                </a:lnTo>
                <a:cubicBezTo>
                  <a:pt x="1524080" y="6304688"/>
                  <a:pt x="1542941" y="6304688"/>
                  <a:pt x="1542941" y="6323949"/>
                </a:cubicBezTo>
                <a:close/>
                <a:moveTo>
                  <a:pt x="1471110" y="6290596"/>
                </a:moveTo>
                <a:lnTo>
                  <a:pt x="1486682" y="6296487"/>
                </a:lnTo>
                <a:lnTo>
                  <a:pt x="1503075" y="6304489"/>
                </a:lnTo>
                <a:lnTo>
                  <a:pt x="1479283" y="6302280"/>
                </a:lnTo>
                <a:close/>
                <a:moveTo>
                  <a:pt x="7793720" y="6285427"/>
                </a:moveTo>
                <a:cubicBezTo>
                  <a:pt x="7755194" y="6285427"/>
                  <a:pt x="7718274" y="6285427"/>
                  <a:pt x="7678144" y="6323949"/>
                </a:cubicBezTo>
                <a:cubicBezTo>
                  <a:pt x="7718274" y="6323949"/>
                  <a:pt x="7830641" y="6323949"/>
                  <a:pt x="7793720" y="6285427"/>
                </a:cubicBezTo>
                <a:close/>
                <a:moveTo>
                  <a:pt x="5353766" y="6285427"/>
                </a:moveTo>
                <a:lnTo>
                  <a:pt x="5392291" y="6323949"/>
                </a:lnTo>
                <a:cubicBezTo>
                  <a:pt x="5392291" y="6323949"/>
                  <a:pt x="5392291" y="6323949"/>
                  <a:pt x="5278320" y="6323949"/>
                </a:cubicBezTo>
                <a:cubicBezTo>
                  <a:pt x="5278320" y="6285427"/>
                  <a:pt x="5353766" y="6323949"/>
                  <a:pt x="5353766" y="6285427"/>
                </a:cubicBezTo>
                <a:close/>
                <a:moveTo>
                  <a:pt x="1467495" y="6285427"/>
                </a:moveTo>
                <a:lnTo>
                  <a:pt x="1471110" y="6290596"/>
                </a:lnTo>
                <a:lnTo>
                  <a:pt x="1468484" y="6289602"/>
                </a:lnTo>
                <a:close/>
                <a:moveTo>
                  <a:pt x="1430883" y="6276051"/>
                </a:moveTo>
                <a:lnTo>
                  <a:pt x="1433584" y="6276399"/>
                </a:lnTo>
                <a:lnTo>
                  <a:pt x="1437251" y="6277786"/>
                </a:lnTo>
                <a:lnTo>
                  <a:pt x="1427364" y="6285427"/>
                </a:lnTo>
                <a:close/>
                <a:moveTo>
                  <a:pt x="6177050" y="6269853"/>
                </a:moveTo>
                <a:cubicBezTo>
                  <a:pt x="6171632" y="6271584"/>
                  <a:pt x="6164408" y="6276198"/>
                  <a:pt x="6154777" y="6285427"/>
                </a:cubicBezTo>
                <a:cubicBezTo>
                  <a:pt x="6154777" y="6323949"/>
                  <a:pt x="6268749" y="6323949"/>
                  <a:pt x="6268749" y="6285427"/>
                </a:cubicBezTo>
                <a:cubicBezTo>
                  <a:pt x="6231828" y="6248511"/>
                  <a:pt x="6231828" y="6285427"/>
                  <a:pt x="6193303" y="6285427"/>
                </a:cubicBezTo>
                <a:cubicBezTo>
                  <a:pt x="6193303" y="6285427"/>
                  <a:pt x="6193303" y="6264662"/>
                  <a:pt x="6177050" y="6269853"/>
                </a:cubicBezTo>
                <a:close/>
                <a:moveTo>
                  <a:pt x="1417065" y="6252275"/>
                </a:moveTo>
                <a:cubicBezTo>
                  <a:pt x="1429399" y="6250802"/>
                  <a:pt x="1436553" y="6253454"/>
                  <a:pt x="1435494" y="6263768"/>
                </a:cubicBezTo>
                <a:lnTo>
                  <a:pt x="1430883" y="6276051"/>
                </a:lnTo>
                <a:lnTo>
                  <a:pt x="1387409" y="6270455"/>
                </a:lnTo>
                <a:cubicBezTo>
                  <a:pt x="1373589" y="6271584"/>
                  <a:pt x="1361549" y="6276198"/>
                  <a:pt x="1351918" y="6285427"/>
                </a:cubicBezTo>
                <a:cubicBezTo>
                  <a:pt x="1351918" y="6314318"/>
                  <a:pt x="1373589" y="6299873"/>
                  <a:pt x="1416930" y="6290844"/>
                </a:cubicBezTo>
                <a:lnTo>
                  <a:pt x="1459665" y="6286266"/>
                </a:lnTo>
                <a:lnTo>
                  <a:pt x="1468484" y="6289602"/>
                </a:lnTo>
                <a:lnTo>
                  <a:pt x="1473129" y="6309202"/>
                </a:lnTo>
                <a:cubicBezTo>
                  <a:pt x="1468674" y="6353442"/>
                  <a:pt x="1351918" y="6323949"/>
                  <a:pt x="1351918" y="6323949"/>
                </a:cubicBezTo>
                <a:cubicBezTo>
                  <a:pt x="1314997" y="6285427"/>
                  <a:pt x="1237947" y="6323949"/>
                  <a:pt x="1162501" y="6323949"/>
                </a:cubicBezTo>
                <a:cubicBezTo>
                  <a:pt x="1199421" y="6285427"/>
                  <a:pt x="1274867" y="6323949"/>
                  <a:pt x="1274867" y="6285427"/>
                </a:cubicBezTo>
                <a:cubicBezTo>
                  <a:pt x="1323024" y="6285427"/>
                  <a:pt x="1386230" y="6255959"/>
                  <a:pt x="1417065" y="6252275"/>
                </a:cubicBezTo>
                <a:close/>
                <a:moveTo>
                  <a:pt x="6726240" y="6248511"/>
                </a:moveTo>
                <a:cubicBezTo>
                  <a:pt x="6726240" y="6285427"/>
                  <a:pt x="6764766" y="6323949"/>
                  <a:pt x="6840212" y="6323949"/>
                </a:cubicBezTo>
                <a:cubicBezTo>
                  <a:pt x="6840212" y="6248511"/>
                  <a:pt x="6764766" y="6285427"/>
                  <a:pt x="6726240" y="6248511"/>
                </a:cubicBezTo>
                <a:close/>
                <a:moveTo>
                  <a:pt x="3486879" y="6238231"/>
                </a:moveTo>
                <a:lnTo>
                  <a:pt x="3493042" y="6245201"/>
                </a:lnTo>
                <a:cubicBezTo>
                  <a:pt x="3493525" y="6247307"/>
                  <a:pt x="3491694" y="6248511"/>
                  <a:pt x="3486879" y="6248511"/>
                </a:cubicBezTo>
                <a:cubicBezTo>
                  <a:pt x="3486879" y="6248511"/>
                  <a:pt x="3486879" y="6248511"/>
                  <a:pt x="3486879" y="6243696"/>
                </a:cubicBezTo>
                <a:close/>
                <a:moveTo>
                  <a:pt x="0" y="6229099"/>
                </a:moveTo>
                <a:lnTo>
                  <a:pt x="17969" y="6248511"/>
                </a:lnTo>
                <a:lnTo>
                  <a:pt x="0" y="6248511"/>
                </a:lnTo>
                <a:close/>
                <a:moveTo>
                  <a:pt x="3448353" y="6209989"/>
                </a:moveTo>
                <a:cubicBezTo>
                  <a:pt x="3486879" y="6209989"/>
                  <a:pt x="3486879" y="6209989"/>
                  <a:pt x="3486879" y="6209989"/>
                </a:cubicBezTo>
                <a:cubicBezTo>
                  <a:pt x="3486879" y="6219619"/>
                  <a:pt x="3486879" y="6226842"/>
                  <a:pt x="3486879" y="6232259"/>
                </a:cubicBezTo>
                <a:lnTo>
                  <a:pt x="3486879" y="6238231"/>
                </a:lnTo>
                <a:lnTo>
                  <a:pt x="3485324" y="6236473"/>
                </a:lnTo>
                <a:lnTo>
                  <a:pt x="3448353" y="6212583"/>
                </a:lnTo>
                <a:close/>
                <a:moveTo>
                  <a:pt x="1085449" y="6209989"/>
                </a:moveTo>
                <a:cubicBezTo>
                  <a:pt x="1122370" y="6248511"/>
                  <a:pt x="1199421" y="6285427"/>
                  <a:pt x="1199421" y="6209989"/>
                </a:cubicBezTo>
                <a:cubicBezTo>
                  <a:pt x="1237947" y="6248511"/>
                  <a:pt x="1237947" y="6248511"/>
                  <a:pt x="1274867" y="6285427"/>
                </a:cubicBezTo>
                <a:cubicBezTo>
                  <a:pt x="1199421" y="6285427"/>
                  <a:pt x="1122370" y="6285427"/>
                  <a:pt x="1085449" y="6209989"/>
                </a:cubicBezTo>
                <a:close/>
                <a:moveTo>
                  <a:pt x="21015048" y="6193738"/>
                </a:moveTo>
                <a:cubicBezTo>
                  <a:pt x="21001580" y="6195544"/>
                  <a:pt x="20989942" y="6200359"/>
                  <a:pt x="20980712" y="6209989"/>
                </a:cubicBezTo>
                <a:cubicBezTo>
                  <a:pt x="21017632" y="6248511"/>
                  <a:pt x="21133210" y="6209989"/>
                  <a:pt x="21170130" y="6209989"/>
                </a:cubicBezTo>
                <a:cubicBezTo>
                  <a:pt x="21112342" y="6209989"/>
                  <a:pt x="21055456" y="6188321"/>
                  <a:pt x="21015048" y="6193738"/>
                </a:cubicBezTo>
                <a:close/>
                <a:moveTo>
                  <a:pt x="3372907" y="6171468"/>
                </a:moveTo>
                <a:cubicBezTo>
                  <a:pt x="3372907" y="6171468"/>
                  <a:pt x="3411032" y="6190729"/>
                  <a:pt x="3444340" y="6209990"/>
                </a:cubicBezTo>
                <a:lnTo>
                  <a:pt x="3448353" y="6212583"/>
                </a:lnTo>
                <a:lnTo>
                  <a:pt x="3448353" y="6214804"/>
                </a:lnTo>
                <a:cubicBezTo>
                  <a:pt x="3448353" y="6219619"/>
                  <a:pt x="3448353" y="6229250"/>
                  <a:pt x="3448353" y="6248511"/>
                </a:cubicBezTo>
                <a:cubicBezTo>
                  <a:pt x="3448353" y="6248511"/>
                  <a:pt x="3448353" y="6248511"/>
                  <a:pt x="3372907" y="6248511"/>
                </a:cubicBezTo>
                <a:cubicBezTo>
                  <a:pt x="3372907" y="6248511"/>
                  <a:pt x="3372907" y="6248511"/>
                  <a:pt x="3372907" y="6216008"/>
                </a:cubicBezTo>
                <a:lnTo>
                  <a:pt x="3372907" y="6209989"/>
                </a:lnTo>
                <a:cubicBezTo>
                  <a:pt x="3391769" y="6200359"/>
                  <a:pt x="3396384" y="6193136"/>
                  <a:pt x="3393901" y="6187117"/>
                </a:cubicBezTo>
                <a:lnTo>
                  <a:pt x="3372907" y="6171904"/>
                </a:lnTo>
                <a:close/>
                <a:moveTo>
                  <a:pt x="21589096" y="6132947"/>
                </a:moveTo>
                <a:cubicBezTo>
                  <a:pt x="21627622" y="6171468"/>
                  <a:pt x="21703068" y="6171468"/>
                  <a:pt x="21627622" y="6248511"/>
                </a:cubicBezTo>
                <a:cubicBezTo>
                  <a:pt x="21627622" y="6248511"/>
                  <a:pt x="21627622" y="6248511"/>
                  <a:pt x="21703068" y="6248511"/>
                </a:cubicBezTo>
                <a:cubicBezTo>
                  <a:pt x="21703068" y="6171468"/>
                  <a:pt x="21666148" y="6171468"/>
                  <a:pt x="21666148" y="6132947"/>
                </a:cubicBezTo>
                <a:cubicBezTo>
                  <a:pt x="21666148" y="6132947"/>
                  <a:pt x="21666148" y="6132947"/>
                  <a:pt x="21589096" y="6132947"/>
                </a:cubicBezTo>
                <a:close/>
                <a:moveTo>
                  <a:pt x="1390444" y="6132947"/>
                </a:moveTo>
                <a:cubicBezTo>
                  <a:pt x="1351918" y="6171468"/>
                  <a:pt x="1467495" y="6209989"/>
                  <a:pt x="1467495" y="6171468"/>
                </a:cubicBezTo>
                <a:cubicBezTo>
                  <a:pt x="1427364" y="6171468"/>
                  <a:pt x="1427364" y="6132947"/>
                  <a:pt x="1390444" y="6132947"/>
                </a:cubicBezTo>
                <a:close/>
                <a:moveTo>
                  <a:pt x="22199084" y="6013147"/>
                </a:moveTo>
                <a:lnTo>
                  <a:pt x="22199084" y="6018987"/>
                </a:lnTo>
                <a:lnTo>
                  <a:pt x="22177452" y="6016426"/>
                </a:lnTo>
                <a:close/>
                <a:moveTo>
                  <a:pt x="22160558" y="5791068"/>
                </a:moveTo>
                <a:cubicBezTo>
                  <a:pt x="22160558" y="5827985"/>
                  <a:pt x="22199084" y="5827985"/>
                  <a:pt x="22237610" y="5827985"/>
                </a:cubicBezTo>
                <a:cubicBezTo>
                  <a:pt x="22237610" y="5827985"/>
                  <a:pt x="22237610" y="5827985"/>
                  <a:pt x="22199084" y="5791068"/>
                </a:cubicBezTo>
                <a:cubicBezTo>
                  <a:pt x="22199084" y="5791068"/>
                  <a:pt x="22199084" y="5791068"/>
                  <a:pt x="22160558" y="5791068"/>
                </a:cubicBezTo>
                <a:close/>
                <a:moveTo>
                  <a:pt x="361489" y="5714025"/>
                </a:moveTo>
                <a:cubicBezTo>
                  <a:pt x="361489" y="5752547"/>
                  <a:pt x="475460" y="5791068"/>
                  <a:pt x="475460" y="5752547"/>
                </a:cubicBezTo>
                <a:cubicBezTo>
                  <a:pt x="400015" y="5752547"/>
                  <a:pt x="436935" y="5752547"/>
                  <a:pt x="361489" y="5714025"/>
                </a:cubicBezTo>
                <a:close/>
                <a:moveTo>
                  <a:pt x="0" y="5559064"/>
                </a:moveTo>
                <a:lnTo>
                  <a:pt x="17969" y="5561544"/>
                </a:lnTo>
                <a:cubicBezTo>
                  <a:pt x="17969" y="5561544"/>
                  <a:pt x="15662" y="5563951"/>
                  <a:pt x="11598" y="5567563"/>
                </a:cubicBezTo>
                <a:lnTo>
                  <a:pt x="0" y="5576647"/>
                </a:lnTo>
                <a:close/>
                <a:moveTo>
                  <a:pt x="23342010" y="5447585"/>
                </a:moveTo>
                <a:cubicBezTo>
                  <a:pt x="23342010" y="5486106"/>
                  <a:pt x="23342010" y="5486106"/>
                  <a:pt x="23380536" y="5486106"/>
                </a:cubicBezTo>
                <a:cubicBezTo>
                  <a:pt x="23419062" y="5486106"/>
                  <a:pt x="23457588" y="5486106"/>
                  <a:pt x="23494508" y="5447585"/>
                </a:cubicBezTo>
                <a:cubicBezTo>
                  <a:pt x="23419062" y="5486106"/>
                  <a:pt x="23419062" y="5447585"/>
                  <a:pt x="23342010" y="5447585"/>
                </a:cubicBezTo>
                <a:close/>
                <a:moveTo>
                  <a:pt x="889611" y="5442569"/>
                </a:moveTo>
                <a:cubicBezTo>
                  <a:pt x="827809" y="5447183"/>
                  <a:pt x="780455" y="5466043"/>
                  <a:pt x="780455" y="5523023"/>
                </a:cubicBezTo>
                <a:cubicBezTo>
                  <a:pt x="818981" y="5523023"/>
                  <a:pt x="894426" y="5523023"/>
                  <a:pt x="1010004" y="5523023"/>
                </a:cubicBezTo>
                <a:cubicBezTo>
                  <a:pt x="1046923" y="5486106"/>
                  <a:pt x="1085449" y="5486106"/>
                  <a:pt x="1085449" y="5447585"/>
                </a:cubicBezTo>
                <a:cubicBezTo>
                  <a:pt x="1027661" y="5447585"/>
                  <a:pt x="951412" y="5437954"/>
                  <a:pt x="889611" y="5442569"/>
                </a:cubicBezTo>
                <a:close/>
                <a:moveTo>
                  <a:pt x="1146147" y="5437352"/>
                </a:moveTo>
                <a:cubicBezTo>
                  <a:pt x="1139927" y="5435547"/>
                  <a:pt x="1132403" y="5437954"/>
                  <a:pt x="1122370" y="5447585"/>
                </a:cubicBezTo>
                <a:cubicBezTo>
                  <a:pt x="1122370" y="5447585"/>
                  <a:pt x="1122370" y="5447585"/>
                  <a:pt x="1122370" y="5486106"/>
                </a:cubicBezTo>
                <a:cubicBezTo>
                  <a:pt x="1162501" y="5486106"/>
                  <a:pt x="1162501" y="5486106"/>
                  <a:pt x="1199421" y="5486106"/>
                </a:cubicBezTo>
                <a:cubicBezTo>
                  <a:pt x="1171731" y="5486106"/>
                  <a:pt x="1164808" y="5442769"/>
                  <a:pt x="1146147" y="5437352"/>
                </a:cubicBezTo>
                <a:close/>
                <a:moveTo>
                  <a:pt x="8975172" y="5409063"/>
                </a:moveTo>
                <a:cubicBezTo>
                  <a:pt x="8938251" y="5409063"/>
                  <a:pt x="8938251" y="5409063"/>
                  <a:pt x="8898120" y="5447585"/>
                </a:cubicBezTo>
                <a:lnTo>
                  <a:pt x="8975172" y="5447585"/>
                </a:lnTo>
                <a:cubicBezTo>
                  <a:pt x="8975172" y="5447585"/>
                  <a:pt x="8975172" y="5447585"/>
                  <a:pt x="8975172" y="5409063"/>
                </a:cubicBezTo>
                <a:close/>
                <a:moveTo>
                  <a:pt x="5087296" y="5409063"/>
                </a:moveTo>
                <a:cubicBezTo>
                  <a:pt x="5011851" y="5409063"/>
                  <a:pt x="5011851" y="5486106"/>
                  <a:pt x="5087296" y="5447585"/>
                </a:cubicBezTo>
                <a:cubicBezTo>
                  <a:pt x="5087296" y="5486106"/>
                  <a:pt x="5164348" y="5486106"/>
                  <a:pt x="5239794" y="5486106"/>
                </a:cubicBezTo>
                <a:cubicBezTo>
                  <a:pt x="5239794" y="5447585"/>
                  <a:pt x="5201268" y="5486106"/>
                  <a:pt x="5239794" y="5447585"/>
                </a:cubicBezTo>
                <a:cubicBezTo>
                  <a:pt x="5164348" y="5447585"/>
                  <a:pt x="5125822" y="5486106"/>
                  <a:pt x="5087296" y="5447585"/>
                </a:cubicBezTo>
                <a:cubicBezTo>
                  <a:pt x="5087296" y="5447585"/>
                  <a:pt x="5087296" y="5447585"/>
                  <a:pt x="5087296" y="5409063"/>
                </a:cubicBezTo>
                <a:close/>
                <a:moveTo>
                  <a:pt x="8098715" y="5370541"/>
                </a:moveTo>
                <a:lnTo>
                  <a:pt x="8060189" y="5409063"/>
                </a:lnTo>
                <a:cubicBezTo>
                  <a:pt x="8098715" y="5409063"/>
                  <a:pt x="8175766" y="5447585"/>
                  <a:pt x="8212686" y="5409063"/>
                </a:cubicBezTo>
                <a:cubicBezTo>
                  <a:pt x="8175766" y="5409063"/>
                  <a:pt x="8135635" y="5370541"/>
                  <a:pt x="8098715" y="5370541"/>
                </a:cubicBezTo>
                <a:close/>
                <a:moveTo>
                  <a:pt x="475460" y="5370541"/>
                </a:moveTo>
                <a:cubicBezTo>
                  <a:pt x="480276" y="5380172"/>
                  <a:pt x="485669" y="5387996"/>
                  <a:pt x="491494" y="5394241"/>
                </a:cubicBezTo>
                <a:lnTo>
                  <a:pt x="509517" y="5407998"/>
                </a:lnTo>
                <a:lnTo>
                  <a:pt x="486296" y="5402467"/>
                </a:lnTo>
                <a:lnTo>
                  <a:pt x="470448" y="5389087"/>
                </a:lnTo>
                <a:close/>
                <a:moveTo>
                  <a:pt x="23289840" y="5342854"/>
                </a:moveTo>
                <a:cubicBezTo>
                  <a:pt x="23266164" y="5342854"/>
                  <a:pt x="23247302" y="5352083"/>
                  <a:pt x="23266564" y="5370541"/>
                </a:cubicBezTo>
                <a:lnTo>
                  <a:pt x="23342010" y="5370541"/>
                </a:lnTo>
                <a:cubicBezTo>
                  <a:pt x="23342010" y="5352083"/>
                  <a:pt x="23313518" y="5342854"/>
                  <a:pt x="23289840" y="5342854"/>
                </a:cubicBezTo>
                <a:close/>
                <a:moveTo>
                  <a:pt x="475460" y="5333625"/>
                </a:moveTo>
                <a:cubicBezTo>
                  <a:pt x="456198" y="5352083"/>
                  <a:pt x="456198" y="5370942"/>
                  <a:pt x="465829" y="5385187"/>
                </a:cubicBezTo>
                <a:lnTo>
                  <a:pt x="470448" y="5389087"/>
                </a:lnTo>
                <a:lnTo>
                  <a:pt x="469441" y="5392812"/>
                </a:lnTo>
                <a:cubicBezTo>
                  <a:pt x="458606" y="5409063"/>
                  <a:pt x="436935" y="5409063"/>
                  <a:pt x="436935" y="5409063"/>
                </a:cubicBezTo>
                <a:cubicBezTo>
                  <a:pt x="400015" y="5447585"/>
                  <a:pt x="475460" y="5333625"/>
                  <a:pt x="361489" y="5370541"/>
                </a:cubicBezTo>
                <a:cubicBezTo>
                  <a:pt x="361489" y="5333625"/>
                  <a:pt x="400015" y="5333625"/>
                  <a:pt x="475460" y="5333625"/>
                </a:cubicBezTo>
                <a:close/>
                <a:moveTo>
                  <a:pt x="23796568" y="5278852"/>
                </a:moveTo>
                <a:cubicBezTo>
                  <a:pt x="23790472" y="5280658"/>
                  <a:pt x="23790272" y="5285473"/>
                  <a:pt x="23799502" y="5295103"/>
                </a:cubicBezTo>
                <a:cubicBezTo>
                  <a:pt x="23799502" y="5333625"/>
                  <a:pt x="23838028" y="5256582"/>
                  <a:pt x="23876554" y="5333625"/>
                </a:cubicBezTo>
                <a:cubicBezTo>
                  <a:pt x="23838028" y="5333625"/>
                  <a:pt x="23799502" y="5370541"/>
                  <a:pt x="23762582" y="5409063"/>
                </a:cubicBezTo>
                <a:cubicBezTo>
                  <a:pt x="23799502" y="5370541"/>
                  <a:pt x="23838028" y="5409063"/>
                  <a:pt x="23876554" y="5409063"/>
                </a:cubicBezTo>
                <a:cubicBezTo>
                  <a:pt x="23876554" y="5370541"/>
                  <a:pt x="23952000" y="5370541"/>
                  <a:pt x="24029050" y="5370541"/>
                </a:cubicBezTo>
                <a:cubicBezTo>
                  <a:pt x="24029050" y="5295103"/>
                  <a:pt x="23915080" y="5333625"/>
                  <a:pt x="23915080" y="5295103"/>
                </a:cubicBezTo>
                <a:cubicBezTo>
                  <a:pt x="23886186" y="5295103"/>
                  <a:pt x="23814852" y="5273435"/>
                  <a:pt x="23796568" y="5278852"/>
                </a:cubicBezTo>
                <a:close/>
                <a:moveTo>
                  <a:pt x="3486879" y="5218061"/>
                </a:moveTo>
                <a:cubicBezTo>
                  <a:pt x="3562324" y="5218061"/>
                  <a:pt x="3486879" y="5256582"/>
                  <a:pt x="3486879" y="5256582"/>
                </a:cubicBezTo>
                <a:cubicBezTo>
                  <a:pt x="3486879" y="5218061"/>
                  <a:pt x="3486879" y="5218061"/>
                  <a:pt x="3486879" y="5218061"/>
                </a:cubicBezTo>
                <a:close/>
                <a:moveTo>
                  <a:pt x="3220410" y="5181144"/>
                </a:moveTo>
                <a:lnTo>
                  <a:pt x="3220881" y="5181205"/>
                </a:lnTo>
                <a:lnTo>
                  <a:pt x="3220526" y="5181311"/>
                </a:lnTo>
                <a:close/>
                <a:moveTo>
                  <a:pt x="3104833" y="5181144"/>
                </a:moveTo>
                <a:cubicBezTo>
                  <a:pt x="3124096" y="5181144"/>
                  <a:pt x="3162220" y="5190373"/>
                  <a:pt x="3190913" y="5190173"/>
                </a:cubicBezTo>
                <a:lnTo>
                  <a:pt x="3220526" y="5181311"/>
                </a:lnTo>
                <a:lnTo>
                  <a:pt x="3231597" y="5197295"/>
                </a:lnTo>
                <a:cubicBezTo>
                  <a:pt x="3251010" y="5204217"/>
                  <a:pt x="3286224" y="5190373"/>
                  <a:pt x="3257330" y="5218061"/>
                </a:cubicBezTo>
                <a:cubicBezTo>
                  <a:pt x="3220410" y="5181144"/>
                  <a:pt x="3181884" y="5218061"/>
                  <a:pt x="3104833" y="5181144"/>
                </a:cubicBezTo>
                <a:close/>
                <a:moveTo>
                  <a:pt x="1996219" y="5113732"/>
                </a:moveTo>
                <a:cubicBezTo>
                  <a:pt x="1963111" y="5113731"/>
                  <a:pt x="1924986" y="5123362"/>
                  <a:pt x="1924986" y="5142623"/>
                </a:cubicBezTo>
                <a:cubicBezTo>
                  <a:pt x="1961907" y="5142623"/>
                  <a:pt x="2000433" y="5142623"/>
                  <a:pt x="2037353" y="5142623"/>
                </a:cubicBezTo>
                <a:cubicBezTo>
                  <a:pt x="2057418" y="5123362"/>
                  <a:pt x="2029326" y="5113731"/>
                  <a:pt x="1996219" y="5113732"/>
                </a:cubicBezTo>
                <a:close/>
                <a:moveTo>
                  <a:pt x="3095879" y="5087850"/>
                </a:moveTo>
                <a:cubicBezTo>
                  <a:pt x="3093396" y="5089655"/>
                  <a:pt x="3095603" y="5094470"/>
                  <a:pt x="3104833" y="5104101"/>
                </a:cubicBezTo>
                <a:cubicBezTo>
                  <a:pt x="3143358" y="5142623"/>
                  <a:pt x="3220410" y="5142623"/>
                  <a:pt x="3181884" y="5104101"/>
                </a:cubicBezTo>
                <a:cubicBezTo>
                  <a:pt x="3152990" y="5104101"/>
                  <a:pt x="3103328" y="5082432"/>
                  <a:pt x="3095879" y="5087850"/>
                </a:cubicBezTo>
                <a:close/>
                <a:moveTo>
                  <a:pt x="2405152" y="5080025"/>
                </a:moveTo>
                <a:cubicBezTo>
                  <a:pt x="2381274" y="5075209"/>
                  <a:pt x="2362413" y="5084840"/>
                  <a:pt x="2382478" y="5104101"/>
                </a:cubicBezTo>
                <a:cubicBezTo>
                  <a:pt x="2419399" y="5104101"/>
                  <a:pt x="2382478" y="5142623"/>
                  <a:pt x="2457924" y="5142623"/>
                </a:cubicBezTo>
                <a:cubicBezTo>
                  <a:pt x="2457924" y="5104101"/>
                  <a:pt x="2429030" y="5084840"/>
                  <a:pt x="2405152" y="5080025"/>
                </a:cubicBezTo>
                <a:close/>
                <a:moveTo>
                  <a:pt x="2839970" y="5065579"/>
                </a:moveTo>
                <a:cubicBezTo>
                  <a:pt x="2799839" y="5065579"/>
                  <a:pt x="2687472" y="5065579"/>
                  <a:pt x="2724392" y="5104101"/>
                </a:cubicBezTo>
                <a:cubicBezTo>
                  <a:pt x="2762918" y="5104101"/>
                  <a:pt x="2876890" y="5142623"/>
                  <a:pt x="2839970" y="5065579"/>
                </a:cubicBezTo>
                <a:close/>
                <a:moveTo>
                  <a:pt x="2610421" y="5065579"/>
                </a:moveTo>
                <a:cubicBezTo>
                  <a:pt x="2571895" y="5104101"/>
                  <a:pt x="2610421" y="5104101"/>
                  <a:pt x="2647342" y="5181144"/>
                </a:cubicBezTo>
                <a:cubicBezTo>
                  <a:pt x="2494844" y="5181144"/>
                  <a:pt x="2494844" y="5142623"/>
                  <a:pt x="2382478" y="5181144"/>
                </a:cubicBezTo>
                <a:cubicBezTo>
                  <a:pt x="2382478" y="5181144"/>
                  <a:pt x="2382478" y="5142623"/>
                  <a:pt x="2342347" y="5142623"/>
                </a:cubicBezTo>
                <a:cubicBezTo>
                  <a:pt x="2305426" y="5181144"/>
                  <a:pt x="2229981" y="5181144"/>
                  <a:pt x="2189850" y="5218061"/>
                </a:cubicBezTo>
                <a:cubicBezTo>
                  <a:pt x="2266901" y="5256582"/>
                  <a:pt x="2305426" y="5295103"/>
                  <a:pt x="2382478" y="5295103"/>
                </a:cubicBezTo>
                <a:cubicBezTo>
                  <a:pt x="2419399" y="5256582"/>
                  <a:pt x="2382478" y="5218061"/>
                  <a:pt x="2382478" y="5218061"/>
                </a:cubicBezTo>
                <a:cubicBezTo>
                  <a:pt x="2419399" y="5218061"/>
                  <a:pt x="2457924" y="5256582"/>
                  <a:pt x="2534975" y="5256582"/>
                </a:cubicBezTo>
                <a:cubicBezTo>
                  <a:pt x="2494844" y="5295103"/>
                  <a:pt x="2494844" y="5256582"/>
                  <a:pt x="2419399" y="5256582"/>
                </a:cubicBezTo>
                <a:cubicBezTo>
                  <a:pt x="2419399" y="5333625"/>
                  <a:pt x="2494844" y="5295103"/>
                  <a:pt x="2610421" y="5295103"/>
                </a:cubicBezTo>
                <a:cubicBezTo>
                  <a:pt x="2610421" y="5218061"/>
                  <a:pt x="2687472" y="5295103"/>
                  <a:pt x="2762918" y="5218061"/>
                </a:cubicBezTo>
                <a:cubicBezTo>
                  <a:pt x="2724392" y="5295103"/>
                  <a:pt x="2876890" y="5256582"/>
                  <a:pt x="2915416" y="5256582"/>
                </a:cubicBezTo>
                <a:cubicBezTo>
                  <a:pt x="2915416" y="5266212"/>
                  <a:pt x="2915416" y="5273435"/>
                  <a:pt x="2914814" y="5278852"/>
                </a:cubicBezTo>
                <a:lnTo>
                  <a:pt x="2910983" y="5289248"/>
                </a:lnTo>
                <a:lnTo>
                  <a:pt x="2876890" y="5295103"/>
                </a:lnTo>
                <a:cubicBezTo>
                  <a:pt x="2896153" y="5295103"/>
                  <a:pt x="2905784" y="5295103"/>
                  <a:pt x="2910600" y="5290288"/>
                </a:cubicBezTo>
                <a:lnTo>
                  <a:pt x="2910983" y="5289248"/>
                </a:lnTo>
                <a:lnTo>
                  <a:pt x="3003051" y="5273435"/>
                </a:lnTo>
                <a:cubicBezTo>
                  <a:pt x="3138643" y="5258990"/>
                  <a:pt x="3295454" y="5266212"/>
                  <a:pt x="3409827" y="5295103"/>
                </a:cubicBezTo>
                <a:cubicBezTo>
                  <a:pt x="3409827" y="5333625"/>
                  <a:pt x="3295856" y="5295103"/>
                  <a:pt x="3257330" y="5333625"/>
                </a:cubicBezTo>
                <a:cubicBezTo>
                  <a:pt x="3029387" y="5295103"/>
                  <a:pt x="2799839" y="5295103"/>
                  <a:pt x="2534975" y="5370541"/>
                </a:cubicBezTo>
                <a:cubicBezTo>
                  <a:pt x="2534975" y="5333625"/>
                  <a:pt x="2534975" y="5333625"/>
                  <a:pt x="2534975" y="5333625"/>
                </a:cubicBezTo>
                <a:cubicBezTo>
                  <a:pt x="2494844" y="5333625"/>
                  <a:pt x="2494844" y="5370541"/>
                  <a:pt x="2457924" y="5370541"/>
                </a:cubicBezTo>
                <a:cubicBezTo>
                  <a:pt x="2382478" y="5370541"/>
                  <a:pt x="2305426" y="5295103"/>
                  <a:pt x="2229981" y="5333625"/>
                </a:cubicBezTo>
                <a:cubicBezTo>
                  <a:pt x="2305426" y="5333625"/>
                  <a:pt x="2494844" y="5370541"/>
                  <a:pt x="2419399" y="5409063"/>
                </a:cubicBezTo>
                <a:cubicBezTo>
                  <a:pt x="2457924" y="5447585"/>
                  <a:pt x="2610421" y="5447585"/>
                  <a:pt x="2687472" y="5409063"/>
                </a:cubicBezTo>
                <a:cubicBezTo>
                  <a:pt x="2724392" y="5447585"/>
                  <a:pt x="2647342" y="5486106"/>
                  <a:pt x="2724392" y="5447585"/>
                </a:cubicBezTo>
                <a:cubicBezTo>
                  <a:pt x="2799839" y="5409063"/>
                  <a:pt x="3029387" y="5447585"/>
                  <a:pt x="3104833" y="5447585"/>
                </a:cubicBezTo>
                <a:cubicBezTo>
                  <a:pt x="3220410" y="5409063"/>
                  <a:pt x="3295856" y="5447585"/>
                  <a:pt x="3334382" y="5486106"/>
                </a:cubicBezTo>
                <a:cubicBezTo>
                  <a:pt x="3372907" y="5486106"/>
                  <a:pt x="3409827" y="5486106"/>
                  <a:pt x="3448353" y="5486106"/>
                </a:cubicBezTo>
                <a:cubicBezTo>
                  <a:pt x="3448353" y="5486106"/>
                  <a:pt x="3448353" y="5486106"/>
                  <a:pt x="3486879" y="5486106"/>
                </a:cubicBezTo>
                <a:cubicBezTo>
                  <a:pt x="3486879" y="5486106"/>
                  <a:pt x="3486879" y="5486106"/>
                  <a:pt x="3486879" y="5523023"/>
                </a:cubicBezTo>
                <a:cubicBezTo>
                  <a:pt x="3486879" y="5523023"/>
                  <a:pt x="3525405" y="5486106"/>
                  <a:pt x="3562324" y="5486106"/>
                </a:cubicBezTo>
                <a:cubicBezTo>
                  <a:pt x="3639376" y="5486106"/>
                  <a:pt x="3753348" y="5523023"/>
                  <a:pt x="3828793" y="5523023"/>
                </a:cubicBezTo>
                <a:cubicBezTo>
                  <a:pt x="3867319" y="5486106"/>
                  <a:pt x="3828793" y="5486106"/>
                  <a:pt x="3905845" y="5486106"/>
                </a:cubicBezTo>
                <a:cubicBezTo>
                  <a:pt x="3981290" y="5523023"/>
                  <a:pt x="4210839" y="5523023"/>
                  <a:pt x="4210839" y="5447585"/>
                </a:cubicBezTo>
                <a:cubicBezTo>
                  <a:pt x="4249365" y="5486106"/>
                  <a:pt x="4286285" y="5486106"/>
                  <a:pt x="4324811" y="5523023"/>
                </a:cubicBezTo>
                <a:cubicBezTo>
                  <a:pt x="4477308" y="5447585"/>
                  <a:pt x="4515834" y="5447585"/>
                  <a:pt x="4666726" y="5447585"/>
                </a:cubicBezTo>
                <a:cubicBezTo>
                  <a:pt x="4591280" y="5333625"/>
                  <a:pt x="4973325" y="5409063"/>
                  <a:pt x="5048771" y="5333625"/>
                </a:cubicBezTo>
                <a:cubicBezTo>
                  <a:pt x="5087296" y="5370541"/>
                  <a:pt x="5125822" y="5370541"/>
                  <a:pt x="5125822" y="5333625"/>
                </a:cubicBezTo>
                <a:cubicBezTo>
                  <a:pt x="5164348" y="5370541"/>
                  <a:pt x="5164348" y="5370541"/>
                  <a:pt x="5164348" y="5370541"/>
                </a:cubicBezTo>
                <a:cubicBezTo>
                  <a:pt x="5278320" y="5370541"/>
                  <a:pt x="5353766" y="5409063"/>
                  <a:pt x="5430817" y="5370541"/>
                </a:cubicBezTo>
                <a:cubicBezTo>
                  <a:pt x="5392291" y="5370541"/>
                  <a:pt x="5353766" y="5370541"/>
                  <a:pt x="5353766" y="5333625"/>
                </a:cubicBezTo>
                <a:cubicBezTo>
                  <a:pt x="5392291" y="5333625"/>
                  <a:pt x="5469342" y="5333625"/>
                  <a:pt x="5469342" y="5333625"/>
                </a:cubicBezTo>
                <a:cubicBezTo>
                  <a:pt x="5469342" y="5333625"/>
                  <a:pt x="5506262" y="5333625"/>
                  <a:pt x="5544788" y="5295103"/>
                </a:cubicBezTo>
                <a:cubicBezTo>
                  <a:pt x="5430817" y="5295103"/>
                  <a:pt x="5316845" y="5256582"/>
                  <a:pt x="5239794" y="5295103"/>
                </a:cubicBezTo>
                <a:cubicBezTo>
                  <a:pt x="5164348" y="5256582"/>
                  <a:pt x="4973325" y="5295103"/>
                  <a:pt x="4934800" y="5333625"/>
                </a:cubicBezTo>
                <a:cubicBezTo>
                  <a:pt x="4934800" y="5333625"/>
                  <a:pt x="4896274" y="5333625"/>
                  <a:pt x="4896274" y="5295103"/>
                </a:cubicBezTo>
                <a:cubicBezTo>
                  <a:pt x="4934800" y="5333625"/>
                  <a:pt x="4973325" y="5333625"/>
                  <a:pt x="4934800" y="5295103"/>
                </a:cubicBezTo>
                <a:cubicBezTo>
                  <a:pt x="4820828" y="5218061"/>
                  <a:pt x="4477308" y="5333625"/>
                  <a:pt x="4401862" y="5256582"/>
                </a:cubicBezTo>
                <a:cubicBezTo>
                  <a:pt x="4324811" y="5256582"/>
                  <a:pt x="4324811" y="5256582"/>
                  <a:pt x="4286285" y="5295103"/>
                </a:cubicBezTo>
                <a:cubicBezTo>
                  <a:pt x="4286285" y="5218061"/>
                  <a:pt x="4133788" y="5218061"/>
                  <a:pt x="4133788" y="5256582"/>
                </a:cubicBezTo>
                <a:cubicBezTo>
                  <a:pt x="3944371" y="5218061"/>
                  <a:pt x="3753348" y="5295103"/>
                  <a:pt x="3600851" y="5218061"/>
                </a:cubicBezTo>
                <a:cubicBezTo>
                  <a:pt x="3562324" y="5218061"/>
                  <a:pt x="3600851" y="5295103"/>
                  <a:pt x="3525405" y="5256582"/>
                </a:cubicBezTo>
                <a:lnTo>
                  <a:pt x="3525405" y="5218061"/>
                </a:lnTo>
                <a:cubicBezTo>
                  <a:pt x="3525405" y="5218061"/>
                  <a:pt x="3525405" y="5218061"/>
                  <a:pt x="3486879" y="5218061"/>
                </a:cubicBezTo>
                <a:cubicBezTo>
                  <a:pt x="3448353" y="5218061"/>
                  <a:pt x="3448353" y="5218061"/>
                  <a:pt x="3409827" y="5181144"/>
                </a:cubicBezTo>
                <a:cubicBezTo>
                  <a:pt x="3372907" y="5218061"/>
                  <a:pt x="3448353" y="5256582"/>
                  <a:pt x="3409827" y="5256582"/>
                </a:cubicBezTo>
                <a:cubicBezTo>
                  <a:pt x="3372907" y="5218061"/>
                  <a:pt x="3334382" y="5295103"/>
                  <a:pt x="3334382" y="5256582"/>
                </a:cubicBezTo>
                <a:cubicBezTo>
                  <a:pt x="3334382" y="5218061"/>
                  <a:pt x="3409827" y="5256582"/>
                  <a:pt x="3372907" y="5218061"/>
                </a:cubicBezTo>
                <a:cubicBezTo>
                  <a:pt x="3315118" y="5218061"/>
                  <a:pt x="3300671" y="5197295"/>
                  <a:pt x="3265231" y="5186912"/>
                </a:cubicBezTo>
                <a:lnTo>
                  <a:pt x="3220881" y="5181205"/>
                </a:lnTo>
                <a:lnTo>
                  <a:pt x="3223344" y="5180467"/>
                </a:lnTo>
                <a:cubicBezTo>
                  <a:pt x="3229439" y="5173320"/>
                  <a:pt x="3229640" y="5161483"/>
                  <a:pt x="3220410" y="5142623"/>
                </a:cubicBezTo>
                <a:cubicBezTo>
                  <a:pt x="3143358" y="5181144"/>
                  <a:pt x="3143358" y="5181144"/>
                  <a:pt x="3104833" y="5142623"/>
                </a:cubicBezTo>
                <a:cubicBezTo>
                  <a:pt x="3104833" y="5218061"/>
                  <a:pt x="3029387" y="5181144"/>
                  <a:pt x="2952336" y="5181144"/>
                </a:cubicBezTo>
                <a:cubicBezTo>
                  <a:pt x="2952336" y="5181144"/>
                  <a:pt x="2952336" y="5218061"/>
                  <a:pt x="2990861" y="5218061"/>
                </a:cubicBezTo>
                <a:cubicBezTo>
                  <a:pt x="2952336" y="5218061"/>
                  <a:pt x="2915416" y="5218061"/>
                  <a:pt x="2915416" y="5218061"/>
                </a:cubicBezTo>
                <a:cubicBezTo>
                  <a:pt x="3029387" y="5181144"/>
                  <a:pt x="2762918" y="5181144"/>
                  <a:pt x="2839970" y="5142623"/>
                </a:cubicBezTo>
                <a:cubicBezTo>
                  <a:pt x="2839970" y="5181144"/>
                  <a:pt x="2915416" y="5181144"/>
                  <a:pt x="2915416" y="5142623"/>
                </a:cubicBezTo>
                <a:cubicBezTo>
                  <a:pt x="2799839" y="5104101"/>
                  <a:pt x="2762918" y="5218061"/>
                  <a:pt x="2647342" y="5181144"/>
                </a:cubicBezTo>
                <a:cubicBezTo>
                  <a:pt x="2687472" y="5142623"/>
                  <a:pt x="2647342" y="5142623"/>
                  <a:pt x="2647342" y="5142623"/>
                </a:cubicBezTo>
                <a:cubicBezTo>
                  <a:pt x="2724392" y="5142623"/>
                  <a:pt x="2724392" y="5181144"/>
                  <a:pt x="2762918" y="5142623"/>
                </a:cubicBezTo>
                <a:cubicBezTo>
                  <a:pt x="2687472" y="5104101"/>
                  <a:pt x="2724392" y="5104101"/>
                  <a:pt x="2610421" y="5065579"/>
                </a:cubicBezTo>
                <a:close/>
                <a:moveTo>
                  <a:pt x="1924986" y="5065579"/>
                </a:moveTo>
                <a:cubicBezTo>
                  <a:pt x="1847935" y="5104101"/>
                  <a:pt x="1772489" y="5104101"/>
                  <a:pt x="1772489" y="5104101"/>
                </a:cubicBezTo>
                <a:cubicBezTo>
                  <a:pt x="1809410" y="5104101"/>
                  <a:pt x="1924986" y="5142623"/>
                  <a:pt x="1924986" y="5065579"/>
                </a:cubicBezTo>
                <a:close/>
                <a:moveTo>
                  <a:pt x="2445386" y="5032427"/>
                </a:moveTo>
                <a:cubicBezTo>
                  <a:pt x="2430008" y="5030217"/>
                  <a:pt x="2419399" y="5037290"/>
                  <a:pt x="2419399" y="5065579"/>
                </a:cubicBezTo>
                <a:cubicBezTo>
                  <a:pt x="2475983" y="5065579"/>
                  <a:pt x="2469361" y="5087248"/>
                  <a:pt x="2495020" y="5098082"/>
                </a:cubicBezTo>
                <a:lnTo>
                  <a:pt x="2518860" y="5101673"/>
                </a:lnTo>
                <a:lnTo>
                  <a:pt x="2518045" y="5103499"/>
                </a:lnTo>
                <a:cubicBezTo>
                  <a:pt x="2519926" y="5104101"/>
                  <a:pt x="2524942" y="5104101"/>
                  <a:pt x="2534975" y="5104101"/>
                </a:cubicBezTo>
                <a:lnTo>
                  <a:pt x="2518860" y="5101673"/>
                </a:lnTo>
                <a:lnTo>
                  <a:pt x="2519926" y="5099286"/>
                </a:lnTo>
                <a:cubicBezTo>
                  <a:pt x="2524942" y="5094470"/>
                  <a:pt x="2534975" y="5084840"/>
                  <a:pt x="2534975" y="5065579"/>
                </a:cubicBezTo>
                <a:cubicBezTo>
                  <a:pt x="2509893" y="5065579"/>
                  <a:pt x="2471017" y="5036111"/>
                  <a:pt x="2445386" y="5032427"/>
                </a:cubicBezTo>
                <a:close/>
                <a:moveTo>
                  <a:pt x="2382478" y="5028663"/>
                </a:moveTo>
                <a:cubicBezTo>
                  <a:pt x="2342347" y="5065579"/>
                  <a:pt x="2305426" y="5065579"/>
                  <a:pt x="2266901" y="5065579"/>
                </a:cubicBezTo>
                <a:cubicBezTo>
                  <a:pt x="2305426" y="5104101"/>
                  <a:pt x="2382478" y="5065579"/>
                  <a:pt x="2382478" y="5028663"/>
                </a:cubicBezTo>
                <a:close/>
                <a:moveTo>
                  <a:pt x="1199421" y="4990141"/>
                </a:moveTo>
                <a:cubicBezTo>
                  <a:pt x="1162501" y="5028663"/>
                  <a:pt x="1162501" y="5028663"/>
                  <a:pt x="1162501" y="5065579"/>
                </a:cubicBezTo>
                <a:cubicBezTo>
                  <a:pt x="1274867" y="5065579"/>
                  <a:pt x="1314997" y="4990141"/>
                  <a:pt x="1199421" y="4990141"/>
                </a:cubicBezTo>
                <a:close/>
                <a:moveTo>
                  <a:pt x="1229636" y="4892919"/>
                </a:moveTo>
                <a:lnTo>
                  <a:pt x="1228516" y="4894641"/>
                </a:lnTo>
                <a:cubicBezTo>
                  <a:pt x="1223800" y="4899255"/>
                  <a:pt x="1216727" y="4903870"/>
                  <a:pt x="1206118" y="4907331"/>
                </a:cubicBezTo>
                <a:lnTo>
                  <a:pt x="1202128" y="4907858"/>
                </a:lnTo>
                <a:lnTo>
                  <a:pt x="1203083" y="4906804"/>
                </a:lnTo>
                <a:close/>
                <a:moveTo>
                  <a:pt x="1924986" y="4799139"/>
                </a:moveTo>
                <a:cubicBezTo>
                  <a:pt x="1847935" y="4799139"/>
                  <a:pt x="1847935" y="4876182"/>
                  <a:pt x="1924986" y="4876182"/>
                </a:cubicBezTo>
                <a:cubicBezTo>
                  <a:pt x="1961907" y="4876182"/>
                  <a:pt x="1884855" y="4837661"/>
                  <a:pt x="1924986" y="4799139"/>
                </a:cubicBezTo>
                <a:close/>
                <a:moveTo>
                  <a:pt x="1390444" y="4799139"/>
                </a:moveTo>
                <a:lnTo>
                  <a:pt x="1392627" y="4800068"/>
                </a:lnTo>
                <a:lnTo>
                  <a:pt x="1386280" y="4802197"/>
                </a:lnTo>
                <a:close/>
                <a:moveTo>
                  <a:pt x="1427364" y="4760617"/>
                </a:moveTo>
                <a:cubicBezTo>
                  <a:pt x="1467495" y="4799139"/>
                  <a:pt x="1542941" y="4799139"/>
                  <a:pt x="1542941" y="4799139"/>
                </a:cubicBezTo>
                <a:cubicBezTo>
                  <a:pt x="1514047" y="4828031"/>
                  <a:pt x="1486055" y="4835253"/>
                  <a:pt x="1441360" y="4820808"/>
                </a:cubicBezTo>
                <a:lnTo>
                  <a:pt x="1392627" y="4800068"/>
                </a:lnTo>
                <a:lnTo>
                  <a:pt x="1393604" y="4799741"/>
                </a:lnTo>
                <a:cubicBezTo>
                  <a:pt x="1406496" y="4791916"/>
                  <a:pt x="1418134" y="4779878"/>
                  <a:pt x="1427364" y="4760617"/>
                </a:cubicBezTo>
                <a:close/>
                <a:moveTo>
                  <a:pt x="1864966" y="4750460"/>
                </a:moveTo>
                <a:cubicBezTo>
                  <a:pt x="1780315" y="4754298"/>
                  <a:pt x="1637650" y="4789509"/>
                  <a:pt x="1579861" y="4760617"/>
                </a:cubicBezTo>
                <a:cubicBezTo>
                  <a:pt x="1579861" y="4779878"/>
                  <a:pt x="1589894" y="4789509"/>
                  <a:pt x="1594910" y="4794324"/>
                </a:cubicBezTo>
                <a:lnTo>
                  <a:pt x="1595503" y="4795652"/>
                </a:lnTo>
                <a:lnTo>
                  <a:pt x="1579861" y="4799139"/>
                </a:lnTo>
                <a:cubicBezTo>
                  <a:pt x="1589894" y="4799139"/>
                  <a:pt x="1594910" y="4799139"/>
                  <a:pt x="1596791" y="4798537"/>
                </a:cubicBezTo>
                <a:lnTo>
                  <a:pt x="1595503" y="4795652"/>
                </a:lnTo>
                <a:lnTo>
                  <a:pt x="1655458" y="4782286"/>
                </a:lnTo>
                <a:cubicBezTo>
                  <a:pt x="1745301" y="4775063"/>
                  <a:pt x="1867198" y="4789509"/>
                  <a:pt x="1924986" y="4760617"/>
                </a:cubicBezTo>
                <a:cubicBezTo>
                  <a:pt x="1914954" y="4751388"/>
                  <a:pt x="1893183" y="4749181"/>
                  <a:pt x="1864966" y="4750460"/>
                </a:cubicBezTo>
                <a:close/>
                <a:moveTo>
                  <a:pt x="1130316" y="4687298"/>
                </a:moveTo>
                <a:lnTo>
                  <a:pt x="1140428" y="4689994"/>
                </a:lnTo>
                <a:lnTo>
                  <a:pt x="1162296" y="4692645"/>
                </a:lnTo>
                <a:lnTo>
                  <a:pt x="1161873" y="4708026"/>
                </a:lnTo>
                <a:cubicBezTo>
                  <a:pt x="1159993" y="4726008"/>
                  <a:pt x="1152468" y="4732930"/>
                  <a:pt x="1122370" y="4760617"/>
                </a:cubicBezTo>
                <a:lnTo>
                  <a:pt x="1122370" y="4799139"/>
                </a:lnTo>
                <a:cubicBezTo>
                  <a:pt x="1010004" y="4760617"/>
                  <a:pt x="894426" y="4760617"/>
                  <a:pt x="818981" y="4837661"/>
                </a:cubicBezTo>
                <a:cubicBezTo>
                  <a:pt x="741929" y="4837661"/>
                  <a:pt x="932952" y="4760617"/>
                  <a:pt x="780455" y="4760617"/>
                </a:cubicBezTo>
                <a:cubicBezTo>
                  <a:pt x="857506" y="4723701"/>
                  <a:pt x="969873" y="4723701"/>
                  <a:pt x="1122370" y="4723701"/>
                </a:cubicBezTo>
                <a:cubicBezTo>
                  <a:pt x="1103909" y="4704440"/>
                  <a:pt x="1113942" y="4694810"/>
                  <a:pt x="1123574" y="4689994"/>
                </a:cubicBezTo>
                <a:close/>
                <a:moveTo>
                  <a:pt x="2152929" y="4685179"/>
                </a:moveTo>
                <a:cubicBezTo>
                  <a:pt x="2114404" y="4723701"/>
                  <a:pt x="2037353" y="4685179"/>
                  <a:pt x="2077483" y="4723701"/>
                </a:cubicBezTo>
                <a:cubicBezTo>
                  <a:pt x="2114404" y="4760617"/>
                  <a:pt x="2152929" y="4723701"/>
                  <a:pt x="2152929" y="4685179"/>
                </a:cubicBezTo>
                <a:close/>
                <a:moveTo>
                  <a:pt x="1314997" y="4685179"/>
                </a:moveTo>
                <a:cubicBezTo>
                  <a:pt x="1314997" y="4723701"/>
                  <a:pt x="1237947" y="4760617"/>
                  <a:pt x="1162501" y="4799139"/>
                </a:cubicBezTo>
                <a:cubicBezTo>
                  <a:pt x="1237947" y="4799139"/>
                  <a:pt x="1237947" y="4837661"/>
                  <a:pt x="1274867" y="4837661"/>
                </a:cubicBezTo>
                <a:cubicBezTo>
                  <a:pt x="1294932" y="4818400"/>
                  <a:pt x="1323826" y="4818400"/>
                  <a:pt x="1352319" y="4813585"/>
                </a:cubicBezTo>
                <a:lnTo>
                  <a:pt x="1386280" y="4802197"/>
                </a:lnTo>
                <a:lnTo>
                  <a:pt x="1328191" y="4844858"/>
                </a:lnTo>
                <a:cubicBezTo>
                  <a:pt x="1306169" y="4856871"/>
                  <a:pt x="1283495" y="4866451"/>
                  <a:pt x="1262025" y="4875981"/>
                </a:cubicBezTo>
                <a:lnTo>
                  <a:pt x="1229636" y="4892919"/>
                </a:lnTo>
                <a:lnTo>
                  <a:pt x="1236768" y="4881950"/>
                </a:lnTo>
                <a:cubicBezTo>
                  <a:pt x="1237947" y="4878489"/>
                  <a:pt x="1237947" y="4876182"/>
                  <a:pt x="1237947" y="4876182"/>
                </a:cubicBezTo>
                <a:cubicBezTo>
                  <a:pt x="1162501" y="4876182"/>
                  <a:pt x="1085449" y="4837661"/>
                  <a:pt x="1046923" y="4837661"/>
                </a:cubicBezTo>
                <a:cubicBezTo>
                  <a:pt x="1085449" y="4799139"/>
                  <a:pt x="1199421" y="4799139"/>
                  <a:pt x="1122370" y="4760617"/>
                </a:cubicBezTo>
                <a:cubicBezTo>
                  <a:pt x="1180158" y="4760617"/>
                  <a:pt x="1218282" y="4751388"/>
                  <a:pt x="1246976" y="4737344"/>
                </a:cubicBezTo>
                <a:lnTo>
                  <a:pt x="1266289" y="4722533"/>
                </a:lnTo>
                <a:lnTo>
                  <a:pt x="1274867" y="4723701"/>
                </a:lnTo>
                <a:lnTo>
                  <a:pt x="1271720" y="4718367"/>
                </a:lnTo>
                <a:close/>
                <a:moveTo>
                  <a:pt x="1162501" y="4685179"/>
                </a:moveTo>
                <a:cubicBezTo>
                  <a:pt x="1171731" y="4685179"/>
                  <a:pt x="1178653" y="4687587"/>
                  <a:pt x="1185024" y="4691198"/>
                </a:cubicBezTo>
                <a:lnTo>
                  <a:pt x="1187634" y="4692997"/>
                </a:lnTo>
                <a:lnTo>
                  <a:pt x="1180158" y="4694809"/>
                </a:lnTo>
                <a:lnTo>
                  <a:pt x="1162296" y="4692645"/>
                </a:lnTo>
                <a:close/>
                <a:moveTo>
                  <a:pt x="1122370" y="4685179"/>
                </a:moveTo>
                <a:cubicBezTo>
                  <a:pt x="1132403" y="4685179"/>
                  <a:pt x="1135111" y="4685179"/>
                  <a:pt x="1134108" y="4685781"/>
                </a:cubicBezTo>
                <a:lnTo>
                  <a:pt x="1130316" y="4687298"/>
                </a:lnTo>
                <a:close/>
                <a:moveTo>
                  <a:pt x="2313578" y="4631083"/>
                </a:moveTo>
                <a:cubicBezTo>
                  <a:pt x="2293287" y="4632813"/>
                  <a:pt x="2276533" y="4637428"/>
                  <a:pt x="2266901" y="4646657"/>
                </a:cubicBezTo>
                <a:cubicBezTo>
                  <a:pt x="2342347" y="4646657"/>
                  <a:pt x="2382478" y="4685179"/>
                  <a:pt x="2494844" y="4646657"/>
                </a:cubicBezTo>
                <a:cubicBezTo>
                  <a:pt x="2467154" y="4646657"/>
                  <a:pt x="2374452" y="4625892"/>
                  <a:pt x="2313578" y="4631083"/>
                </a:cubicBezTo>
                <a:close/>
                <a:moveTo>
                  <a:pt x="2000433" y="4609741"/>
                </a:moveTo>
                <a:cubicBezTo>
                  <a:pt x="1809410" y="4685179"/>
                  <a:pt x="1579861" y="4571219"/>
                  <a:pt x="1427364" y="4646657"/>
                </a:cubicBezTo>
                <a:cubicBezTo>
                  <a:pt x="1542941" y="4609741"/>
                  <a:pt x="1504415" y="4723701"/>
                  <a:pt x="1579861" y="4685179"/>
                </a:cubicBezTo>
                <a:cubicBezTo>
                  <a:pt x="1619992" y="4685179"/>
                  <a:pt x="1542941" y="4685179"/>
                  <a:pt x="1542941" y="4646657"/>
                </a:cubicBezTo>
                <a:cubicBezTo>
                  <a:pt x="1579861" y="4646657"/>
                  <a:pt x="1579861" y="4646657"/>
                  <a:pt x="1579861" y="4646657"/>
                </a:cubicBezTo>
                <a:cubicBezTo>
                  <a:pt x="1619992" y="4723701"/>
                  <a:pt x="1772489" y="4609741"/>
                  <a:pt x="1809410" y="4723701"/>
                </a:cubicBezTo>
                <a:cubicBezTo>
                  <a:pt x="1884855" y="4723701"/>
                  <a:pt x="1884855" y="4685179"/>
                  <a:pt x="1924986" y="4646657"/>
                </a:cubicBezTo>
                <a:cubicBezTo>
                  <a:pt x="1961907" y="4685179"/>
                  <a:pt x="1961907" y="4685179"/>
                  <a:pt x="2000433" y="4685179"/>
                </a:cubicBezTo>
                <a:cubicBezTo>
                  <a:pt x="1961907" y="4646657"/>
                  <a:pt x="2000433" y="4646657"/>
                  <a:pt x="2037353" y="4609741"/>
                </a:cubicBezTo>
                <a:close/>
                <a:moveTo>
                  <a:pt x="24181548" y="4532698"/>
                </a:moveTo>
                <a:cubicBezTo>
                  <a:pt x="24143022" y="4532698"/>
                  <a:pt x="24104496" y="4571219"/>
                  <a:pt x="24104496" y="4609741"/>
                </a:cubicBezTo>
                <a:cubicBezTo>
                  <a:pt x="24104496" y="4609741"/>
                  <a:pt x="24181548" y="4609741"/>
                  <a:pt x="24181548" y="4646657"/>
                </a:cubicBezTo>
                <a:cubicBezTo>
                  <a:pt x="24143022" y="4646657"/>
                  <a:pt x="24067576" y="4609741"/>
                  <a:pt x="24067576" y="4685179"/>
                </a:cubicBezTo>
                <a:cubicBezTo>
                  <a:pt x="24104496" y="4723701"/>
                  <a:pt x="24143022" y="4685179"/>
                  <a:pt x="24181548" y="4685179"/>
                </a:cubicBezTo>
                <a:cubicBezTo>
                  <a:pt x="24256994" y="4685179"/>
                  <a:pt x="24220074" y="4723701"/>
                  <a:pt x="24220074" y="4760617"/>
                </a:cubicBezTo>
                <a:cubicBezTo>
                  <a:pt x="24295520" y="4760617"/>
                  <a:pt x="24256994" y="4723701"/>
                  <a:pt x="24334046" y="4723701"/>
                </a:cubicBezTo>
                <a:cubicBezTo>
                  <a:pt x="24220074" y="4646657"/>
                  <a:pt x="24295520" y="4609741"/>
                  <a:pt x="24181548" y="4532698"/>
                </a:cubicBezTo>
                <a:close/>
                <a:moveTo>
                  <a:pt x="56494" y="4532698"/>
                </a:moveTo>
                <a:cubicBezTo>
                  <a:pt x="56494" y="4532698"/>
                  <a:pt x="56494" y="4532698"/>
                  <a:pt x="56494" y="4571219"/>
                </a:cubicBezTo>
                <a:cubicBezTo>
                  <a:pt x="133546" y="4571219"/>
                  <a:pt x="133546" y="4571219"/>
                  <a:pt x="170466" y="4609741"/>
                </a:cubicBezTo>
                <a:cubicBezTo>
                  <a:pt x="208992" y="4571219"/>
                  <a:pt x="247517" y="4609741"/>
                  <a:pt x="247517" y="4571219"/>
                </a:cubicBezTo>
                <a:cubicBezTo>
                  <a:pt x="208992" y="4532698"/>
                  <a:pt x="208992" y="4571219"/>
                  <a:pt x="247517" y="4532698"/>
                </a:cubicBezTo>
                <a:cubicBezTo>
                  <a:pt x="133546" y="4532698"/>
                  <a:pt x="133546" y="4532698"/>
                  <a:pt x="56494" y="4532698"/>
                </a:cubicBezTo>
                <a:close/>
                <a:moveTo>
                  <a:pt x="1960709" y="4528074"/>
                </a:moveTo>
                <a:lnTo>
                  <a:pt x="1961907" y="4532698"/>
                </a:lnTo>
                <a:cubicBezTo>
                  <a:pt x="1942644" y="4542328"/>
                  <a:pt x="1921174" y="4544736"/>
                  <a:pt x="1900381" y="4543532"/>
                </a:cubicBezTo>
                <a:lnTo>
                  <a:pt x="1898065" y="4543095"/>
                </a:lnTo>
                <a:close/>
                <a:moveTo>
                  <a:pt x="689960" y="4523068"/>
                </a:moveTo>
                <a:cubicBezTo>
                  <a:pt x="627958" y="4523068"/>
                  <a:pt x="570972" y="4532698"/>
                  <a:pt x="552512" y="4571219"/>
                </a:cubicBezTo>
                <a:cubicBezTo>
                  <a:pt x="666483" y="4532698"/>
                  <a:pt x="780455" y="4609741"/>
                  <a:pt x="857506" y="4532698"/>
                </a:cubicBezTo>
                <a:cubicBezTo>
                  <a:pt x="818981" y="4532698"/>
                  <a:pt x="751962" y="4523068"/>
                  <a:pt x="689960" y="4523068"/>
                </a:cubicBezTo>
                <a:close/>
                <a:moveTo>
                  <a:pt x="23013122" y="4522255"/>
                </a:moveTo>
                <a:lnTo>
                  <a:pt x="23032322" y="4525468"/>
                </a:lnTo>
                <a:lnTo>
                  <a:pt x="23027460" y="4527281"/>
                </a:lnTo>
                <a:cubicBezTo>
                  <a:pt x="23018656" y="4530290"/>
                  <a:pt x="23009326" y="4532698"/>
                  <a:pt x="23000096" y="4532698"/>
                </a:cubicBezTo>
                <a:close/>
                <a:moveTo>
                  <a:pt x="1806826" y="4521864"/>
                </a:moveTo>
                <a:cubicBezTo>
                  <a:pt x="1813372" y="4523068"/>
                  <a:pt x="1826365" y="4527883"/>
                  <a:pt x="1842919" y="4532698"/>
                </a:cubicBezTo>
                <a:lnTo>
                  <a:pt x="1898065" y="4543095"/>
                </a:lnTo>
                <a:lnTo>
                  <a:pt x="1893734" y="4544134"/>
                </a:lnTo>
                <a:cubicBezTo>
                  <a:pt x="1873619" y="4551959"/>
                  <a:pt x="1857165" y="4561589"/>
                  <a:pt x="1847935" y="4571219"/>
                </a:cubicBezTo>
                <a:cubicBezTo>
                  <a:pt x="1847935" y="4532698"/>
                  <a:pt x="1809410" y="4532698"/>
                  <a:pt x="1809410" y="4532698"/>
                </a:cubicBezTo>
                <a:cubicBezTo>
                  <a:pt x="1800179" y="4523068"/>
                  <a:pt x="1800280" y="4520660"/>
                  <a:pt x="1806826" y="4521864"/>
                </a:cubicBezTo>
                <a:close/>
                <a:moveTo>
                  <a:pt x="23068946" y="4516447"/>
                </a:moveTo>
                <a:cubicBezTo>
                  <a:pt x="23073134" y="4518253"/>
                  <a:pt x="23075542" y="4523068"/>
                  <a:pt x="23075542" y="4532698"/>
                </a:cubicBezTo>
                <a:lnTo>
                  <a:pt x="23032322" y="4525468"/>
                </a:lnTo>
                <a:lnTo>
                  <a:pt x="23051664" y="4518253"/>
                </a:lnTo>
                <a:cubicBezTo>
                  <a:pt x="23058788" y="4515845"/>
                  <a:pt x="23064756" y="4514641"/>
                  <a:pt x="23068946" y="4516447"/>
                </a:cubicBezTo>
                <a:close/>
                <a:moveTo>
                  <a:pt x="4706856" y="4494177"/>
                </a:moveTo>
                <a:cubicBezTo>
                  <a:pt x="4629805" y="4494177"/>
                  <a:pt x="4629805" y="4494177"/>
                  <a:pt x="4629805" y="4532698"/>
                </a:cubicBezTo>
                <a:cubicBezTo>
                  <a:pt x="4706856" y="4571219"/>
                  <a:pt x="4782302" y="4494177"/>
                  <a:pt x="4896274" y="4532698"/>
                </a:cubicBezTo>
                <a:cubicBezTo>
                  <a:pt x="4896274" y="4494177"/>
                  <a:pt x="4859354" y="4494177"/>
                  <a:pt x="4859354" y="4494177"/>
                </a:cubicBezTo>
                <a:cubicBezTo>
                  <a:pt x="4706856" y="4494177"/>
                  <a:pt x="4743777" y="4532698"/>
                  <a:pt x="4629805" y="4532698"/>
                </a:cubicBezTo>
                <a:cubicBezTo>
                  <a:pt x="4666726" y="4532698"/>
                  <a:pt x="4706856" y="4494177"/>
                  <a:pt x="4706856" y="4494177"/>
                </a:cubicBezTo>
                <a:close/>
                <a:moveTo>
                  <a:pt x="4591280" y="4494177"/>
                </a:moveTo>
                <a:cubicBezTo>
                  <a:pt x="4591280" y="4532698"/>
                  <a:pt x="4515834" y="4494177"/>
                  <a:pt x="4554359" y="4571219"/>
                </a:cubicBezTo>
                <a:cubicBezTo>
                  <a:pt x="4591280" y="4571219"/>
                  <a:pt x="4629805" y="4494177"/>
                  <a:pt x="4591280" y="4494177"/>
                </a:cubicBezTo>
                <a:close/>
                <a:moveTo>
                  <a:pt x="1010004" y="4494177"/>
                </a:moveTo>
                <a:cubicBezTo>
                  <a:pt x="969873" y="4571219"/>
                  <a:pt x="894426" y="4494177"/>
                  <a:pt x="857506" y="4571219"/>
                </a:cubicBezTo>
                <a:cubicBezTo>
                  <a:pt x="894426" y="4571219"/>
                  <a:pt x="932952" y="4532698"/>
                  <a:pt x="932952" y="4571219"/>
                </a:cubicBezTo>
                <a:cubicBezTo>
                  <a:pt x="969873" y="4571219"/>
                  <a:pt x="1046923" y="4532698"/>
                  <a:pt x="1010004" y="4494177"/>
                </a:cubicBezTo>
                <a:close/>
                <a:moveTo>
                  <a:pt x="276086" y="4478603"/>
                </a:moveTo>
                <a:cubicBezTo>
                  <a:pt x="266078" y="4480333"/>
                  <a:pt x="256748" y="4484948"/>
                  <a:pt x="247517" y="4494177"/>
                </a:cubicBezTo>
                <a:cubicBezTo>
                  <a:pt x="208992" y="4532698"/>
                  <a:pt x="322963" y="4494177"/>
                  <a:pt x="322963" y="4532698"/>
                </a:cubicBezTo>
                <a:cubicBezTo>
                  <a:pt x="284438" y="4532698"/>
                  <a:pt x="247517" y="4532698"/>
                  <a:pt x="284438" y="4571219"/>
                </a:cubicBezTo>
                <a:cubicBezTo>
                  <a:pt x="342226" y="4542328"/>
                  <a:pt x="356673" y="4556774"/>
                  <a:pt x="392114" y="4549551"/>
                </a:cubicBezTo>
                <a:lnTo>
                  <a:pt x="428650" y="4535813"/>
                </a:lnTo>
                <a:lnTo>
                  <a:pt x="437040" y="4536575"/>
                </a:lnTo>
                <a:lnTo>
                  <a:pt x="437537" y="4554968"/>
                </a:lnTo>
                <a:cubicBezTo>
                  <a:pt x="439343" y="4571219"/>
                  <a:pt x="446566" y="4571219"/>
                  <a:pt x="475460" y="4571219"/>
                </a:cubicBezTo>
                <a:cubicBezTo>
                  <a:pt x="494723" y="4551958"/>
                  <a:pt x="475862" y="4542328"/>
                  <a:pt x="447369" y="4537513"/>
                </a:cubicBezTo>
                <a:lnTo>
                  <a:pt x="437040" y="4536575"/>
                </a:lnTo>
                <a:lnTo>
                  <a:pt x="436935" y="4532698"/>
                </a:lnTo>
                <a:lnTo>
                  <a:pt x="428650" y="4535813"/>
                </a:lnTo>
                <a:lnTo>
                  <a:pt x="400968" y="4533300"/>
                </a:lnTo>
                <a:cubicBezTo>
                  <a:pt x="385467" y="4532698"/>
                  <a:pt x="371120" y="4532698"/>
                  <a:pt x="361489" y="4532698"/>
                </a:cubicBezTo>
                <a:cubicBezTo>
                  <a:pt x="361489" y="4494177"/>
                  <a:pt x="361489" y="4494177"/>
                  <a:pt x="400015" y="4494177"/>
                </a:cubicBezTo>
                <a:cubicBezTo>
                  <a:pt x="342226" y="4494177"/>
                  <a:pt x="306108" y="4473411"/>
                  <a:pt x="276086" y="4478603"/>
                </a:cubicBezTo>
                <a:close/>
                <a:moveTo>
                  <a:pt x="1609257" y="4462953"/>
                </a:moveTo>
                <a:cubicBezTo>
                  <a:pt x="1637850" y="4465888"/>
                  <a:pt x="1666544" y="4475317"/>
                  <a:pt x="1695438" y="4494177"/>
                </a:cubicBezTo>
                <a:cubicBezTo>
                  <a:pt x="1656913" y="4494177"/>
                  <a:pt x="1579861" y="4494177"/>
                  <a:pt x="1619992" y="4532698"/>
                </a:cubicBezTo>
                <a:cubicBezTo>
                  <a:pt x="1543743" y="4532698"/>
                  <a:pt x="1486356" y="4532698"/>
                  <a:pt x="1424154" y="4532698"/>
                </a:cubicBezTo>
                <a:lnTo>
                  <a:pt x="1351918" y="4532698"/>
                </a:lnTo>
                <a:cubicBezTo>
                  <a:pt x="1438601" y="4503807"/>
                  <a:pt x="1523477" y="4454151"/>
                  <a:pt x="1609257" y="4462953"/>
                </a:cubicBezTo>
                <a:close/>
                <a:moveTo>
                  <a:pt x="12975414" y="4457260"/>
                </a:moveTo>
                <a:cubicBezTo>
                  <a:pt x="12899968" y="4457260"/>
                  <a:pt x="12899968" y="4532698"/>
                  <a:pt x="12936888" y="4532698"/>
                </a:cubicBezTo>
                <a:cubicBezTo>
                  <a:pt x="12936888" y="4494177"/>
                  <a:pt x="12975414" y="4494177"/>
                  <a:pt x="12975414" y="4457260"/>
                </a:cubicBezTo>
                <a:close/>
                <a:moveTo>
                  <a:pt x="1963039" y="4456856"/>
                </a:moveTo>
                <a:lnTo>
                  <a:pt x="1961907" y="4457260"/>
                </a:lnTo>
                <a:lnTo>
                  <a:pt x="1961218" y="4457120"/>
                </a:lnTo>
                <a:close/>
                <a:moveTo>
                  <a:pt x="0" y="4422035"/>
                </a:moveTo>
                <a:lnTo>
                  <a:pt x="8739" y="4423554"/>
                </a:lnTo>
                <a:cubicBezTo>
                  <a:pt x="8739" y="4425962"/>
                  <a:pt x="6431" y="4429573"/>
                  <a:pt x="1816" y="4434990"/>
                </a:cubicBezTo>
                <a:lnTo>
                  <a:pt x="0" y="4436937"/>
                </a:lnTo>
                <a:close/>
                <a:moveTo>
                  <a:pt x="1427364" y="4418739"/>
                </a:moveTo>
                <a:cubicBezTo>
                  <a:pt x="1427364" y="4418739"/>
                  <a:pt x="1437397" y="4418739"/>
                  <a:pt x="1447429" y="4423554"/>
                </a:cubicBezTo>
                <a:lnTo>
                  <a:pt x="1447888" y="4423934"/>
                </a:lnTo>
                <a:close/>
                <a:moveTo>
                  <a:pt x="322963" y="4418739"/>
                </a:moveTo>
                <a:cubicBezTo>
                  <a:pt x="322963" y="4418739"/>
                  <a:pt x="322963" y="4457260"/>
                  <a:pt x="284438" y="4457260"/>
                </a:cubicBezTo>
                <a:cubicBezTo>
                  <a:pt x="436935" y="4457260"/>
                  <a:pt x="361489" y="4494177"/>
                  <a:pt x="475460" y="4494177"/>
                </a:cubicBezTo>
                <a:lnTo>
                  <a:pt x="480276" y="4494177"/>
                </a:lnTo>
                <a:cubicBezTo>
                  <a:pt x="494723" y="4494177"/>
                  <a:pt x="513986" y="4494177"/>
                  <a:pt x="513986" y="4494177"/>
                </a:cubicBezTo>
                <a:cubicBezTo>
                  <a:pt x="400015" y="4494177"/>
                  <a:pt x="436935" y="4418739"/>
                  <a:pt x="322963" y="4418739"/>
                </a:cubicBezTo>
                <a:close/>
                <a:moveTo>
                  <a:pt x="23859900" y="4407905"/>
                </a:moveTo>
                <a:cubicBezTo>
                  <a:pt x="23761780" y="4411516"/>
                  <a:pt x="23647406" y="4447630"/>
                  <a:pt x="23533034" y="4418739"/>
                </a:cubicBezTo>
                <a:cubicBezTo>
                  <a:pt x="23494508" y="4457260"/>
                  <a:pt x="23647006" y="4457260"/>
                  <a:pt x="23610084" y="4494177"/>
                </a:cubicBezTo>
                <a:cubicBezTo>
                  <a:pt x="23610084" y="4457260"/>
                  <a:pt x="23533034" y="4457260"/>
                  <a:pt x="23533034" y="4494177"/>
                </a:cubicBezTo>
                <a:cubicBezTo>
                  <a:pt x="23494508" y="4494177"/>
                  <a:pt x="23494508" y="4532698"/>
                  <a:pt x="23494508" y="4532698"/>
                </a:cubicBezTo>
                <a:cubicBezTo>
                  <a:pt x="23494508" y="4494177"/>
                  <a:pt x="23457588" y="4457260"/>
                  <a:pt x="23457588" y="4457260"/>
                </a:cubicBezTo>
                <a:cubicBezTo>
                  <a:pt x="23256734" y="4489562"/>
                  <a:pt x="23144366" y="4435843"/>
                  <a:pt x="23043062" y="4498252"/>
                </a:cubicBezTo>
                <a:lnTo>
                  <a:pt x="23013122" y="4522255"/>
                </a:lnTo>
                <a:lnTo>
                  <a:pt x="22978400" y="4516447"/>
                </a:lnTo>
                <a:cubicBezTo>
                  <a:pt x="22894352" y="4511030"/>
                  <a:pt x="22837166" y="4532698"/>
                  <a:pt x="22695102" y="4532698"/>
                </a:cubicBezTo>
                <a:cubicBezTo>
                  <a:pt x="22695102" y="4571219"/>
                  <a:pt x="22770548" y="4571219"/>
                  <a:pt x="22847598" y="4609741"/>
                </a:cubicBezTo>
                <a:cubicBezTo>
                  <a:pt x="22847598" y="4571219"/>
                  <a:pt x="22770548" y="4571219"/>
                  <a:pt x="22847598" y="4571219"/>
                </a:cubicBezTo>
                <a:cubicBezTo>
                  <a:pt x="22884520" y="4571219"/>
                  <a:pt x="22923044" y="4571219"/>
                  <a:pt x="22961570" y="4571219"/>
                </a:cubicBezTo>
                <a:cubicBezTo>
                  <a:pt x="23075542" y="4685179"/>
                  <a:pt x="23380536" y="4609741"/>
                  <a:pt x="23610084" y="4609741"/>
                </a:cubicBezTo>
                <a:cubicBezTo>
                  <a:pt x="23610084" y="4571219"/>
                  <a:pt x="23494508" y="4571219"/>
                  <a:pt x="23533034" y="4494177"/>
                </a:cubicBezTo>
                <a:cubicBezTo>
                  <a:pt x="23571560" y="4532698"/>
                  <a:pt x="23610084" y="4532698"/>
                  <a:pt x="23647006" y="4494177"/>
                </a:cubicBezTo>
                <a:cubicBezTo>
                  <a:pt x="23685530" y="4532698"/>
                  <a:pt x="23685530" y="4571219"/>
                  <a:pt x="23724056" y="4571219"/>
                </a:cubicBezTo>
                <a:cubicBezTo>
                  <a:pt x="23762582" y="4571219"/>
                  <a:pt x="23876554" y="4571219"/>
                  <a:pt x="23952000" y="4532698"/>
                </a:cubicBezTo>
                <a:cubicBezTo>
                  <a:pt x="23990526" y="4571219"/>
                  <a:pt x="23990526" y="4571219"/>
                  <a:pt x="24067576" y="4609741"/>
                </a:cubicBezTo>
                <a:cubicBezTo>
                  <a:pt x="24067576" y="4532698"/>
                  <a:pt x="24029050" y="4532698"/>
                  <a:pt x="24029050" y="4494177"/>
                </a:cubicBezTo>
                <a:cubicBezTo>
                  <a:pt x="23990526" y="4494177"/>
                  <a:pt x="23952000" y="4457260"/>
                  <a:pt x="23952000" y="4418739"/>
                </a:cubicBezTo>
                <a:cubicBezTo>
                  <a:pt x="23923508" y="4409108"/>
                  <a:pt x="23892606" y="4406701"/>
                  <a:pt x="23859900" y="4407905"/>
                </a:cubicBezTo>
                <a:close/>
                <a:moveTo>
                  <a:pt x="3944371" y="4341695"/>
                </a:moveTo>
                <a:cubicBezTo>
                  <a:pt x="3981290" y="4341695"/>
                  <a:pt x="4058342" y="4341695"/>
                  <a:pt x="4096868" y="4341695"/>
                </a:cubicBezTo>
                <a:cubicBezTo>
                  <a:pt x="4096868" y="4341695"/>
                  <a:pt x="4096868" y="4380217"/>
                  <a:pt x="4058342" y="4380217"/>
                </a:cubicBezTo>
                <a:cubicBezTo>
                  <a:pt x="4058342" y="4341695"/>
                  <a:pt x="3981290" y="4380217"/>
                  <a:pt x="3944371" y="4341695"/>
                </a:cubicBezTo>
                <a:close/>
                <a:moveTo>
                  <a:pt x="2037353" y="4341695"/>
                </a:moveTo>
                <a:cubicBezTo>
                  <a:pt x="2037353" y="4380217"/>
                  <a:pt x="2037353" y="4418739"/>
                  <a:pt x="2000433" y="4418739"/>
                </a:cubicBezTo>
                <a:cubicBezTo>
                  <a:pt x="1961907" y="4380217"/>
                  <a:pt x="1961907" y="4418739"/>
                  <a:pt x="1924986" y="4418739"/>
                </a:cubicBezTo>
                <a:cubicBezTo>
                  <a:pt x="1961907" y="4380217"/>
                  <a:pt x="1961907" y="4341695"/>
                  <a:pt x="2037353" y="4341695"/>
                </a:cubicBezTo>
                <a:close/>
                <a:moveTo>
                  <a:pt x="1772489" y="4341695"/>
                </a:moveTo>
                <a:cubicBezTo>
                  <a:pt x="1772489" y="4370587"/>
                  <a:pt x="1835695" y="4421146"/>
                  <a:pt x="1899804" y="4444620"/>
                </a:cubicBezTo>
                <a:lnTo>
                  <a:pt x="1961218" y="4457120"/>
                </a:lnTo>
                <a:lnTo>
                  <a:pt x="1886235" y="4467994"/>
                </a:lnTo>
                <a:cubicBezTo>
                  <a:pt x="1848738" y="4475618"/>
                  <a:pt x="1810613" y="4484948"/>
                  <a:pt x="1772489" y="4494177"/>
                </a:cubicBezTo>
                <a:cubicBezTo>
                  <a:pt x="1772489" y="4457260"/>
                  <a:pt x="1695438" y="4457260"/>
                  <a:pt x="1695438" y="4457260"/>
                </a:cubicBezTo>
                <a:cubicBezTo>
                  <a:pt x="1772489" y="4418739"/>
                  <a:pt x="1809410" y="4494177"/>
                  <a:pt x="1884855" y="4457260"/>
                </a:cubicBezTo>
                <a:cubicBezTo>
                  <a:pt x="1847935" y="4418739"/>
                  <a:pt x="1732358" y="4418739"/>
                  <a:pt x="1772489" y="4341695"/>
                </a:cubicBezTo>
                <a:close/>
                <a:moveTo>
                  <a:pt x="6878737" y="4266257"/>
                </a:moveTo>
                <a:cubicBezTo>
                  <a:pt x="6803291" y="4266257"/>
                  <a:pt x="6803291" y="4304779"/>
                  <a:pt x="6803291" y="4341695"/>
                </a:cubicBezTo>
                <a:cubicBezTo>
                  <a:pt x="6878737" y="4341695"/>
                  <a:pt x="6840212" y="4304779"/>
                  <a:pt x="6878737" y="4266257"/>
                </a:cubicBezTo>
                <a:close/>
                <a:moveTo>
                  <a:pt x="6535217" y="4266257"/>
                </a:moveTo>
                <a:cubicBezTo>
                  <a:pt x="6535217" y="4380217"/>
                  <a:pt x="6612269" y="4304779"/>
                  <a:pt x="6650794" y="4341695"/>
                </a:cubicBezTo>
                <a:cubicBezTo>
                  <a:pt x="6687715" y="4304779"/>
                  <a:pt x="6573743" y="4304779"/>
                  <a:pt x="6535217" y="4266257"/>
                </a:cubicBezTo>
                <a:close/>
                <a:moveTo>
                  <a:pt x="6382720" y="4266257"/>
                </a:moveTo>
                <a:cubicBezTo>
                  <a:pt x="6382720" y="4304779"/>
                  <a:pt x="6421246" y="4304779"/>
                  <a:pt x="6421246" y="4304779"/>
                </a:cubicBezTo>
                <a:cubicBezTo>
                  <a:pt x="6459771" y="4304779"/>
                  <a:pt x="6498297" y="4304779"/>
                  <a:pt x="6498297" y="4266257"/>
                </a:cubicBezTo>
                <a:cubicBezTo>
                  <a:pt x="6459771" y="4266257"/>
                  <a:pt x="6421246" y="4266257"/>
                  <a:pt x="6382720" y="4266257"/>
                </a:cubicBezTo>
                <a:close/>
                <a:moveTo>
                  <a:pt x="1376881" y="4255721"/>
                </a:moveTo>
                <a:lnTo>
                  <a:pt x="1390444" y="4266257"/>
                </a:lnTo>
                <a:lnTo>
                  <a:pt x="1367821" y="4266257"/>
                </a:lnTo>
                <a:lnTo>
                  <a:pt x="1370554" y="4259637"/>
                </a:lnTo>
                <a:close/>
                <a:moveTo>
                  <a:pt x="6687715" y="4227736"/>
                </a:moveTo>
                <a:lnTo>
                  <a:pt x="6677351" y="4231214"/>
                </a:lnTo>
                <a:lnTo>
                  <a:pt x="6671676" y="4230911"/>
                </a:lnTo>
                <a:close/>
                <a:moveTo>
                  <a:pt x="6612269" y="4227736"/>
                </a:moveTo>
                <a:lnTo>
                  <a:pt x="6671676" y="4230911"/>
                </a:lnTo>
                <a:lnTo>
                  <a:pt x="6660350" y="4233153"/>
                </a:lnTo>
                <a:cubicBezTo>
                  <a:pt x="6633939" y="4242181"/>
                  <a:pt x="6612269" y="4256627"/>
                  <a:pt x="6612269" y="4227736"/>
                </a:cubicBezTo>
                <a:close/>
                <a:moveTo>
                  <a:pt x="1464334" y="4180337"/>
                </a:moveTo>
                <a:cubicBezTo>
                  <a:pt x="1473213" y="4178381"/>
                  <a:pt x="1485152" y="4180387"/>
                  <a:pt x="1504415" y="4189215"/>
                </a:cubicBezTo>
                <a:cubicBezTo>
                  <a:pt x="1485955" y="4208476"/>
                  <a:pt x="1447831" y="4218106"/>
                  <a:pt x="1414321" y="4232551"/>
                </a:cubicBezTo>
                <a:lnTo>
                  <a:pt x="1376881" y="4255721"/>
                </a:lnTo>
                <a:lnTo>
                  <a:pt x="1361775" y="4243987"/>
                </a:lnTo>
                <a:cubicBezTo>
                  <a:pt x="1333257" y="4227736"/>
                  <a:pt x="1304965" y="4227736"/>
                  <a:pt x="1274867" y="4227736"/>
                </a:cubicBezTo>
                <a:cubicBezTo>
                  <a:pt x="1237947" y="4189215"/>
                  <a:pt x="1351918" y="4227736"/>
                  <a:pt x="1351918" y="4189215"/>
                </a:cubicBezTo>
                <a:cubicBezTo>
                  <a:pt x="1390444" y="4189215"/>
                  <a:pt x="1351918" y="4189215"/>
                  <a:pt x="1351918" y="4227736"/>
                </a:cubicBezTo>
                <a:cubicBezTo>
                  <a:pt x="1438601" y="4227736"/>
                  <a:pt x="1437698" y="4186205"/>
                  <a:pt x="1464334" y="4180337"/>
                </a:cubicBezTo>
                <a:close/>
                <a:moveTo>
                  <a:pt x="7220652" y="4115382"/>
                </a:moveTo>
                <a:cubicBezTo>
                  <a:pt x="7183732" y="4115382"/>
                  <a:pt x="7145206" y="4115382"/>
                  <a:pt x="7145206" y="4153903"/>
                </a:cubicBezTo>
                <a:cubicBezTo>
                  <a:pt x="7145206" y="4153903"/>
                  <a:pt x="7145206" y="4153903"/>
                  <a:pt x="7220652" y="4153903"/>
                </a:cubicBezTo>
                <a:cubicBezTo>
                  <a:pt x="7183732" y="4115382"/>
                  <a:pt x="7260783" y="4115382"/>
                  <a:pt x="7220652" y="4115382"/>
                </a:cubicBezTo>
                <a:close/>
                <a:moveTo>
                  <a:pt x="7979325" y="4092509"/>
                </a:moveTo>
                <a:cubicBezTo>
                  <a:pt x="7945816" y="4087694"/>
                  <a:pt x="7907692" y="4096923"/>
                  <a:pt x="7907692" y="4115382"/>
                </a:cubicBezTo>
                <a:cubicBezTo>
                  <a:pt x="7946218" y="4115382"/>
                  <a:pt x="7946218" y="4153903"/>
                  <a:pt x="8023269" y="4153903"/>
                </a:cubicBezTo>
                <a:cubicBezTo>
                  <a:pt x="8041729" y="4116184"/>
                  <a:pt x="8012834" y="4097325"/>
                  <a:pt x="7979325" y="4092509"/>
                </a:cubicBezTo>
                <a:close/>
                <a:moveTo>
                  <a:pt x="6815079" y="4022765"/>
                </a:moveTo>
                <a:cubicBezTo>
                  <a:pt x="6808006" y="4024495"/>
                  <a:pt x="6803291" y="4029110"/>
                  <a:pt x="6803291" y="4038339"/>
                </a:cubicBezTo>
                <a:cubicBezTo>
                  <a:pt x="6840212" y="4038339"/>
                  <a:pt x="6840212" y="4078465"/>
                  <a:pt x="6840212" y="4078465"/>
                </a:cubicBezTo>
                <a:cubicBezTo>
                  <a:pt x="6878737" y="4078465"/>
                  <a:pt x="6878737" y="4078465"/>
                  <a:pt x="6878737" y="4038339"/>
                </a:cubicBezTo>
                <a:cubicBezTo>
                  <a:pt x="6878737" y="4038339"/>
                  <a:pt x="6836298" y="4017573"/>
                  <a:pt x="6815079" y="4022765"/>
                </a:cubicBezTo>
                <a:close/>
                <a:moveTo>
                  <a:pt x="7031235" y="4001422"/>
                </a:moveTo>
                <a:cubicBezTo>
                  <a:pt x="6992709" y="4001422"/>
                  <a:pt x="6992709" y="4038339"/>
                  <a:pt x="6955789" y="4038339"/>
                </a:cubicBezTo>
                <a:cubicBezTo>
                  <a:pt x="6955789" y="4038339"/>
                  <a:pt x="6955789" y="4078465"/>
                  <a:pt x="6992709" y="4078465"/>
                </a:cubicBezTo>
                <a:cubicBezTo>
                  <a:pt x="7069760" y="4038339"/>
                  <a:pt x="7183732" y="4115382"/>
                  <a:pt x="7220652" y="4038339"/>
                </a:cubicBezTo>
                <a:cubicBezTo>
                  <a:pt x="7145206" y="4038339"/>
                  <a:pt x="7069760" y="4038339"/>
                  <a:pt x="7031235" y="4001422"/>
                </a:cubicBezTo>
                <a:close/>
                <a:moveTo>
                  <a:pt x="5742116" y="3953495"/>
                </a:moveTo>
                <a:lnTo>
                  <a:pt x="5737781" y="3956571"/>
                </a:lnTo>
                <a:lnTo>
                  <a:pt x="5740426" y="3953872"/>
                </a:lnTo>
                <a:close/>
                <a:moveTo>
                  <a:pt x="5811257" y="3925984"/>
                </a:moveTo>
                <a:cubicBezTo>
                  <a:pt x="5811257" y="3925984"/>
                  <a:pt x="5811257" y="3925984"/>
                  <a:pt x="5811257" y="3962901"/>
                </a:cubicBezTo>
                <a:cubicBezTo>
                  <a:pt x="5792395" y="3953672"/>
                  <a:pt x="5778249" y="3949057"/>
                  <a:pt x="5767037" y="3947929"/>
                </a:cubicBezTo>
                <a:lnTo>
                  <a:pt x="5742116" y="3953495"/>
                </a:lnTo>
                <a:lnTo>
                  <a:pt x="5754873" y="3944443"/>
                </a:lnTo>
                <a:cubicBezTo>
                  <a:pt x="5764304" y="3935213"/>
                  <a:pt x="5773534" y="3925984"/>
                  <a:pt x="5811257" y="3925984"/>
                </a:cubicBezTo>
                <a:close/>
                <a:moveTo>
                  <a:pt x="5839282" y="3911800"/>
                </a:moveTo>
                <a:lnTo>
                  <a:pt x="5844886" y="3914385"/>
                </a:lnTo>
                <a:cubicBezTo>
                  <a:pt x="5848002" y="3917206"/>
                  <a:pt x="5849783" y="3920968"/>
                  <a:pt x="5849783" y="3925984"/>
                </a:cubicBezTo>
                <a:close/>
                <a:moveTo>
                  <a:pt x="5998207" y="3888812"/>
                </a:moveTo>
                <a:lnTo>
                  <a:pt x="6001398" y="3889164"/>
                </a:lnTo>
                <a:lnTo>
                  <a:pt x="5996260" y="3908429"/>
                </a:lnTo>
                <a:cubicBezTo>
                  <a:pt x="5989036" y="3918460"/>
                  <a:pt x="5976997" y="3918460"/>
                  <a:pt x="5969773" y="3908429"/>
                </a:cubicBezTo>
                <a:lnTo>
                  <a:pt x="5968260" y="3902754"/>
                </a:lnTo>
                <a:lnTo>
                  <a:pt x="5968820" y="3902786"/>
                </a:lnTo>
                <a:cubicBezTo>
                  <a:pt x="5974765" y="3901846"/>
                  <a:pt x="5980722" y="3900122"/>
                  <a:pt x="5986397" y="3897378"/>
                </a:cubicBezTo>
                <a:close/>
                <a:moveTo>
                  <a:pt x="5963436" y="3886315"/>
                </a:moveTo>
                <a:lnTo>
                  <a:pt x="5963877" y="3886320"/>
                </a:lnTo>
                <a:lnTo>
                  <a:pt x="5968260" y="3902754"/>
                </a:lnTo>
                <a:lnTo>
                  <a:pt x="5952607" y="3901866"/>
                </a:lnTo>
                <a:close/>
                <a:moveTo>
                  <a:pt x="6246634" y="3839154"/>
                </a:moveTo>
                <a:lnTo>
                  <a:pt x="6231828" y="3848941"/>
                </a:lnTo>
                <a:cubicBezTo>
                  <a:pt x="6236443" y="3844126"/>
                  <a:pt x="6240481" y="3841091"/>
                  <a:pt x="6243942" y="3839468"/>
                </a:cubicBezTo>
                <a:close/>
                <a:moveTo>
                  <a:pt x="6402183" y="3820050"/>
                </a:moveTo>
                <a:cubicBezTo>
                  <a:pt x="6383121" y="3820050"/>
                  <a:pt x="6364260" y="3829681"/>
                  <a:pt x="6345800" y="3848941"/>
                </a:cubicBezTo>
                <a:cubicBezTo>
                  <a:pt x="6382720" y="3848941"/>
                  <a:pt x="6459771" y="3848941"/>
                  <a:pt x="6459771" y="3848941"/>
                </a:cubicBezTo>
                <a:cubicBezTo>
                  <a:pt x="6440508" y="3829681"/>
                  <a:pt x="6421245" y="3820050"/>
                  <a:pt x="6402183" y="3820050"/>
                </a:cubicBezTo>
                <a:close/>
                <a:moveTo>
                  <a:pt x="5506262" y="3810420"/>
                </a:moveTo>
                <a:cubicBezTo>
                  <a:pt x="5506262" y="3848941"/>
                  <a:pt x="5583314" y="3848941"/>
                  <a:pt x="5544788" y="3885858"/>
                </a:cubicBezTo>
                <a:cubicBezTo>
                  <a:pt x="5583314" y="3885858"/>
                  <a:pt x="5621840" y="3885858"/>
                  <a:pt x="5658760" y="3885858"/>
                </a:cubicBezTo>
                <a:cubicBezTo>
                  <a:pt x="5658760" y="3848941"/>
                  <a:pt x="5583314" y="3848941"/>
                  <a:pt x="5583314" y="3810420"/>
                </a:cubicBezTo>
                <a:lnTo>
                  <a:pt x="5621840" y="3810420"/>
                </a:lnTo>
                <a:cubicBezTo>
                  <a:pt x="5687854" y="3876428"/>
                  <a:pt x="5783366" y="3856415"/>
                  <a:pt x="5832021" y="3901993"/>
                </a:cubicBezTo>
                <a:lnTo>
                  <a:pt x="5839282" y="3911800"/>
                </a:lnTo>
                <a:lnTo>
                  <a:pt x="5831975" y="3908429"/>
                </a:lnTo>
                <a:cubicBezTo>
                  <a:pt x="5799920" y="3900905"/>
                  <a:pt x="5735811" y="3915953"/>
                  <a:pt x="5735811" y="3885858"/>
                </a:cubicBezTo>
                <a:cubicBezTo>
                  <a:pt x="5658760" y="3885858"/>
                  <a:pt x="5658760" y="3925984"/>
                  <a:pt x="5621840" y="3925984"/>
                </a:cubicBezTo>
                <a:cubicBezTo>
                  <a:pt x="5621840" y="3925984"/>
                  <a:pt x="5658760" y="3925984"/>
                  <a:pt x="5697285" y="3962901"/>
                </a:cubicBezTo>
                <a:cubicBezTo>
                  <a:pt x="5716548" y="3962901"/>
                  <a:pt x="5728587" y="3960594"/>
                  <a:pt x="5736989" y="3957133"/>
                </a:cubicBezTo>
                <a:lnTo>
                  <a:pt x="5737781" y="3956571"/>
                </a:lnTo>
                <a:lnTo>
                  <a:pt x="5720737" y="3973961"/>
                </a:lnTo>
                <a:cubicBezTo>
                  <a:pt x="5714140" y="3982262"/>
                  <a:pt x="5706916" y="3991792"/>
                  <a:pt x="5697285" y="4001422"/>
                </a:cubicBezTo>
                <a:cubicBezTo>
                  <a:pt x="5658760" y="3925984"/>
                  <a:pt x="5506262" y="3925984"/>
                  <a:pt x="5506262" y="3848941"/>
                </a:cubicBezTo>
                <a:cubicBezTo>
                  <a:pt x="5392291" y="3848941"/>
                  <a:pt x="5316845" y="3885858"/>
                  <a:pt x="5316845" y="3848941"/>
                </a:cubicBezTo>
                <a:cubicBezTo>
                  <a:pt x="5430817" y="3848941"/>
                  <a:pt x="5430817" y="3848941"/>
                  <a:pt x="5506262" y="3810420"/>
                </a:cubicBezTo>
                <a:close/>
                <a:moveTo>
                  <a:pt x="5780708" y="3756575"/>
                </a:moveTo>
                <a:cubicBezTo>
                  <a:pt x="5792897" y="3750932"/>
                  <a:pt x="5820888" y="3773503"/>
                  <a:pt x="5849783" y="3773503"/>
                </a:cubicBezTo>
                <a:lnTo>
                  <a:pt x="5774337" y="3773503"/>
                </a:lnTo>
                <a:cubicBezTo>
                  <a:pt x="5774337" y="3763471"/>
                  <a:pt x="5776644" y="3758456"/>
                  <a:pt x="5780708" y="3756575"/>
                </a:cubicBezTo>
                <a:close/>
                <a:moveTo>
                  <a:pt x="6345800" y="3733377"/>
                </a:moveTo>
                <a:lnTo>
                  <a:pt x="6360840" y="3739802"/>
                </a:lnTo>
                <a:lnTo>
                  <a:pt x="6344746" y="3741656"/>
                </a:lnTo>
                <a:lnTo>
                  <a:pt x="6337517" y="3740059"/>
                </a:lnTo>
                <a:close/>
                <a:moveTo>
                  <a:pt x="6193303" y="3733377"/>
                </a:moveTo>
                <a:cubicBezTo>
                  <a:pt x="6193303" y="3733377"/>
                  <a:pt x="6268749" y="3733377"/>
                  <a:pt x="6268749" y="3773503"/>
                </a:cubicBezTo>
                <a:cubicBezTo>
                  <a:pt x="6268749" y="3733377"/>
                  <a:pt x="6268749" y="3733377"/>
                  <a:pt x="6307274" y="3733377"/>
                </a:cubicBezTo>
                <a:lnTo>
                  <a:pt x="6337517" y="3740059"/>
                </a:lnTo>
                <a:lnTo>
                  <a:pt x="6316328" y="3757152"/>
                </a:lnTo>
                <a:cubicBezTo>
                  <a:pt x="6285704" y="3775810"/>
                  <a:pt x="6249887" y="3782732"/>
                  <a:pt x="6193303" y="3810420"/>
                </a:cubicBezTo>
                <a:cubicBezTo>
                  <a:pt x="6193303" y="3810420"/>
                  <a:pt x="6231828" y="3733377"/>
                  <a:pt x="6193303" y="3733377"/>
                </a:cubicBezTo>
                <a:close/>
                <a:moveTo>
                  <a:pt x="6706350" y="3717803"/>
                </a:moveTo>
                <a:cubicBezTo>
                  <a:pt x="6694938" y="3719533"/>
                  <a:pt x="6687715" y="3724148"/>
                  <a:pt x="6687715" y="3733377"/>
                </a:cubicBezTo>
                <a:cubicBezTo>
                  <a:pt x="6726240" y="3773503"/>
                  <a:pt x="6840212" y="3773503"/>
                  <a:pt x="6840212" y="3733377"/>
                </a:cubicBezTo>
                <a:cubicBezTo>
                  <a:pt x="6812521" y="3733377"/>
                  <a:pt x="6740587" y="3712611"/>
                  <a:pt x="6706350" y="3717803"/>
                </a:cubicBezTo>
                <a:close/>
                <a:moveTo>
                  <a:pt x="6580364" y="3717803"/>
                </a:moveTo>
                <a:cubicBezTo>
                  <a:pt x="6568927" y="3719533"/>
                  <a:pt x="6554480" y="3724148"/>
                  <a:pt x="6535217" y="3733377"/>
                </a:cubicBezTo>
                <a:cubicBezTo>
                  <a:pt x="6573743" y="3773503"/>
                  <a:pt x="6535217" y="3773503"/>
                  <a:pt x="6573743" y="3773503"/>
                </a:cubicBezTo>
                <a:cubicBezTo>
                  <a:pt x="6573743" y="3773503"/>
                  <a:pt x="6650794" y="3773503"/>
                  <a:pt x="6650794" y="3733377"/>
                </a:cubicBezTo>
                <a:cubicBezTo>
                  <a:pt x="6621900" y="3733377"/>
                  <a:pt x="6614677" y="3712611"/>
                  <a:pt x="6580364" y="3717803"/>
                </a:cubicBezTo>
                <a:close/>
                <a:moveTo>
                  <a:pt x="6141204" y="3686732"/>
                </a:moveTo>
                <a:lnTo>
                  <a:pt x="6135514" y="3691645"/>
                </a:lnTo>
                <a:cubicBezTo>
                  <a:pt x="6125882" y="3696460"/>
                  <a:pt x="6116251" y="3696460"/>
                  <a:pt x="6116251" y="3696460"/>
                </a:cubicBezTo>
                <a:cubicBezTo>
                  <a:pt x="6125882" y="3691645"/>
                  <a:pt x="6133106" y="3688610"/>
                  <a:pt x="6138449" y="3686987"/>
                </a:cubicBezTo>
                <a:close/>
                <a:moveTo>
                  <a:pt x="5388213" y="3613919"/>
                </a:moveTo>
                <a:lnTo>
                  <a:pt x="5387475" y="3616006"/>
                </a:lnTo>
                <a:lnTo>
                  <a:pt x="5381344" y="3618359"/>
                </a:lnTo>
                <a:close/>
                <a:moveTo>
                  <a:pt x="6154777" y="3580895"/>
                </a:moveTo>
                <a:cubicBezTo>
                  <a:pt x="6154777" y="3621022"/>
                  <a:pt x="6231828" y="3621022"/>
                  <a:pt x="6231828" y="3621022"/>
                </a:cubicBezTo>
                <a:cubicBezTo>
                  <a:pt x="6231828" y="3600959"/>
                  <a:pt x="6250689" y="3600959"/>
                  <a:pt x="6269551" y="3605974"/>
                </a:cubicBezTo>
                <a:lnTo>
                  <a:pt x="6293641" y="3614710"/>
                </a:lnTo>
                <a:lnTo>
                  <a:pt x="6307274" y="3621022"/>
                </a:lnTo>
                <a:cubicBezTo>
                  <a:pt x="6307274" y="3621022"/>
                  <a:pt x="6302558" y="3618514"/>
                  <a:pt x="6295485" y="3615379"/>
                </a:cubicBezTo>
                <a:lnTo>
                  <a:pt x="6293641" y="3614710"/>
                </a:lnTo>
                <a:lnTo>
                  <a:pt x="6282220" y="3609423"/>
                </a:lnTo>
                <a:cubicBezTo>
                  <a:pt x="6230624" y="3589673"/>
                  <a:pt x="6222196" y="3616006"/>
                  <a:pt x="6154777" y="3580895"/>
                </a:cubicBezTo>
                <a:close/>
                <a:moveTo>
                  <a:pt x="5811257" y="3580895"/>
                </a:moveTo>
                <a:cubicBezTo>
                  <a:pt x="5811257" y="3621022"/>
                  <a:pt x="5774337" y="3621022"/>
                  <a:pt x="5811257" y="3621022"/>
                </a:cubicBezTo>
                <a:cubicBezTo>
                  <a:pt x="5849783" y="3621022"/>
                  <a:pt x="5849783" y="3621022"/>
                  <a:pt x="5888308" y="3580895"/>
                </a:cubicBezTo>
                <a:cubicBezTo>
                  <a:pt x="5849783" y="3621022"/>
                  <a:pt x="5849783" y="3580895"/>
                  <a:pt x="5811257" y="3580895"/>
                </a:cubicBezTo>
                <a:close/>
                <a:moveTo>
                  <a:pt x="5430817" y="3580895"/>
                </a:moveTo>
                <a:lnTo>
                  <a:pt x="5445280" y="3595944"/>
                </a:lnTo>
                <a:lnTo>
                  <a:pt x="5445264" y="3595943"/>
                </a:lnTo>
                <a:lnTo>
                  <a:pt x="5423004" y="3587460"/>
                </a:lnTo>
                <a:close/>
                <a:moveTo>
                  <a:pt x="5392291" y="3580895"/>
                </a:moveTo>
                <a:cubicBezTo>
                  <a:pt x="5401922" y="3580895"/>
                  <a:pt x="5411554" y="3583403"/>
                  <a:pt x="5420583" y="3586538"/>
                </a:cubicBezTo>
                <a:lnTo>
                  <a:pt x="5423004" y="3587460"/>
                </a:lnTo>
                <a:lnTo>
                  <a:pt x="5402524" y="3604670"/>
                </a:lnTo>
                <a:lnTo>
                  <a:pt x="5388213" y="3613919"/>
                </a:lnTo>
                <a:lnTo>
                  <a:pt x="5391689" y="3604093"/>
                </a:lnTo>
                <a:cubicBezTo>
                  <a:pt x="5392291" y="3598451"/>
                  <a:pt x="5392291" y="3590927"/>
                  <a:pt x="5392291" y="3580895"/>
                </a:cubicBezTo>
                <a:close/>
                <a:moveTo>
                  <a:pt x="5239794" y="3580895"/>
                </a:moveTo>
                <a:cubicBezTo>
                  <a:pt x="5316845" y="3580895"/>
                  <a:pt x="5278320" y="3580895"/>
                  <a:pt x="5353766" y="3621022"/>
                </a:cubicBezTo>
                <a:cubicBezTo>
                  <a:pt x="5363397" y="3621022"/>
                  <a:pt x="5370620" y="3621022"/>
                  <a:pt x="5376038" y="3620395"/>
                </a:cubicBezTo>
                <a:lnTo>
                  <a:pt x="5381344" y="3618359"/>
                </a:lnTo>
                <a:lnTo>
                  <a:pt x="5377844" y="3620621"/>
                </a:lnTo>
                <a:cubicBezTo>
                  <a:pt x="5363397" y="3630251"/>
                  <a:pt x="5353766" y="3639480"/>
                  <a:pt x="5353766" y="3657939"/>
                </a:cubicBezTo>
                <a:cubicBezTo>
                  <a:pt x="5316845" y="3621022"/>
                  <a:pt x="5278320" y="3621022"/>
                  <a:pt x="5239794" y="3580895"/>
                </a:cubicBezTo>
                <a:close/>
                <a:moveTo>
                  <a:pt x="5491289" y="3565321"/>
                </a:moveTo>
                <a:cubicBezTo>
                  <a:pt x="5508670" y="3560130"/>
                  <a:pt x="5515894" y="3580895"/>
                  <a:pt x="5544788" y="3580895"/>
                </a:cubicBezTo>
                <a:cubicBezTo>
                  <a:pt x="5506262" y="3580895"/>
                  <a:pt x="5469342" y="3621022"/>
                  <a:pt x="5506262" y="3657939"/>
                </a:cubicBezTo>
                <a:cubicBezTo>
                  <a:pt x="5478572" y="3630251"/>
                  <a:pt x="5471649" y="3623329"/>
                  <a:pt x="5453666" y="3604670"/>
                </a:cubicBezTo>
                <a:lnTo>
                  <a:pt x="5445280" y="3595944"/>
                </a:lnTo>
                <a:lnTo>
                  <a:pt x="5462720" y="3597824"/>
                </a:lnTo>
                <a:cubicBezTo>
                  <a:pt x="5466934" y="3595943"/>
                  <a:pt x="5469342" y="3590927"/>
                  <a:pt x="5469342" y="3580895"/>
                </a:cubicBezTo>
                <a:cubicBezTo>
                  <a:pt x="5478572" y="3571666"/>
                  <a:pt x="5485495" y="3567052"/>
                  <a:pt x="5491289" y="3565321"/>
                </a:cubicBezTo>
                <a:close/>
                <a:moveTo>
                  <a:pt x="4204104" y="3471055"/>
                </a:moveTo>
                <a:lnTo>
                  <a:pt x="4187061" y="3477416"/>
                </a:lnTo>
                <a:lnTo>
                  <a:pt x="4181885" y="3477567"/>
                </a:lnTo>
                <a:lnTo>
                  <a:pt x="4191576" y="3473156"/>
                </a:lnTo>
                <a:close/>
                <a:moveTo>
                  <a:pt x="4210839" y="3468541"/>
                </a:moveTo>
                <a:cubicBezTo>
                  <a:pt x="4220470" y="3468541"/>
                  <a:pt x="4220470" y="3468541"/>
                  <a:pt x="4215655" y="3469118"/>
                </a:cubicBezTo>
                <a:lnTo>
                  <a:pt x="4204104" y="3471055"/>
                </a:lnTo>
                <a:close/>
                <a:moveTo>
                  <a:pt x="4058342" y="3468541"/>
                </a:moveTo>
                <a:cubicBezTo>
                  <a:pt x="4019817" y="3505457"/>
                  <a:pt x="4058342" y="3505457"/>
                  <a:pt x="4058342" y="3543979"/>
                </a:cubicBezTo>
                <a:cubicBezTo>
                  <a:pt x="4019817" y="3505457"/>
                  <a:pt x="3981290" y="3505457"/>
                  <a:pt x="3905845" y="3505457"/>
                </a:cubicBezTo>
                <a:cubicBezTo>
                  <a:pt x="3905845" y="3468541"/>
                  <a:pt x="3981290" y="3468541"/>
                  <a:pt x="4058342" y="3468541"/>
                </a:cubicBezTo>
                <a:close/>
                <a:moveTo>
                  <a:pt x="748886" y="3416083"/>
                </a:moveTo>
                <a:lnTo>
                  <a:pt x="756140" y="3428415"/>
                </a:lnTo>
                <a:lnTo>
                  <a:pt x="741929" y="3428415"/>
                </a:lnTo>
                <a:close/>
                <a:moveTo>
                  <a:pt x="4595903" y="3413698"/>
                </a:moveTo>
                <a:lnTo>
                  <a:pt x="4597594" y="3416154"/>
                </a:lnTo>
                <a:cubicBezTo>
                  <a:pt x="4597926" y="3419763"/>
                  <a:pt x="4596095" y="3423800"/>
                  <a:pt x="4591280" y="3428415"/>
                </a:cubicBezTo>
                <a:lnTo>
                  <a:pt x="4553789" y="3414570"/>
                </a:lnTo>
                <a:close/>
                <a:moveTo>
                  <a:pt x="5487150" y="3413467"/>
                </a:moveTo>
                <a:cubicBezTo>
                  <a:pt x="5476465" y="3414571"/>
                  <a:pt x="5469342" y="3419186"/>
                  <a:pt x="5469342" y="3428415"/>
                </a:cubicBezTo>
                <a:cubicBezTo>
                  <a:pt x="5506262" y="3428415"/>
                  <a:pt x="5506262" y="3468541"/>
                  <a:pt x="5583314" y="3468541"/>
                </a:cubicBezTo>
                <a:cubicBezTo>
                  <a:pt x="5583314" y="3438446"/>
                  <a:pt x="5519205" y="3410157"/>
                  <a:pt x="5487150" y="3413467"/>
                </a:cubicBezTo>
                <a:close/>
                <a:moveTo>
                  <a:pt x="4482123" y="3400727"/>
                </a:moveTo>
                <a:cubicBezTo>
                  <a:pt x="4498778" y="3400727"/>
                  <a:pt x="4516636" y="3403035"/>
                  <a:pt x="4535046" y="3407649"/>
                </a:cubicBezTo>
                <a:lnTo>
                  <a:pt x="4553789" y="3414570"/>
                </a:lnTo>
                <a:lnTo>
                  <a:pt x="4553757" y="3414571"/>
                </a:lnTo>
                <a:cubicBezTo>
                  <a:pt x="4496571" y="3419186"/>
                  <a:pt x="4439585" y="3428415"/>
                  <a:pt x="4401862" y="3428415"/>
                </a:cubicBezTo>
                <a:cubicBezTo>
                  <a:pt x="4420322" y="3409956"/>
                  <a:pt x="4448815" y="3400727"/>
                  <a:pt x="4482123" y="3400727"/>
                </a:cubicBezTo>
                <a:close/>
                <a:moveTo>
                  <a:pt x="2906687" y="3397943"/>
                </a:moveTo>
                <a:lnTo>
                  <a:pt x="2894322" y="3407072"/>
                </a:lnTo>
                <a:cubicBezTo>
                  <a:pt x="2890083" y="3408803"/>
                  <a:pt x="2888829" y="3407649"/>
                  <a:pt x="2891136" y="3405342"/>
                </a:cubicBezTo>
                <a:close/>
                <a:moveTo>
                  <a:pt x="2839970" y="3391498"/>
                </a:moveTo>
                <a:lnTo>
                  <a:pt x="2839970" y="3428415"/>
                </a:lnTo>
                <a:cubicBezTo>
                  <a:pt x="2915416" y="3428415"/>
                  <a:pt x="2952336" y="3428415"/>
                  <a:pt x="2952336" y="3391498"/>
                </a:cubicBezTo>
                <a:cubicBezTo>
                  <a:pt x="2933475" y="3391498"/>
                  <a:pt x="2919329" y="3393805"/>
                  <a:pt x="2909321" y="3396689"/>
                </a:cubicBezTo>
                <a:lnTo>
                  <a:pt x="2906687" y="3397943"/>
                </a:lnTo>
                <a:lnTo>
                  <a:pt x="2915416" y="3391498"/>
                </a:lnTo>
                <a:cubicBezTo>
                  <a:pt x="2876890" y="3391498"/>
                  <a:pt x="2876890" y="3391498"/>
                  <a:pt x="2839970" y="3391498"/>
                </a:cubicBezTo>
                <a:close/>
                <a:moveTo>
                  <a:pt x="2534975" y="3391498"/>
                </a:moveTo>
                <a:lnTo>
                  <a:pt x="2519728" y="3397269"/>
                </a:lnTo>
                <a:lnTo>
                  <a:pt x="2519926" y="3396113"/>
                </a:lnTo>
                <a:cubicBezTo>
                  <a:pt x="2524942" y="3391498"/>
                  <a:pt x="2534975" y="3391498"/>
                  <a:pt x="2534975" y="3391498"/>
                </a:cubicBezTo>
                <a:close/>
                <a:moveTo>
                  <a:pt x="741929" y="3391498"/>
                </a:moveTo>
                <a:cubicBezTo>
                  <a:pt x="741929" y="3391498"/>
                  <a:pt x="741929" y="3391498"/>
                  <a:pt x="818981" y="3391498"/>
                </a:cubicBezTo>
                <a:cubicBezTo>
                  <a:pt x="818981" y="3391498"/>
                  <a:pt x="775639" y="3391498"/>
                  <a:pt x="753968" y="3407072"/>
                </a:cubicBezTo>
                <a:lnTo>
                  <a:pt x="748886" y="3416083"/>
                </a:lnTo>
                <a:lnTo>
                  <a:pt x="747347" y="3413467"/>
                </a:lnTo>
                <a:cubicBezTo>
                  <a:pt x="744337" y="3407649"/>
                  <a:pt x="741929" y="3400727"/>
                  <a:pt x="741929" y="3391498"/>
                </a:cubicBezTo>
                <a:close/>
                <a:moveTo>
                  <a:pt x="5003540" y="3389314"/>
                </a:moveTo>
                <a:lnTo>
                  <a:pt x="5002736" y="3389843"/>
                </a:lnTo>
                <a:cubicBezTo>
                  <a:pt x="4997052" y="3390896"/>
                  <a:pt x="4987571" y="3391498"/>
                  <a:pt x="4973325" y="3391498"/>
                </a:cubicBezTo>
                <a:close/>
                <a:moveTo>
                  <a:pt x="6133707" y="3376451"/>
                </a:moveTo>
                <a:cubicBezTo>
                  <a:pt x="6123474" y="3377053"/>
                  <a:pt x="6116251" y="3381868"/>
                  <a:pt x="6116251" y="3391498"/>
                </a:cubicBezTo>
                <a:cubicBezTo>
                  <a:pt x="6193303" y="3391498"/>
                  <a:pt x="6154777" y="3468541"/>
                  <a:pt x="6193303" y="3468541"/>
                </a:cubicBezTo>
                <a:cubicBezTo>
                  <a:pt x="6222196" y="3410759"/>
                  <a:pt x="6164408" y="3374645"/>
                  <a:pt x="6133707" y="3376451"/>
                </a:cubicBezTo>
                <a:close/>
                <a:moveTo>
                  <a:pt x="4896274" y="3352977"/>
                </a:moveTo>
                <a:cubicBezTo>
                  <a:pt x="4934800" y="3352977"/>
                  <a:pt x="4934800" y="3391498"/>
                  <a:pt x="4934800" y="3391498"/>
                </a:cubicBezTo>
                <a:cubicBezTo>
                  <a:pt x="4896274" y="3428415"/>
                  <a:pt x="4859354" y="3391498"/>
                  <a:pt x="4859354" y="3391498"/>
                </a:cubicBezTo>
                <a:cubicBezTo>
                  <a:pt x="4896274" y="3391498"/>
                  <a:pt x="4896274" y="3352977"/>
                  <a:pt x="4896274" y="3352977"/>
                </a:cubicBezTo>
                <a:close/>
                <a:moveTo>
                  <a:pt x="4743777" y="3352977"/>
                </a:moveTo>
                <a:cubicBezTo>
                  <a:pt x="4706856" y="3352977"/>
                  <a:pt x="4782302" y="3391498"/>
                  <a:pt x="4743777" y="3391498"/>
                </a:cubicBezTo>
                <a:lnTo>
                  <a:pt x="4782302" y="3391498"/>
                </a:lnTo>
                <a:cubicBezTo>
                  <a:pt x="4782302" y="3391498"/>
                  <a:pt x="4782302" y="3352977"/>
                  <a:pt x="4743777" y="3352977"/>
                </a:cubicBezTo>
                <a:close/>
                <a:moveTo>
                  <a:pt x="3981290" y="3352977"/>
                </a:moveTo>
                <a:cubicBezTo>
                  <a:pt x="3981290" y="3428415"/>
                  <a:pt x="4096868" y="3352977"/>
                  <a:pt x="4019817" y="3352977"/>
                </a:cubicBezTo>
                <a:cubicBezTo>
                  <a:pt x="4019817" y="3352977"/>
                  <a:pt x="4019817" y="3352977"/>
                  <a:pt x="3981290" y="3352977"/>
                </a:cubicBezTo>
                <a:close/>
                <a:moveTo>
                  <a:pt x="1010004" y="3352977"/>
                </a:moveTo>
                <a:cubicBezTo>
                  <a:pt x="1010004" y="3391498"/>
                  <a:pt x="1046923" y="3428415"/>
                  <a:pt x="1122370" y="3428415"/>
                </a:cubicBezTo>
                <a:cubicBezTo>
                  <a:pt x="1199421" y="3391498"/>
                  <a:pt x="1122370" y="3391498"/>
                  <a:pt x="1237947" y="3391498"/>
                </a:cubicBezTo>
                <a:cubicBezTo>
                  <a:pt x="1237947" y="3391498"/>
                  <a:pt x="1237947" y="3391498"/>
                  <a:pt x="1237947" y="3428415"/>
                </a:cubicBezTo>
                <a:cubicBezTo>
                  <a:pt x="1274867" y="3391498"/>
                  <a:pt x="1314997" y="3428415"/>
                  <a:pt x="1351918" y="3428415"/>
                </a:cubicBezTo>
                <a:cubicBezTo>
                  <a:pt x="1467495" y="3468541"/>
                  <a:pt x="1390444" y="3468541"/>
                  <a:pt x="1314997" y="3468541"/>
                </a:cubicBezTo>
                <a:lnTo>
                  <a:pt x="1274867" y="3428415"/>
                </a:lnTo>
                <a:cubicBezTo>
                  <a:pt x="1122370" y="3468541"/>
                  <a:pt x="932952" y="3428415"/>
                  <a:pt x="741929" y="3468541"/>
                </a:cubicBezTo>
                <a:cubicBezTo>
                  <a:pt x="761192" y="3448478"/>
                  <a:pt x="761192" y="3438446"/>
                  <a:pt x="756376" y="3428816"/>
                </a:cubicBezTo>
                <a:lnTo>
                  <a:pt x="756140" y="3428415"/>
                </a:lnTo>
                <a:lnTo>
                  <a:pt x="842658" y="3428415"/>
                </a:lnTo>
                <a:cubicBezTo>
                  <a:pt x="875966" y="3428415"/>
                  <a:pt x="913689" y="3428415"/>
                  <a:pt x="969873" y="3428415"/>
                </a:cubicBezTo>
                <a:cubicBezTo>
                  <a:pt x="1010004" y="3428415"/>
                  <a:pt x="969873" y="3352977"/>
                  <a:pt x="1010004" y="3352977"/>
                </a:cubicBezTo>
                <a:close/>
                <a:moveTo>
                  <a:pt x="4863492" y="3337403"/>
                </a:moveTo>
                <a:cubicBezTo>
                  <a:pt x="4828051" y="3332211"/>
                  <a:pt x="4791933" y="3352977"/>
                  <a:pt x="4820828" y="3352977"/>
                </a:cubicBezTo>
                <a:cubicBezTo>
                  <a:pt x="4896274" y="3316060"/>
                  <a:pt x="4820828" y="3391498"/>
                  <a:pt x="4820828" y="3428415"/>
                </a:cubicBezTo>
                <a:cubicBezTo>
                  <a:pt x="4934800" y="3428415"/>
                  <a:pt x="5011851" y="3468541"/>
                  <a:pt x="5087296" y="3468541"/>
                </a:cubicBezTo>
                <a:cubicBezTo>
                  <a:pt x="5087296" y="3391498"/>
                  <a:pt x="5125822" y="3428415"/>
                  <a:pt x="5125822" y="3352977"/>
                </a:cubicBezTo>
                <a:cubicBezTo>
                  <a:pt x="5087296" y="3352977"/>
                  <a:pt x="5087296" y="3352977"/>
                  <a:pt x="5048771" y="3352977"/>
                </a:cubicBezTo>
                <a:cubicBezTo>
                  <a:pt x="5068034" y="3372238"/>
                  <a:pt x="5058804" y="3381868"/>
                  <a:pt x="5039942" y="3386683"/>
                </a:cubicBezTo>
                <a:lnTo>
                  <a:pt x="5003540" y="3389314"/>
                </a:lnTo>
                <a:lnTo>
                  <a:pt x="5009367" y="3385479"/>
                </a:lnTo>
                <a:cubicBezTo>
                  <a:pt x="5003724" y="3374645"/>
                  <a:pt x="4896274" y="3352977"/>
                  <a:pt x="4896274" y="3352977"/>
                </a:cubicBezTo>
                <a:cubicBezTo>
                  <a:pt x="4887044" y="3343748"/>
                  <a:pt x="4875306" y="3339133"/>
                  <a:pt x="4863492" y="3337403"/>
                </a:cubicBezTo>
                <a:close/>
                <a:moveTo>
                  <a:pt x="1892305" y="3337403"/>
                </a:moveTo>
                <a:cubicBezTo>
                  <a:pt x="1887364" y="3339133"/>
                  <a:pt x="1884855" y="3343748"/>
                  <a:pt x="1884855" y="3352977"/>
                </a:cubicBezTo>
                <a:cubicBezTo>
                  <a:pt x="1924986" y="3352977"/>
                  <a:pt x="2000433" y="3391498"/>
                  <a:pt x="2000433" y="3352977"/>
                </a:cubicBezTo>
                <a:cubicBezTo>
                  <a:pt x="1943848" y="3352977"/>
                  <a:pt x="1907128" y="3332211"/>
                  <a:pt x="1892305" y="3337403"/>
                </a:cubicBezTo>
                <a:close/>
                <a:moveTo>
                  <a:pt x="3676296" y="3316060"/>
                </a:moveTo>
                <a:cubicBezTo>
                  <a:pt x="3676296" y="3352977"/>
                  <a:pt x="3639376" y="3352977"/>
                  <a:pt x="3600851" y="3352977"/>
                </a:cubicBezTo>
                <a:cubicBezTo>
                  <a:pt x="3581588" y="3352977"/>
                  <a:pt x="3571956" y="3352977"/>
                  <a:pt x="3562525" y="3352977"/>
                </a:cubicBezTo>
                <a:lnTo>
                  <a:pt x="3562324" y="3352977"/>
                </a:lnTo>
                <a:cubicBezTo>
                  <a:pt x="3525405" y="3352977"/>
                  <a:pt x="3525405" y="3352977"/>
                  <a:pt x="3525405" y="3352977"/>
                </a:cubicBezTo>
                <a:cubicBezTo>
                  <a:pt x="3525405" y="3352977"/>
                  <a:pt x="3525405" y="3352977"/>
                  <a:pt x="3525405" y="3391498"/>
                </a:cubicBezTo>
                <a:cubicBezTo>
                  <a:pt x="3562324" y="3391498"/>
                  <a:pt x="3562324" y="3428415"/>
                  <a:pt x="3562324" y="3428415"/>
                </a:cubicBezTo>
                <a:cubicBezTo>
                  <a:pt x="3600851" y="3352977"/>
                  <a:pt x="3639376" y="3428415"/>
                  <a:pt x="3676296" y="3428415"/>
                </a:cubicBezTo>
                <a:cubicBezTo>
                  <a:pt x="3676296" y="3391498"/>
                  <a:pt x="3791873" y="3428415"/>
                  <a:pt x="3791873" y="3391498"/>
                </a:cubicBezTo>
                <a:cubicBezTo>
                  <a:pt x="3828793" y="3391498"/>
                  <a:pt x="3828793" y="3428415"/>
                  <a:pt x="3867319" y="3391498"/>
                </a:cubicBezTo>
                <a:cubicBezTo>
                  <a:pt x="3867319" y="3391498"/>
                  <a:pt x="3867319" y="3391498"/>
                  <a:pt x="3905845" y="3352977"/>
                </a:cubicBezTo>
                <a:cubicBezTo>
                  <a:pt x="3791873" y="3352977"/>
                  <a:pt x="3676296" y="3391498"/>
                  <a:pt x="3676296" y="3316060"/>
                </a:cubicBezTo>
                <a:close/>
                <a:moveTo>
                  <a:pt x="3181884" y="3316060"/>
                </a:moveTo>
                <a:lnTo>
                  <a:pt x="3184009" y="3318751"/>
                </a:lnTo>
                <a:lnTo>
                  <a:pt x="3179920" y="3318480"/>
                </a:lnTo>
                <a:close/>
                <a:moveTo>
                  <a:pt x="2839970" y="3316060"/>
                </a:moveTo>
                <a:cubicBezTo>
                  <a:pt x="2839970" y="3352977"/>
                  <a:pt x="2762918" y="3316060"/>
                  <a:pt x="2799839" y="3352977"/>
                </a:cubicBezTo>
                <a:cubicBezTo>
                  <a:pt x="2839970" y="3391498"/>
                  <a:pt x="2915416" y="3391498"/>
                  <a:pt x="2952336" y="3352977"/>
                </a:cubicBezTo>
                <a:cubicBezTo>
                  <a:pt x="2915416" y="3316060"/>
                  <a:pt x="2839970" y="3316060"/>
                  <a:pt x="2915416" y="3352977"/>
                </a:cubicBezTo>
                <a:cubicBezTo>
                  <a:pt x="2839970" y="3352977"/>
                  <a:pt x="2876890" y="3316060"/>
                  <a:pt x="2839970" y="3316060"/>
                </a:cubicBezTo>
                <a:close/>
                <a:moveTo>
                  <a:pt x="2692489" y="3299708"/>
                </a:moveTo>
                <a:cubicBezTo>
                  <a:pt x="2681051" y="3301012"/>
                  <a:pt x="2666604" y="3306028"/>
                  <a:pt x="2647342" y="3316060"/>
                </a:cubicBezTo>
                <a:cubicBezTo>
                  <a:pt x="2647342" y="3352977"/>
                  <a:pt x="2647342" y="3352977"/>
                  <a:pt x="2610421" y="3391498"/>
                </a:cubicBezTo>
                <a:cubicBezTo>
                  <a:pt x="2647342" y="3391498"/>
                  <a:pt x="2687472" y="3391498"/>
                  <a:pt x="2687472" y="3391498"/>
                </a:cubicBezTo>
                <a:cubicBezTo>
                  <a:pt x="2647342" y="3352977"/>
                  <a:pt x="2762918" y="3352977"/>
                  <a:pt x="2762918" y="3352977"/>
                </a:cubicBezTo>
                <a:cubicBezTo>
                  <a:pt x="2734024" y="3325289"/>
                  <a:pt x="2726800" y="3295796"/>
                  <a:pt x="2692489" y="3299708"/>
                </a:cubicBezTo>
                <a:close/>
                <a:moveTo>
                  <a:pt x="2354988" y="3299131"/>
                </a:moveTo>
                <a:cubicBezTo>
                  <a:pt x="2347163" y="3301012"/>
                  <a:pt x="2342347" y="3306028"/>
                  <a:pt x="2342347" y="3316060"/>
                </a:cubicBezTo>
                <a:cubicBezTo>
                  <a:pt x="2342347" y="3352977"/>
                  <a:pt x="2457924" y="3352977"/>
                  <a:pt x="2457924" y="3391498"/>
                </a:cubicBezTo>
                <a:cubicBezTo>
                  <a:pt x="2382478" y="3352977"/>
                  <a:pt x="2457924" y="3391498"/>
                  <a:pt x="2382478" y="3428415"/>
                </a:cubicBezTo>
                <a:cubicBezTo>
                  <a:pt x="2439063" y="3458510"/>
                  <a:pt x="2473976" y="3422696"/>
                  <a:pt x="2504827" y="3402909"/>
                </a:cubicBezTo>
                <a:lnTo>
                  <a:pt x="2519728" y="3397269"/>
                </a:lnTo>
                <a:lnTo>
                  <a:pt x="2518045" y="3407072"/>
                </a:lnTo>
                <a:cubicBezTo>
                  <a:pt x="2519926" y="3412264"/>
                  <a:pt x="2524942" y="3419186"/>
                  <a:pt x="2534975" y="3428415"/>
                </a:cubicBezTo>
                <a:cubicBezTo>
                  <a:pt x="2571895" y="3428415"/>
                  <a:pt x="2571895" y="3428415"/>
                  <a:pt x="2610421" y="3428415"/>
                </a:cubicBezTo>
                <a:cubicBezTo>
                  <a:pt x="2534975" y="3352977"/>
                  <a:pt x="2610421" y="3352977"/>
                  <a:pt x="2610421" y="3316060"/>
                </a:cubicBezTo>
                <a:cubicBezTo>
                  <a:pt x="2534975" y="3316060"/>
                  <a:pt x="2534975" y="3352977"/>
                  <a:pt x="2494844" y="3352977"/>
                </a:cubicBezTo>
                <a:cubicBezTo>
                  <a:pt x="2494844" y="3352977"/>
                  <a:pt x="2457924" y="3352977"/>
                  <a:pt x="2457924" y="3316060"/>
                </a:cubicBezTo>
                <a:cubicBezTo>
                  <a:pt x="2429030" y="3316060"/>
                  <a:pt x="2378465" y="3293489"/>
                  <a:pt x="2354988" y="3299131"/>
                </a:cubicBezTo>
                <a:close/>
                <a:moveTo>
                  <a:pt x="3409827" y="3275933"/>
                </a:moveTo>
                <a:cubicBezTo>
                  <a:pt x="3334382" y="3316060"/>
                  <a:pt x="3220410" y="3275933"/>
                  <a:pt x="3143358" y="3316060"/>
                </a:cubicBezTo>
                <a:lnTo>
                  <a:pt x="3179920" y="3318480"/>
                </a:lnTo>
                <a:lnTo>
                  <a:pt x="3164076" y="3338005"/>
                </a:lnTo>
                <a:cubicBezTo>
                  <a:pt x="3132022" y="3355385"/>
                  <a:pt x="3067913" y="3362607"/>
                  <a:pt x="3067913" y="3391498"/>
                </a:cubicBezTo>
                <a:cubicBezTo>
                  <a:pt x="3181884" y="3391498"/>
                  <a:pt x="3295856" y="3428415"/>
                  <a:pt x="3372907" y="3352977"/>
                </a:cubicBezTo>
                <a:cubicBezTo>
                  <a:pt x="3334382" y="3352977"/>
                  <a:pt x="3257330" y="3352977"/>
                  <a:pt x="3220410" y="3352977"/>
                </a:cubicBezTo>
                <a:cubicBezTo>
                  <a:pt x="3191516" y="3352977"/>
                  <a:pt x="3205963" y="3352977"/>
                  <a:pt x="3198739" y="3337403"/>
                </a:cubicBezTo>
                <a:lnTo>
                  <a:pt x="3184009" y="3318751"/>
                </a:lnTo>
                <a:lnTo>
                  <a:pt x="3212308" y="3320624"/>
                </a:lnTo>
                <a:cubicBezTo>
                  <a:pt x="3289435" y="3327396"/>
                  <a:pt x="3382137" y="3333716"/>
                  <a:pt x="3409827" y="3275933"/>
                </a:cubicBezTo>
                <a:close/>
                <a:moveTo>
                  <a:pt x="894426" y="3275933"/>
                </a:moveTo>
                <a:cubicBezTo>
                  <a:pt x="932952" y="3275933"/>
                  <a:pt x="1010004" y="3316060"/>
                  <a:pt x="1010004" y="3275933"/>
                </a:cubicBezTo>
                <a:cubicBezTo>
                  <a:pt x="932952" y="3275933"/>
                  <a:pt x="894426" y="3275933"/>
                  <a:pt x="894426" y="3275933"/>
                </a:cubicBezTo>
                <a:close/>
                <a:moveTo>
                  <a:pt x="652036" y="3229186"/>
                </a:moveTo>
                <a:cubicBezTo>
                  <a:pt x="599866" y="3228985"/>
                  <a:pt x="552512" y="3238214"/>
                  <a:pt x="552512" y="3275933"/>
                </a:cubicBezTo>
                <a:cubicBezTo>
                  <a:pt x="552512" y="3275933"/>
                  <a:pt x="741929" y="3316060"/>
                  <a:pt x="780455" y="3239017"/>
                </a:cubicBezTo>
                <a:cubicBezTo>
                  <a:pt x="761192" y="3239017"/>
                  <a:pt x="704206" y="3229387"/>
                  <a:pt x="652036" y="3229186"/>
                </a:cubicBezTo>
                <a:close/>
                <a:moveTo>
                  <a:pt x="56494" y="3123453"/>
                </a:moveTo>
                <a:cubicBezTo>
                  <a:pt x="95020" y="3123453"/>
                  <a:pt x="56494" y="3123453"/>
                  <a:pt x="95020" y="3163579"/>
                </a:cubicBezTo>
                <a:cubicBezTo>
                  <a:pt x="133546" y="3163579"/>
                  <a:pt x="95020" y="3123453"/>
                  <a:pt x="170466" y="3123453"/>
                </a:cubicBezTo>
                <a:cubicBezTo>
                  <a:pt x="170466" y="3163579"/>
                  <a:pt x="95020" y="3163579"/>
                  <a:pt x="133546" y="3200495"/>
                </a:cubicBezTo>
                <a:cubicBezTo>
                  <a:pt x="95020" y="3200495"/>
                  <a:pt x="56494" y="3200495"/>
                  <a:pt x="56494" y="3163579"/>
                </a:cubicBezTo>
                <a:cubicBezTo>
                  <a:pt x="37232" y="3163579"/>
                  <a:pt x="27600" y="3172808"/>
                  <a:pt x="18170" y="3186852"/>
                </a:cubicBezTo>
                <a:lnTo>
                  <a:pt x="0" y="3212385"/>
                </a:lnTo>
                <a:lnTo>
                  <a:pt x="0" y="3145666"/>
                </a:lnTo>
                <a:lnTo>
                  <a:pt x="4324" y="3143516"/>
                </a:lnTo>
                <a:cubicBezTo>
                  <a:pt x="28001" y="3133485"/>
                  <a:pt x="56494" y="3123453"/>
                  <a:pt x="56494" y="3123453"/>
                </a:cubicBezTo>
                <a:close/>
                <a:moveTo>
                  <a:pt x="3104833" y="3086536"/>
                </a:moveTo>
                <a:cubicBezTo>
                  <a:pt x="3104833" y="3086536"/>
                  <a:pt x="3104833" y="3123453"/>
                  <a:pt x="3067913" y="3163579"/>
                </a:cubicBezTo>
                <a:cubicBezTo>
                  <a:pt x="3067913" y="3123453"/>
                  <a:pt x="3029387" y="3086536"/>
                  <a:pt x="3104833" y="3086536"/>
                </a:cubicBezTo>
                <a:close/>
                <a:moveTo>
                  <a:pt x="4015602" y="3076053"/>
                </a:moveTo>
                <a:cubicBezTo>
                  <a:pt x="4002961" y="3074398"/>
                  <a:pt x="3990922" y="3076906"/>
                  <a:pt x="3981290" y="3086536"/>
                </a:cubicBezTo>
                <a:cubicBezTo>
                  <a:pt x="4019817" y="3086536"/>
                  <a:pt x="4019817" y="3123453"/>
                  <a:pt x="4096868" y="3123453"/>
                </a:cubicBezTo>
                <a:cubicBezTo>
                  <a:pt x="4096868" y="3123453"/>
                  <a:pt x="4053526" y="3081019"/>
                  <a:pt x="4015602" y="3076053"/>
                </a:cubicBezTo>
                <a:close/>
                <a:moveTo>
                  <a:pt x="4205165" y="3074587"/>
                </a:moveTo>
                <a:lnTo>
                  <a:pt x="4210839" y="3076705"/>
                </a:lnTo>
                <a:lnTo>
                  <a:pt x="4214868" y="3081850"/>
                </a:lnTo>
                <a:lnTo>
                  <a:pt x="4207578" y="3080442"/>
                </a:lnTo>
                <a:close/>
                <a:moveTo>
                  <a:pt x="3562324" y="3048015"/>
                </a:moveTo>
                <a:cubicBezTo>
                  <a:pt x="3600851" y="3048015"/>
                  <a:pt x="3600851" y="3048015"/>
                  <a:pt x="3639376" y="3048015"/>
                </a:cubicBezTo>
                <a:cubicBezTo>
                  <a:pt x="3600851" y="3048015"/>
                  <a:pt x="3562324" y="3048015"/>
                  <a:pt x="3562324" y="3086536"/>
                </a:cubicBezTo>
                <a:cubicBezTo>
                  <a:pt x="3562324" y="3086536"/>
                  <a:pt x="3562324" y="3086536"/>
                  <a:pt x="3557709" y="3086536"/>
                </a:cubicBezTo>
                <a:lnTo>
                  <a:pt x="3534961" y="3086536"/>
                </a:lnTo>
                <a:cubicBezTo>
                  <a:pt x="3536842" y="3086536"/>
                  <a:pt x="3534635" y="3086536"/>
                  <a:pt x="3525405" y="3086536"/>
                </a:cubicBezTo>
                <a:cubicBezTo>
                  <a:pt x="3525405" y="3086536"/>
                  <a:pt x="3525405" y="3086536"/>
                  <a:pt x="3562324" y="3048015"/>
                </a:cubicBezTo>
                <a:close/>
                <a:moveTo>
                  <a:pt x="3409827" y="3048015"/>
                </a:moveTo>
                <a:cubicBezTo>
                  <a:pt x="3448353" y="3048015"/>
                  <a:pt x="3448353" y="3048015"/>
                  <a:pt x="3486879" y="3048015"/>
                </a:cubicBezTo>
                <a:lnTo>
                  <a:pt x="3486879" y="3086536"/>
                </a:lnTo>
                <a:cubicBezTo>
                  <a:pt x="3486879" y="3123453"/>
                  <a:pt x="3448353" y="3123453"/>
                  <a:pt x="3448353" y="3123453"/>
                </a:cubicBezTo>
                <a:cubicBezTo>
                  <a:pt x="3409827" y="3123453"/>
                  <a:pt x="3409827" y="3123453"/>
                  <a:pt x="3409827" y="3086536"/>
                </a:cubicBezTo>
                <a:cubicBezTo>
                  <a:pt x="3486879" y="3123453"/>
                  <a:pt x="3448353" y="3086536"/>
                  <a:pt x="3409827" y="3048015"/>
                </a:cubicBezTo>
                <a:close/>
                <a:moveTo>
                  <a:pt x="4629805" y="3009493"/>
                </a:moveTo>
                <a:cubicBezTo>
                  <a:pt x="4629805" y="3048015"/>
                  <a:pt x="4629805" y="3048015"/>
                  <a:pt x="4629805" y="3048015"/>
                </a:cubicBezTo>
                <a:cubicBezTo>
                  <a:pt x="4629805" y="3048015"/>
                  <a:pt x="4706856" y="3086536"/>
                  <a:pt x="4706856" y="3009493"/>
                </a:cubicBezTo>
                <a:cubicBezTo>
                  <a:pt x="4706856" y="3009493"/>
                  <a:pt x="4666726" y="3009493"/>
                  <a:pt x="4629805" y="3009493"/>
                </a:cubicBezTo>
                <a:close/>
                <a:moveTo>
                  <a:pt x="4401862" y="3009493"/>
                </a:moveTo>
                <a:cubicBezTo>
                  <a:pt x="4401862" y="3048015"/>
                  <a:pt x="4401862" y="3086536"/>
                  <a:pt x="4438782" y="3123453"/>
                </a:cubicBezTo>
                <a:cubicBezTo>
                  <a:pt x="4438782" y="3123453"/>
                  <a:pt x="4438782" y="3123453"/>
                  <a:pt x="4515834" y="3086536"/>
                </a:cubicBezTo>
                <a:cubicBezTo>
                  <a:pt x="4515834" y="3086536"/>
                  <a:pt x="4554359" y="3086536"/>
                  <a:pt x="4554359" y="3048015"/>
                </a:cubicBezTo>
                <a:cubicBezTo>
                  <a:pt x="4477308" y="3048015"/>
                  <a:pt x="4477308" y="3009493"/>
                  <a:pt x="4401862" y="3009493"/>
                </a:cubicBezTo>
                <a:close/>
                <a:moveTo>
                  <a:pt x="3334382" y="3009493"/>
                </a:moveTo>
                <a:cubicBezTo>
                  <a:pt x="3334382" y="3048015"/>
                  <a:pt x="3372907" y="3048015"/>
                  <a:pt x="3372907" y="3086536"/>
                </a:cubicBezTo>
                <a:cubicBezTo>
                  <a:pt x="3334382" y="3086536"/>
                  <a:pt x="3257330" y="3086536"/>
                  <a:pt x="3257330" y="3086536"/>
                </a:cubicBezTo>
                <a:lnTo>
                  <a:pt x="3257330" y="3123453"/>
                </a:lnTo>
                <a:cubicBezTo>
                  <a:pt x="3257330" y="3123453"/>
                  <a:pt x="3257330" y="3123453"/>
                  <a:pt x="3295856" y="3123453"/>
                </a:cubicBezTo>
                <a:cubicBezTo>
                  <a:pt x="3295856" y="3123453"/>
                  <a:pt x="3372907" y="3086536"/>
                  <a:pt x="3372907" y="3123453"/>
                </a:cubicBezTo>
                <a:cubicBezTo>
                  <a:pt x="3334382" y="3163579"/>
                  <a:pt x="3220410" y="3086536"/>
                  <a:pt x="3181884" y="3163579"/>
                </a:cubicBezTo>
                <a:cubicBezTo>
                  <a:pt x="3181884" y="3123453"/>
                  <a:pt x="3104833" y="3163579"/>
                  <a:pt x="3104833" y="3123453"/>
                </a:cubicBezTo>
                <a:cubicBezTo>
                  <a:pt x="3143358" y="3123453"/>
                  <a:pt x="3143358" y="3123453"/>
                  <a:pt x="3220410" y="3123453"/>
                </a:cubicBezTo>
                <a:cubicBezTo>
                  <a:pt x="3220410" y="3086536"/>
                  <a:pt x="3143358" y="3123453"/>
                  <a:pt x="3143358" y="3086536"/>
                </a:cubicBezTo>
                <a:cubicBezTo>
                  <a:pt x="3220410" y="3086536"/>
                  <a:pt x="3295856" y="3086536"/>
                  <a:pt x="3334382" y="3009493"/>
                </a:cubicBezTo>
                <a:close/>
                <a:moveTo>
                  <a:pt x="3828793" y="2934055"/>
                </a:moveTo>
                <a:cubicBezTo>
                  <a:pt x="3791873" y="2934055"/>
                  <a:pt x="3676296" y="2934055"/>
                  <a:pt x="3714822" y="2970972"/>
                </a:cubicBezTo>
                <a:cubicBezTo>
                  <a:pt x="3753348" y="2970972"/>
                  <a:pt x="3828793" y="2970972"/>
                  <a:pt x="3828793" y="2934055"/>
                </a:cubicBezTo>
                <a:close/>
                <a:moveTo>
                  <a:pt x="3639376" y="2934055"/>
                </a:moveTo>
                <a:cubicBezTo>
                  <a:pt x="3639376" y="2934055"/>
                  <a:pt x="3639376" y="2934055"/>
                  <a:pt x="3562324" y="2970972"/>
                </a:cubicBezTo>
                <a:cubicBezTo>
                  <a:pt x="3562324" y="3009493"/>
                  <a:pt x="3639376" y="3009493"/>
                  <a:pt x="3639376" y="2934055"/>
                </a:cubicBezTo>
                <a:close/>
                <a:moveTo>
                  <a:pt x="3448353" y="2934055"/>
                </a:moveTo>
                <a:cubicBezTo>
                  <a:pt x="3486879" y="2934055"/>
                  <a:pt x="3486879" y="2934055"/>
                  <a:pt x="3486879" y="2934055"/>
                </a:cubicBezTo>
                <a:cubicBezTo>
                  <a:pt x="3486879" y="2934055"/>
                  <a:pt x="3486879" y="2934055"/>
                  <a:pt x="3486879" y="2970972"/>
                </a:cubicBezTo>
                <a:cubicBezTo>
                  <a:pt x="3448353" y="2970972"/>
                  <a:pt x="3448353" y="2934055"/>
                  <a:pt x="3448353" y="2934055"/>
                </a:cubicBezTo>
                <a:close/>
                <a:moveTo>
                  <a:pt x="3486879" y="2858617"/>
                </a:moveTo>
                <a:cubicBezTo>
                  <a:pt x="3525405" y="2858617"/>
                  <a:pt x="3525405" y="2858617"/>
                  <a:pt x="3525405" y="2858617"/>
                </a:cubicBezTo>
                <a:cubicBezTo>
                  <a:pt x="3525405" y="2895534"/>
                  <a:pt x="3525405" y="2895534"/>
                  <a:pt x="3525405" y="2895534"/>
                </a:cubicBezTo>
                <a:cubicBezTo>
                  <a:pt x="3525405" y="2895534"/>
                  <a:pt x="3525405" y="2895534"/>
                  <a:pt x="3525405" y="2934055"/>
                </a:cubicBezTo>
                <a:cubicBezTo>
                  <a:pt x="3525405" y="2934055"/>
                  <a:pt x="3525405" y="2934055"/>
                  <a:pt x="3486879" y="2895534"/>
                </a:cubicBezTo>
                <a:lnTo>
                  <a:pt x="3486879" y="2890919"/>
                </a:lnTo>
                <a:cubicBezTo>
                  <a:pt x="3486879" y="2888612"/>
                  <a:pt x="3486879" y="2885151"/>
                  <a:pt x="3486879" y="2879960"/>
                </a:cubicBezTo>
                <a:lnTo>
                  <a:pt x="3486879" y="2874191"/>
                </a:lnTo>
                <a:cubicBezTo>
                  <a:pt x="3486879" y="2869000"/>
                  <a:pt x="3486879" y="2865539"/>
                  <a:pt x="3486879" y="2863232"/>
                </a:cubicBezTo>
                <a:cubicBezTo>
                  <a:pt x="3486879" y="2858617"/>
                  <a:pt x="3486879" y="2858617"/>
                  <a:pt x="3486879" y="2858617"/>
                </a:cubicBezTo>
                <a:close/>
                <a:moveTo>
                  <a:pt x="1931357" y="2841689"/>
                </a:moveTo>
                <a:cubicBezTo>
                  <a:pt x="1927294" y="2843570"/>
                  <a:pt x="1924986" y="2848586"/>
                  <a:pt x="1924986" y="2858617"/>
                </a:cubicBezTo>
                <a:cubicBezTo>
                  <a:pt x="1924986" y="2858617"/>
                  <a:pt x="1884855" y="2858617"/>
                  <a:pt x="1884855" y="2895534"/>
                </a:cubicBezTo>
                <a:cubicBezTo>
                  <a:pt x="1924986" y="2858617"/>
                  <a:pt x="1961907" y="2858617"/>
                  <a:pt x="2000433" y="2858617"/>
                </a:cubicBezTo>
                <a:cubicBezTo>
                  <a:pt x="1971538" y="2858617"/>
                  <a:pt x="1943547" y="2836046"/>
                  <a:pt x="1931357" y="2841689"/>
                </a:cubicBezTo>
                <a:close/>
                <a:moveTo>
                  <a:pt x="3867319" y="2781574"/>
                </a:moveTo>
                <a:cubicBezTo>
                  <a:pt x="3791873" y="2818491"/>
                  <a:pt x="3676296" y="2743053"/>
                  <a:pt x="3676296" y="2818491"/>
                </a:cubicBezTo>
                <a:cubicBezTo>
                  <a:pt x="3791873" y="2818491"/>
                  <a:pt x="3828793" y="2818491"/>
                  <a:pt x="3867319" y="2781574"/>
                </a:cubicBezTo>
                <a:close/>
                <a:moveTo>
                  <a:pt x="1237947" y="2781574"/>
                </a:moveTo>
                <a:cubicBezTo>
                  <a:pt x="1237947" y="2781574"/>
                  <a:pt x="1199421" y="2781574"/>
                  <a:pt x="1199421" y="2818491"/>
                </a:cubicBezTo>
                <a:lnTo>
                  <a:pt x="1237947" y="2818491"/>
                </a:lnTo>
                <a:cubicBezTo>
                  <a:pt x="1274867" y="2818491"/>
                  <a:pt x="1274867" y="2781574"/>
                  <a:pt x="1237947" y="2781574"/>
                </a:cubicBezTo>
                <a:close/>
                <a:moveTo>
                  <a:pt x="24031208" y="2765323"/>
                </a:moveTo>
                <a:cubicBezTo>
                  <a:pt x="24014504" y="2767129"/>
                  <a:pt x="24000158" y="2771944"/>
                  <a:pt x="23990526" y="2781574"/>
                </a:cubicBezTo>
                <a:cubicBezTo>
                  <a:pt x="24067576" y="2781574"/>
                  <a:pt x="24029050" y="2818491"/>
                  <a:pt x="23990526" y="2818491"/>
                </a:cubicBezTo>
                <a:cubicBezTo>
                  <a:pt x="23915080" y="2781574"/>
                  <a:pt x="23724056" y="2781574"/>
                  <a:pt x="23762582" y="2858617"/>
                </a:cubicBezTo>
                <a:cubicBezTo>
                  <a:pt x="23838028" y="2818491"/>
                  <a:pt x="23952000" y="2818491"/>
                  <a:pt x="24029050" y="2858617"/>
                </a:cubicBezTo>
                <a:cubicBezTo>
                  <a:pt x="23990526" y="2858617"/>
                  <a:pt x="23915080" y="2858617"/>
                  <a:pt x="23915080" y="2895534"/>
                </a:cubicBezTo>
                <a:cubicBezTo>
                  <a:pt x="23915080" y="2858617"/>
                  <a:pt x="23876554" y="2858617"/>
                  <a:pt x="23799502" y="2858617"/>
                </a:cubicBezTo>
                <a:cubicBezTo>
                  <a:pt x="23799502" y="2895534"/>
                  <a:pt x="23876554" y="2895534"/>
                  <a:pt x="23915080" y="2895534"/>
                </a:cubicBezTo>
                <a:cubicBezTo>
                  <a:pt x="23990526" y="2970972"/>
                  <a:pt x="24143022" y="2934055"/>
                  <a:pt x="24256994" y="2934055"/>
                </a:cubicBezTo>
                <a:cubicBezTo>
                  <a:pt x="24256994" y="2858617"/>
                  <a:pt x="24143022" y="2895534"/>
                  <a:pt x="24067576" y="2858617"/>
                </a:cubicBezTo>
                <a:cubicBezTo>
                  <a:pt x="24104496" y="2818491"/>
                  <a:pt x="24067576" y="2858617"/>
                  <a:pt x="24029050" y="2818491"/>
                </a:cubicBezTo>
                <a:cubicBezTo>
                  <a:pt x="24067576" y="2818491"/>
                  <a:pt x="24181548" y="2858617"/>
                  <a:pt x="24181548" y="2781574"/>
                </a:cubicBezTo>
                <a:cubicBezTo>
                  <a:pt x="24152654" y="2781574"/>
                  <a:pt x="24081320" y="2759906"/>
                  <a:pt x="24031208" y="2765323"/>
                </a:cubicBezTo>
                <a:close/>
                <a:moveTo>
                  <a:pt x="1542941" y="2706136"/>
                </a:moveTo>
                <a:cubicBezTo>
                  <a:pt x="1579861" y="2743053"/>
                  <a:pt x="1504415" y="2743053"/>
                  <a:pt x="1467495" y="2743053"/>
                </a:cubicBezTo>
                <a:cubicBezTo>
                  <a:pt x="1467495" y="2743053"/>
                  <a:pt x="1504415" y="2743053"/>
                  <a:pt x="1542941" y="2706136"/>
                </a:cubicBezTo>
                <a:close/>
                <a:moveTo>
                  <a:pt x="1322091" y="2691079"/>
                </a:moveTo>
                <a:lnTo>
                  <a:pt x="1351918" y="2706136"/>
                </a:lnTo>
                <a:cubicBezTo>
                  <a:pt x="1351918" y="2706136"/>
                  <a:pt x="1342688" y="2706136"/>
                  <a:pt x="1333458" y="2701321"/>
                </a:cubicBezTo>
                <a:close/>
                <a:moveTo>
                  <a:pt x="23647006" y="2667615"/>
                </a:moveTo>
                <a:cubicBezTo>
                  <a:pt x="23685530" y="2706136"/>
                  <a:pt x="23724056" y="2706136"/>
                  <a:pt x="23762582" y="2706136"/>
                </a:cubicBezTo>
                <a:cubicBezTo>
                  <a:pt x="23762582" y="2667615"/>
                  <a:pt x="23647006" y="2667615"/>
                  <a:pt x="23647006" y="2667615"/>
                </a:cubicBezTo>
                <a:close/>
                <a:moveTo>
                  <a:pt x="1219311" y="2651364"/>
                </a:moveTo>
                <a:cubicBezTo>
                  <a:pt x="1230723" y="2653169"/>
                  <a:pt x="1237947" y="2657984"/>
                  <a:pt x="1237947" y="2667615"/>
                </a:cubicBezTo>
                <a:cubicBezTo>
                  <a:pt x="1199421" y="2667615"/>
                  <a:pt x="1199421" y="2667615"/>
                  <a:pt x="1162501" y="2667615"/>
                </a:cubicBezTo>
                <a:cubicBezTo>
                  <a:pt x="1162501" y="2667615"/>
                  <a:pt x="1122370" y="2706136"/>
                  <a:pt x="1162501" y="2706136"/>
                </a:cubicBezTo>
                <a:cubicBezTo>
                  <a:pt x="1085449" y="2743053"/>
                  <a:pt x="1122370" y="2667615"/>
                  <a:pt x="1085449" y="2667615"/>
                </a:cubicBezTo>
                <a:cubicBezTo>
                  <a:pt x="1113140" y="2667615"/>
                  <a:pt x="1185074" y="2645946"/>
                  <a:pt x="1219311" y="2651364"/>
                </a:cubicBezTo>
                <a:close/>
                <a:moveTo>
                  <a:pt x="4286718" y="2633758"/>
                </a:moveTo>
                <a:cubicBezTo>
                  <a:pt x="4249942" y="2637520"/>
                  <a:pt x="4196392" y="2667615"/>
                  <a:pt x="4172314" y="2667615"/>
                </a:cubicBezTo>
                <a:cubicBezTo>
                  <a:pt x="4249365" y="2706136"/>
                  <a:pt x="4249365" y="2667615"/>
                  <a:pt x="4324811" y="2667615"/>
                </a:cubicBezTo>
                <a:cubicBezTo>
                  <a:pt x="4324811" y="2638724"/>
                  <a:pt x="4308783" y="2631501"/>
                  <a:pt x="4286718" y="2633758"/>
                </a:cubicBezTo>
                <a:close/>
                <a:moveTo>
                  <a:pt x="21398074" y="2629093"/>
                </a:moveTo>
                <a:cubicBezTo>
                  <a:pt x="21361152" y="2629093"/>
                  <a:pt x="21285706" y="2629093"/>
                  <a:pt x="21285706" y="2667615"/>
                </a:cubicBezTo>
                <a:cubicBezTo>
                  <a:pt x="21322628" y="2667615"/>
                  <a:pt x="21398074" y="2667615"/>
                  <a:pt x="21398074" y="2629093"/>
                </a:cubicBezTo>
                <a:close/>
                <a:moveTo>
                  <a:pt x="4249365" y="2629093"/>
                </a:moveTo>
                <a:cubicBezTo>
                  <a:pt x="4133788" y="2629093"/>
                  <a:pt x="4019817" y="2629093"/>
                  <a:pt x="3981290" y="2667615"/>
                </a:cubicBezTo>
                <a:cubicBezTo>
                  <a:pt x="4019817" y="2667615"/>
                  <a:pt x="4096868" y="2667615"/>
                  <a:pt x="4133788" y="2667615"/>
                </a:cubicBezTo>
                <a:cubicBezTo>
                  <a:pt x="4096868" y="2629093"/>
                  <a:pt x="4210839" y="2667615"/>
                  <a:pt x="4249365" y="2629093"/>
                </a:cubicBezTo>
                <a:close/>
                <a:moveTo>
                  <a:pt x="22999294" y="2600202"/>
                </a:moveTo>
                <a:cubicBezTo>
                  <a:pt x="22980432" y="2600202"/>
                  <a:pt x="22961570" y="2609832"/>
                  <a:pt x="22961570" y="2629093"/>
                </a:cubicBezTo>
                <a:cubicBezTo>
                  <a:pt x="23000096" y="2629093"/>
                  <a:pt x="23000096" y="2629093"/>
                  <a:pt x="23037016" y="2629093"/>
                </a:cubicBezTo>
                <a:cubicBezTo>
                  <a:pt x="23037016" y="2609832"/>
                  <a:pt x="23018154" y="2600202"/>
                  <a:pt x="22999294" y="2600202"/>
                </a:cubicBezTo>
                <a:close/>
                <a:moveTo>
                  <a:pt x="23380536" y="2590572"/>
                </a:moveTo>
                <a:cubicBezTo>
                  <a:pt x="23419062" y="2590572"/>
                  <a:pt x="23457588" y="2590572"/>
                  <a:pt x="23457588" y="2590572"/>
                </a:cubicBezTo>
                <a:cubicBezTo>
                  <a:pt x="23428694" y="2590572"/>
                  <a:pt x="23407022" y="2592979"/>
                  <a:pt x="23388988" y="2596591"/>
                </a:cubicBezTo>
                <a:lnTo>
                  <a:pt x="23382648" y="2598385"/>
                </a:lnTo>
                <a:close/>
                <a:moveTo>
                  <a:pt x="22990060" y="2574349"/>
                </a:moveTo>
                <a:cubicBezTo>
                  <a:pt x="22988570" y="2574709"/>
                  <a:pt x="22984996" y="2575574"/>
                  <a:pt x="22980230" y="2576728"/>
                </a:cubicBezTo>
                <a:lnTo>
                  <a:pt x="22972490" y="2578602"/>
                </a:lnTo>
                <a:lnTo>
                  <a:pt x="22966828" y="2579973"/>
                </a:lnTo>
                <a:cubicBezTo>
                  <a:pt x="22956402" y="2582496"/>
                  <a:pt x="22942106" y="2585957"/>
                  <a:pt x="22923044" y="2590572"/>
                </a:cubicBezTo>
                <a:cubicBezTo>
                  <a:pt x="22923044" y="2590572"/>
                  <a:pt x="22932576" y="2588264"/>
                  <a:pt x="22944490" y="2585380"/>
                </a:cubicBezTo>
                <a:lnTo>
                  <a:pt x="22972490" y="2578602"/>
                </a:lnTo>
                <a:lnTo>
                  <a:pt x="22987380" y="2574998"/>
                </a:lnTo>
                <a:cubicBezTo>
                  <a:pt x="22990954" y="2574132"/>
                  <a:pt x="22991548" y="2573988"/>
                  <a:pt x="22990060" y="2574349"/>
                </a:cubicBezTo>
                <a:close/>
                <a:moveTo>
                  <a:pt x="22465554" y="2553655"/>
                </a:moveTo>
                <a:cubicBezTo>
                  <a:pt x="22470370" y="2553655"/>
                  <a:pt x="22470996" y="2554834"/>
                  <a:pt x="22468260" y="2556897"/>
                </a:cubicBezTo>
                <a:lnTo>
                  <a:pt x="22465554" y="2558219"/>
                </a:lnTo>
                <a:close/>
                <a:moveTo>
                  <a:pt x="22160558" y="2553655"/>
                </a:moveTo>
                <a:cubicBezTo>
                  <a:pt x="22160558" y="2590572"/>
                  <a:pt x="22160558" y="2590572"/>
                  <a:pt x="22123638" y="2590572"/>
                </a:cubicBezTo>
                <a:lnTo>
                  <a:pt x="22123638" y="2629093"/>
                </a:lnTo>
                <a:cubicBezTo>
                  <a:pt x="22160558" y="2629093"/>
                  <a:pt x="22199084" y="2590572"/>
                  <a:pt x="22160558" y="2553655"/>
                </a:cubicBezTo>
                <a:close/>
                <a:moveTo>
                  <a:pt x="1956891" y="2505503"/>
                </a:moveTo>
                <a:cubicBezTo>
                  <a:pt x="1913750" y="2505503"/>
                  <a:pt x="1884855" y="2515134"/>
                  <a:pt x="1884855" y="2553655"/>
                </a:cubicBezTo>
                <a:cubicBezTo>
                  <a:pt x="1961907" y="2553655"/>
                  <a:pt x="1961907" y="2553655"/>
                  <a:pt x="2037353" y="2553655"/>
                </a:cubicBezTo>
                <a:cubicBezTo>
                  <a:pt x="2037353" y="2515134"/>
                  <a:pt x="2077483" y="2553655"/>
                  <a:pt x="2114404" y="2515134"/>
                </a:cubicBezTo>
                <a:cubicBezTo>
                  <a:pt x="2057418" y="2515134"/>
                  <a:pt x="2000031" y="2505503"/>
                  <a:pt x="1956891" y="2505503"/>
                </a:cubicBezTo>
                <a:close/>
                <a:moveTo>
                  <a:pt x="23107446" y="2466380"/>
                </a:moveTo>
                <a:cubicBezTo>
                  <a:pt x="23118884" y="2464574"/>
                  <a:pt x="23133332" y="2466982"/>
                  <a:pt x="23152594" y="2476612"/>
                </a:cubicBezTo>
                <a:lnTo>
                  <a:pt x="23114068" y="2476612"/>
                </a:lnTo>
                <a:cubicBezTo>
                  <a:pt x="23152594" y="2515134"/>
                  <a:pt x="23152594" y="2515134"/>
                  <a:pt x="23228040" y="2515134"/>
                </a:cubicBezTo>
                <a:cubicBezTo>
                  <a:pt x="23152594" y="2553655"/>
                  <a:pt x="23189514" y="2553655"/>
                  <a:pt x="23075542" y="2590572"/>
                </a:cubicBezTo>
                <a:cubicBezTo>
                  <a:pt x="23075542" y="2553655"/>
                  <a:pt x="23037016" y="2553655"/>
                  <a:pt x="23075542" y="2515134"/>
                </a:cubicBezTo>
                <a:cubicBezTo>
                  <a:pt x="23075542" y="2515134"/>
                  <a:pt x="23075542" y="2515134"/>
                  <a:pt x="23037016" y="2515134"/>
                </a:cubicBezTo>
                <a:cubicBezTo>
                  <a:pt x="23065910" y="2515134"/>
                  <a:pt x="23073134" y="2471797"/>
                  <a:pt x="23107446" y="2466380"/>
                </a:cubicBezTo>
                <a:close/>
                <a:moveTo>
                  <a:pt x="2037353" y="2438091"/>
                </a:moveTo>
                <a:cubicBezTo>
                  <a:pt x="2000433" y="2438091"/>
                  <a:pt x="1847935" y="2438091"/>
                  <a:pt x="1961907" y="2476612"/>
                </a:cubicBezTo>
                <a:cubicBezTo>
                  <a:pt x="1924986" y="2476612"/>
                  <a:pt x="1884855" y="2438091"/>
                  <a:pt x="1847935" y="2476612"/>
                </a:cubicBezTo>
                <a:cubicBezTo>
                  <a:pt x="1884855" y="2476612"/>
                  <a:pt x="1924986" y="2476612"/>
                  <a:pt x="1961907" y="2476612"/>
                </a:cubicBezTo>
                <a:cubicBezTo>
                  <a:pt x="2000433" y="2476612"/>
                  <a:pt x="2037353" y="2476612"/>
                  <a:pt x="2037353" y="2438091"/>
                </a:cubicBezTo>
                <a:close/>
                <a:moveTo>
                  <a:pt x="1720144" y="2346401"/>
                </a:moveTo>
                <a:cubicBezTo>
                  <a:pt x="1671460" y="2340984"/>
                  <a:pt x="1628420" y="2362653"/>
                  <a:pt x="1542941" y="2362653"/>
                </a:cubicBezTo>
                <a:cubicBezTo>
                  <a:pt x="1619992" y="2438091"/>
                  <a:pt x="1695438" y="2362653"/>
                  <a:pt x="1732358" y="2399569"/>
                </a:cubicBezTo>
                <a:cubicBezTo>
                  <a:pt x="1695438" y="2362653"/>
                  <a:pt x="1772489" y="2362653"/>
                  <a:pt x="1772489" y="2362653"/>
                </a:cubicBezTo>
                <a:cubicBezTo>
                  <a:pt x="1753226" y="2353022"/>
                  <a:pt x="1736371" y="2348207"/>
                  <a:pt x="1720144" y="2346401"/>
                </a:cubicBezTo>
                <a:close/>
                <a:moveTo>
                  <a:pt x="2342347" y="2324131"/>
                </a:moveTo>
                <a:cubicBezTo>
                  <a:pt x="2342347" y="2362653"/>
                  <a:pt x="2342347" y="2362653"/>
                  <a:pt x="2305426" y="2399569"/>
                </a:cubicBezTo>
                <a:cubicBezTo>
                  <a:pt x="2305426" y="2362653"/>
                  <a:pt x="2266901" y="2399569"/>
                  <a:pt x="2229981" y="2399569"/>
                </a:cubicBezTo>
                <a:cubicBezTo>
                  <a:pt x="2229981" y="2362653"/>
                  <a:pt x="2266901" y="2362653"/>
                  <a:pt x="2305426" y="2362653"/>
                </a:cubicBezTo>
                <a:cubicBezTo>
                  <a:pt x="2342347" y="2362653"/>
                  <a:pt x="2266901" y="2324131"/>
                  <a:pt x="2342347" y="2324131"/>
                </a:cubicBezTo>
                <a:close/>
                <a:moveTo>
                  <a:pt x="2152929" y="2324131"/>
                </a:moveTo>
                <a:cubicBezTo>
                  <a:pt x="2152929" y="2324131"/>
                  <a:pt x="2189850" y="2362653"/>
                  <a:pt x="2152929" y="2362653"/>
                </a:cubicBezTo>
                <a:cubicBezTo>
                  <a:pt x="2152929" y="2324131"/>
                  <a:pt x="2114404" y="2324131"/>
                  <a:pt x="2114404" y="2362653"/>
                </a:cubicBezTo>
                <a:cubicBezTo>
                  <a:pt x="2037353" y="2324131"/>
                  <a:pt x="2152929" y="2324131"/>
                  <a:pt x="2152929" y="2324131"/>
                </a:cubicBezTo>
                <a:close/>
                <a:moveTo>
                  <a:pt x="21484756" y="2307880"/>
                </a:moveTo>
                <a:cubicBezTo>
                  <a:pt x="21487164" y="2309685"/>
                  <a:pt x="21484756" y="2314501"/>
                  <a:pt x="21475124" y="2324131"/>
                </a:cubicBezTo>
                <a:cubicBezTo>
                  <a:pt x="21446230" y="2324131"/>
                  <a:pt x="21439006" y="2324131"/>
                  <a:pt x="21405372" y="2324131"/>
                </a:cubicBezTo>
                <a:lnTo>
                  <a:pt x="21398074" y="2324131"/>
                </a:lnTo>
                <a:cubicBezTo>
                  <a:pt x="21426968" y="2324131"/>
                  <a:pt x="21477532" y="2302463"/>
                  <a:pt x="21484756" y="2307880"/>
                </a:cubicBezTo>
                <a:close/>
                <a:moveTo>
                  <a:pt x="21688832" y="2282416"/>
                </a:moveTo>
                <a:lnTo>
                  <a:pt x="21741594" y="2285609"/>
                </a:lnTo>
                <a:lnTo>
                  <a:pt x="21742676" y="2300513"/>
                </a:lnTo>
                <a:lnTo>
                  <a:pt x="21741594" y="2300256"/>
                </a:lnTo>
                <a:close/>
                <a:moveTo>
                  <a:pt x="21932616" y="2248693"/>
                </a:moveTo>
                <a:cubicBezTo>
                  <a:pt x="21894090" y="2285609"/>
                  <a:pt x="21932616" y="2285609"/>
                  <a:pt x="22008062" y="2285609"/>
                </a:cubicBezTo>
                <a:cubicBezTo>
                  <a:pt x="22008062" y="2285609"/>
                  <a:pt x="22008062" y="2285609"/>
                  <a:pt x="22008062" y="2248693"/>
                </a:cubicBezTo>
                <a:cubicBezTo>
                  <a:pt x="21971142" y="2248693"/>
                  <a:pt x="21932616" y="2248693"/>
                  <a:pt x="21932616" y="2248693"/>
                </a:cubicBezTo>
                <a:close/>
                <a:moveTo>
                  <a:pt x="21589096" y="2248693"/>
                </a:moveTo>
                <a:lnTo>
                  <a:pt x="21688832" y="2282416"/>
                </a:lnTo>
                <a:lnTo>
                  <a:pt x="21665346" y="2280995"/>
                </a:lnTo>
                <a:cubicBezTo>
                  <a:pt x="21636852" y="2276380"/>
                  <a:pt x="21608360" y="2267151"/>
                  <a:pt x="21589096" y="2248693"/>
                </a:cubicBezTo>
                <a:close/>
                <a:moveTo>
                  <a:pt x="1579861" y="2248693"/>
                </a:moveTo>
                <a:cubicBezTo>
                  <a:pt x="1619992" y="2285609"/>
                  <a:pt x="1579861" y="2285609"/>
                  <a:pt x="1619992" y="2324131"/>
                </a:cubicBezTo>
                <a:cubicBezTo>
                  <a:pt x="1656913" y="2285609"/>
                  <a:pt x="1732358" y="2285609"/>
                  <a:pt x="1732358" y="2324131"/>
                </a:cubicBezTo>
                <a:cubicBezTo>
                  <a:pt x="1772489" y="2324131"/>
                  <a:pt x="1772489" y="2324131"/>
                  <a:pt x="1772489" y="2285609"/>
                </a:cubicBezTo>
                <a:cubicBezTo>
                  <a:pt x="1847935" y="2324131"/>
                  <a:pt x="1924986" y="2285609"/>
                  <a:pt x="1961907" y="2324131"/>
                </a:cubicBezTo>
                <a:cubicBezTo>
                  <a:pt x="1961907" y="2324131"/>
                  <a:pt x="1924986" y="2324131"/>
                  <a:pt x="1884855" y="2324131"/>
                </a:cubicBezTo>
                <a:cubicBezTo>
                  <a:pt x="1924986" y="2438091"/>
                  <a:pt x="2037353" y="2285609"/>
                  <a:pt x="2077483" y="2324131"/>
                </a:cubicBezTo>
                <a:cubicBezTo>
                  <a:pt x="2077483" y="2362653"/>
                  <a:pt x="2000433" y="2324131"/>
                  <a:pt x="2000433" y="2362653"/>
                </a:cubicBezTo>
                <a:cubicBezTo>
                  <a:pt x="2037353" y="2362653"/>
                  <a:pt x="2077483" y="2362653"/>
                  <a:pt x="2114404" y="2399569"/>
                </a:cubicBezTo>
                <a:cubicBezTo>
                  <a:pt x="2152929" y="2362653"/>
                  <a:pt x="2114404" y="2362653"/>
                  <a:pt x="2152929" y="2362653"/>
                </a:cubicBezTo>
                <a:cubicBezTo>
                  <a:pt x="2152929" y="2399569"/>
                  <a:pt x="2189850" y="2399569"/>
                  <a:pt x="2189850" y="2438091"/>
                </a:cubicBezTo>
                <a:cubicBezTo>
                  <a:pt x="2189850" y="2399569"/>
                  <a:pt x="2152929" y="2438091"/>
                  <a:pt x="2114404" y="2438091"/>
                </a:cubicBezTo>
                <a:cubicBezTo>
                  <a:pt x="2077483" y="2438091"/>
                  <a:pt x="2114404" y="2476612"/>
                  <a:pt x="2077483" y="2476612"/>
                </a:cubicBezTo>
                <a:cubicBezTo>
                  <a:pt x="2114404" y="2476612"/>
                  <a:pt x="2152929" y="2515134"/>
                  <a:pt x="2189850" y="2515134"/>
                </a:cubicBezTo>
                <a:cubicBezTo>
                  <a:pt x="2189850" y="2553655"/>
                  <a:pt x="2152929" y="2553655"/>
                  <a:pt x="2189850" y="2590572"/>
                </a:cubicBezTo>
                <a:cubicBezTo>
                  <a:pt x="2189850" y="2590572"/>
                  <a:pt x="2229981" y="2590572"/>
                  <a:pt x="2266901" y="2590572"/>
                </a:cubicBezTo>
                <a:cubicBezTo>
                  <a:pt x="2152929" y="2553655"/>
                  <a:pt x="2382478" y="2590572"/>
                  <a:pt x="2382478" y="2553655"/>
                </a:cubicBezTo>
                <a:cubicBezTo>
                  <a:pt x="2382478" y="2629093"/>
                  <a:pt x="2457924" y="2590572"/>
                  <a:pt x="2534975" y="2590572"/>
                </a:cubicBezTo>
                <a:cubicBezTo>
                  <a:pt x="2534975" y="2590572"/>
                  <a:pt x="2494844" y="2590572"/>
                  <a:pt x="2494844" y="2553655"/>
                </a:cubicBezTo>
                <a:cubicBezTo>
                  <a:pt x="2571895" y="2553655"/>
                  <a:pt x="2534975" y="2590572"/>
                  <a:pt x="2571895" y="2629093"/>
                </a:cubicBezTo>
                <a:cubicBezTo>
                  <a:pt x="2534975" y="2629093"/>
                  <a:pt x="2457924" y="2629093"/>
                  <a:pt x="2419399" y="2629093"/>
                </a:cubicBezTo>
                <a:cubicBezTo>
                  <a:pt x="2419399" y="2667615"/>
                  <a:pt x="2419399" y="2667615"/>
                  <a:pt x="2457924" y="2667615"/>
                </a:cubicBezTo>
                <a:cubicBezTo>
                  <a:pt x="2457924" y="2706136"/>
                  <a:pt x="2382478" y="2706136"/>
                  <a:pt x="2382478" y="2706136"/>
                </a:cubicBezTo>
                <a:cubicBezTo>
                  <a:pt x="2342347" y="2706136"/>
                  <a:pt x="2457924" y="2706136"/>
                  <a:pt x="2419399" y="2667615"/>
                </a:cubicBezTo>
                <a:cubicBezTo>
                  <a:pt x="2382478" y="2667615"/>
                  <a:pt x="2305426" y="2629093"/>
                  <a:pt x="2305426" y="2706136"/>
                </a:cubicBezTo>
                <a:cubicBezTo>
                  <a:pt x="2266901" y="2706136"/>
                  <a:pt x="2266901" y="2667615"/>
                  <a:pt x="2266901" y="2667615"/>
                </a:cubicBezTo>
                <a:cubicBezTo>
                  <a:pt x="2189850" y="2667615"/>
                  <a:pt x="2114404" y="2706136"/>
                  <a:pt x="2077483" y="2667615"/>
                </a:cubicBezTo>
                <a:cubicBezTo>
                  <a:pt x="2000433" y="2629093"/>
                  <a:pt x="1809410" y="2667615"/>
                  <a:pt x="1695438" y="2706136"/>
                </a:cubicBezTo>
                <a:cubicBezTo>
                  <a:pt x="1579861" y="2706136"/>
                  <a:pt x="1542941" y="2706136"/>
                  <a:pt x="1314997" y="2667615"/>
                </a:cubicBezTo>
                <a:cubicBezTo>
                  <a:pt x="1314997" y="2677245"/>
                  <a:pt x="1317305" y="2684468"/>
                  <a:pt x="1320766" y="2689885"/>
                </a:cubicBezTo>
                <a:lnTo>
                  <a:pt x="1322091" y="2691079"/>
                </a:lnTo>
                <a:lnTo>
                  <a:pt x="1318534" y="2689283"/>
                </a:lnTo>
                <a:cubicBezTo>
                  <a:pt x="1281288" y="2682060"/>
                  <a:pt x="1237947" y="2696506"/>
                  <a:pt x="1237947" y="2667615"/>
                </a:cubicBezTo>
                <a:cubicBezTo>
                  <a:pt x="1274867" y="2667615"/>
                  <a:pt x="1390444" y="2667615"/>
                  <a:pt x="1427364" y="2629093"/>
                </a:cubicBezTo>
                <a:cubicBezTo>
                  <a:pt x="1467495" y="2629093"/>
                  <a:pt x="1467495" y="2667615"/>
                  <a:pt x="1467495" y="2667615"/>
                </a:cubicBezTo>
                <a:cubicBezTo>
                  <a:pt x="1579861" y="2629093"/>
                  <a:pt x="1732358" y="2667615"/>
                  <a:pt x="1809410" y="2590572"/>
                </a:cubicBezTo>
                <a:cubicBezTo>
                  <a:pt x="1732358" y="2590572"/>
                  <a:pt x="1656913" y="2590572"/>
                  <a:pt x="1542941" y="2590572"/>
                </a:cubicBezTo>
                <a:cubicBezTo>
                  <a:pt x="1542941" y="2553655"/>
                  <a:pt x="1695438" y="2590572"/>
                  <a:pt x="1732358" y="2553655"/>
                </a:cubicBezTo>
                <a:cubicBezTo>
                  <a:pt x="1695438" y="2553655"/>
                  <a:pt x="1619992" y="2553655"/>
                  <a:pt x="1656913" y="2515134"/>
                </a:cubicBezTo>
                <a:cubicBezTo>
                  <a:pt x="1579861" y="2515134"/>
                  <a:pt x="1619992" y="2553655"/>
                  <a:pt x="1542941" y="2515134"/>
                </a:cubicBezTo>
                <a:cubicBezTo>
                  <a:pt x="1656913" y="2515134"/>
                  <a:pt x="1772489" y="2438091"/>
                  <a:pt x="1619992" y="2399569"/>
                </a:cubicBezTo>
                <a:cubicBezTo>
                  <a:pt x="1542941" y="2399569"/>
                  <a:pt x="1619992" y="2438091"/>
                  <a:pt x="1579861" y="2476612"/>
                </a:cubicBezTo>
                <a:cubicBezTo>
                  <a:pt x="1542941" y="2476612"/>
                  <a:pt x="1542941" y="2438091"/>
                  <a:pt x="1542941" y="2438091"/>
                </a:cubicBezTo>
                <a:cubicBezTo>
                  <a:pt x="1504415" y="2476612"/>
                  <a:pt x="1427364" y="2399569"/>
                  <a:pt x="1427364" y="2438091"/>
                </a:cubicBezTo>
                <a:cubicBezTo>
                  <a:pt x="1351918" y="2438091"/>
                  <a:pt x="1427364" y="2399569"/>
                  <a:pt x="1390444" y="2362653"/>
                </a:cubicBezTo>
                <a:cubicBezTo>
                  <a:pt x="1390444" y="2399569"/>
                  <a:pt x="1467495" y="2438091"/>
                  <a:pt x="1504415" y="2399569"/>
                </a:cubicBezTo>
                <a:cubicBezTo>
                  <a:pt x="1504415" y="2399569"/>
                  <a:pt x="1427364" y="2362653"/>
                  <a:pt x="1504415" y="2362653"/>
                </a:cubicBezTo>
                <a:cubicBezTo>
                  <a:pt x="1504415" y="2324131"/>
                  <a:pt x="1427364" y="2362653"/>
                  <a:pt x="1427364" y="2324131"/>
                </a:cubicBezTo>
                <a:cubicBezTo>
                  <a:pt x="1467495" y="2324131"/>
                  <a:pt x="1504415" y="2324131"/>
                  <a:pt x="1542941" y="2324131"/>
                </a:cubicBezTo>
                <a:cubicBezTo>
                  <a:pt x="1542941" y="2285609"/>
                  <a:pt x="1504415" y="2285609"/>
                  <a:pt x="1504415" y="2285609"/>
                </a:cubicBezTo>
                <a:cubicBezTo>
                  <a:pt x="1504415" y="2285609"/>
                  <a:pt x="1579861" y="2285609"/>
                  <a:pt x="1579861" y="2248693"/>
                </a:cubicBezTo>
                <a:close/>
                <a:moveTo>
                  <a:pt x="21398074" y="2134734"/>
                </a:moveTo>
                <a:cubicBezTo>
                  <a:pt x="21436598" y="2210172"/>
                  <a:pt x="21398074" y="2171650"/>
                  <a:pt x="21322628" y="2171650"/>
                </a:cubicBezTo>
                <a:cubicBezTo>
                  <a:pt x="21361152" y="2248693"/>
                  <a:pt x="21513650" y="2134734"/>
                  <a:pt x="21475124" y="2248693"/>
                </a:cubicBezTo>
                <a:lnTo>
                  <a:pt x="21398074" y="2248693"/>
                </a:lnTo>
                <a:cubicBezTo>
                  <a:pt x="21398074" y="2248693"/>
                  <a:pt x="21398074" y="2248693"/>
                  <a:pt x="21398074" y="2324131"/>
                </a:cubicBezTo>
                <a:lnTo>
                  <a:pt x="21361152" y="2324131"/>
                </a:lnTo>
                <a:cubicBezTo>
                  <a:pt x="21398074" y="2362653"/>
                  <a:pt x="21245576" y="2324131"/>
                  <a:pt x="21285706" y="2399569"/>
                </a:cubicBezTo>
                <a:cubicBezTo>
                  <a:pt x="21285706" y="2399569"/>
                  <a:pt x="21322628" y="2362653"/>
                  <a:pt x="21361152" y="2399569"/>
                </a:cubicBezTo>
                <a:cubicBezTo>
                  <a:pt x="21398074" y="2438091"/>
                  <a:pt x="21322628" y="2399569"/>
                  <a:pt x="21322628" y="2438091"/>
                </a:cubicBezTo>
                <a:cubicBezTo>
                  <a:pt x="21361152" y="2438091"/>
                  <a:pt x="21361152" y="2476612"/>
                  <a:pt x="21398074" y="2438091"/>
                </a:cubicBezTo>
                <a:cubicBezTo>
                  <a:pt x="21436598" y="2438091"/>
                  <a:pt x="21436598" y="2438091"/>
                  <a:pt x="21436598" y="2476612"/>
                </a:cubicBezTo>
                <a:cubicBezTo>
                  <a:pt x="21398074" y="2476612"/>
                  <a:pt x="21398074" y="2476612"/>
                  <a:pt x="21361152" y="2476612"/>
                </a:cubicBezTo>
                <a:cubicBezTo>
                  <a:pt x="21322628" y="2476612"/>
                  <a:pt x="21285706" y="2438091"/>
                  <a:pt x="21245576" y="2438091"/>
                </a:cubicBezTo>
                <a:cubicBezTo>
                  <a:pt x="21245576" y="2476612"/>
                  <a:pt x="21322628" y="2438091"/>
                  <a:pt x="21285706" y="2515134"/>
                </a:cubicBezTo>
                <a:cubicBezTo>
                  <a:pt x="21361152" y="2515134"/>
                  <a:pt x="21361152" y="2515134"/>
                  <a:pt x="21436598" y="2515134"/>
                </a:cubicBezTo>
                <a:lnTo>
                  <a:pt x="21436598" y="2553655"/>
                </a:lnTo>
                <a:cubicBezTo>
                  <a:pt x="21494386" y="2581343"/>
                  <a:pt x="21572944" y="2567499"/>
                  <a:pt x="21689198" y="2574421"/>
                </a:cubicBezTo>
                <a:lnTo>
                  <a:pt x="21793776" y="2587469"/>
                </a:lnTo>
                <a:lnTo>
                  <a:pt x="21780118" y="2590572"/>
                </a:lnTo>
                <a:cubicBezTo>
                  <a:pt x="21780118" y="2590572"/>
                  <a:pt x="21780118" y="2590572"/>
                  <a:pt x="21818644" y="2590572"/>
                </a:cubicBezTo>
                <a:lnTo>
                  <a:pt x="21793776" y="2587469"/>
                </a:lnTo>
                <a:lnTo>
                  <a:pt x="21808160" y="2584202"/>
                </a:lnTo>
                <a:cubicBezTo>
                  <a:pt x="21834796" y="2572013"/>
                  <a:pt x="21855564" y="2544025"/>
                  <a:pt x="21855564" y="2515134"/>
                </a:cubicBezTo>
                <a:cubicBezTo>
                  <a:pt x="21818644" y="2515134"/>
                  <a:pt x="21741594" y="2553655"/>
                  <a:pt x="21780118" y="2515134"/>
                </a:cubicBezTo>
                <a:cubicBezTo>
                  <a:pt x="21666148" y="2476612"/>
                  <a:pt x="21627622" y="2553655"/>
                  <a:pt x="21550570" y="2515134"/>
                </a:cubicBezTo>
                <a:cubicBezTo>
                  <a:pt x="21627622" y="2476612"/>
                  <a:pt x="21741594" y="2476612"/>
                  <a:pt x="21780118" y="2438091"/>
                </a:cubicBezTo>
                <a:cubicBezTo>
                  <a:pt x="21855564" y="2438091"/>
                  <a:pt x="21818644" y="2476612"/>
                  <a:pt x="21818644" y="2515134"/>
                </a:cubicBezTo>
                <a:cubicBezTo>
                  <a:pt x="21855564" y="2476612"/>
                  <a:pt x="21971142" y="2515134"/>
                  <a:pt x="21971142" y="2438091"/>
                </a:cubicBezTo>
                <a:cubicBezTo>
                  <a:pt x="21894090" y="2438091"/>
                  <a:pt x="21894090" y="2476612"/>
                  <a:pt x="21855564" y="2476612"/>
                </a:cubicBezTo>
                <a:cubicBezTo>
                  <a:pt x="21818644" y="2399569"/>
                  <a:pt x="21894090" y="2438091"/>
                  <a:pt x="21894090" y="2399569"/>
                </a:cubicBezTo>
                <a:cubicBezTo>
                  <a:pt x="21780118" y="2399569"/>
                  <a:pt x="21627622" y="2438091"/>
                  <a:pt x="21589096" y="2399569"/>
                </a:cubicBezTo>
                <a:cubicBezTo>
                  <a:pt x="21703068" y="2362653"/>
                  <a:pt x="21780118" y="2399569"/>
                  <a:pt x="21818644" y="2362653"/>
                </a:cubicBezTo>
                <a:cubicBezTo>
                  <a:pt x="21784934" y="2328946"/>
                  <a:pt x="21751226" y="2354226"/>
                  <a:pt x="21743324" y="2309460"/>
                </a:cubicBezTo>
                <a:lnTo>
                  <a:pt x="21742676" y="2300513"/>
                </a:lnTo>
                <a:lnTo>
                  <a:pt x="21814380" y="2317535"/>
                </a:lnTo>
                <a:cubicBezTo>
                  <a:pt x="21839412" y="2321724"/>
                  <a:pt x="21865598" y="2324131"/>
                  <a:pt x="21894090" y="2324131"/>
                </a:cubicBezTo>
                <a:cubicBezTo>
                  <a:pt x="21894090" y="2285609"/>
                  <a:pt x="21855564" y="2248693"/>
                  <a:pt x="21855564" y="2210172"/>
                </a:cubicBezTo>
                <a:cubicBezTo>
                  <a:pt x="21780118" y="2210172"/>
                  <a:pt x="21894090" y="2248693"/>
                  <a:pt x="21818644" y="2248693"/>
                </a:cubicBezTo>
                <a:cubicBezTo>
                  <a:pt x="21741594" y="2210172"/>
                  <a:pt x="21627622" y="2210172"/>
                  <a:pt x="21550570" y="2248693"/>
                </a:cubicBezTo>
                <a:lnTo>
                  <a:pt x="21560272" y="2238992"/>
                </a:lnTo>
                <a:lnTo>
                  <a:pt x="21565018" y="2234248"/>
                </a:lnTo>
                <a:cubicBezTo>
                  <a:pt x="21567426" y="2231840"/>
                  <a:pt x="21568630" y="2230636"/>
                  <a:pt x="21566824" y="2232442"/>
                </a:cubicBezTo>
                <a:lnTo>
                  <a:pt x="21560272" y="2238992"/>
                </a:lnTo>
                <a:lnTo>
                  <a:pt x="21555988" y="2243276"/>
                </a:lnTo>
                <a:cubicBezTo>
                  <a:pt x="21552978" y="2246286"/>
                  <a:pt x="21550570" y="2248693"/>
                  <a:pt x="21550570" y="2248693"/>
                </a:cubicBezTo>
                <a:cubicBezTo>
                  <a:pt x="21532110" y="2248693"/>
                  <a:pt x="21513248" y="2248693"/>
                  <a:pt x="21489370" y="2248693"/>
                </a:cubicBezTo>
                <a:lnTo>
                  <a:pt x="21475124" y="2248693"/>
                </a:lnTo>
                <a:cubicBezTo>
                  <a:pt x="21550570" y="2248693"/>
                  <a:pt x="21550570" y="2210172"/>
                  <a:pt x="21627622" y="2210172"/>
                </a:cubicBezTo>
                <a:cubicBezTo>
                  <a:pt x="21589096" y="2171650"/>
                  <a:pt x="21589096" y="2134734"/>
                  <a:pt x="21513650" y="2134734"/>
                </a:cubicBezTo>
                <a:cubicBezTo>
                  <a:pt x="21475124" y="2210172"/>
                  <a:pt x="21475124" y="2134734"/>
                  <a:pt x="21398074" y="2134734"/>
                </a:cubicBezTo>
                <a:close/>
                <a:moveTo>
                  <a:pt x="21703068" y="2057691"/>
                </a:moveTo>
                <a:cubicBezTo>
                  <a:pt x="21666148" y="2134734"/>
                  <a:pt x="21589096" y="2096212"/>
                  <a:pt x="21550570" y="2134734"/>
                </a:cubicBezTo>
                <a:cubicBezTo>
                  <a:pt x="21589096" y="2171650"/>
                  <a:pt x="21818644" y="2096212"/>
                  <a:pt x="21855564" y="2134734"/>
                </a:cubicBezTo>
                <a:cubicBezTo>
                  <a:pt x="21818644" y="2171650"/>
                  <a:pt x="21741594" y="2171650"/>
                  <a:pt x="21666148" y="2210172"/>
                </a:cubicBezTo>
                <a:cubicBezTo>
                  <a:pt x="21780118" y="2210172"/>
                  <a:pt x="21855564" y="2210172"/>
                  <a:pt x="21932616" y="2171650"/>
                </a:cubicBezTo>
                <a:lnTo>
                  <a:pt x="21894090" y="2210172"/>
                </a:lnTo>
                <a:cubicBezTo>
                  <a:pt x="22008062" y="2210172"/>
                  <a:pt x="21932616" y="2210172"/>
                  <a:pt x="22008062" y="2210172"/>
                </a:cubicBezTo>
                <a:cubicBezTo>
                  <a:pt x="22008062" y="2210172"/>
                  <a:pt x="22046588" y="2171650"/>
                  <a:pt x="22046588" y="2134734"/>
                </a:cubicBezTo>
                <a:cubicBezTo>
                  <a:pt x="21971142" y="2171650"/>
                  <a:pt x="21894090" y="2171650"/>
                  <a:pt x="21855564" y="2096212"/>
                </a:cubicBezTo>
                <a:cubicBezTo>
                  <a:pt x="21894090" y="2096212"/>
                  <a:pt x="21971142" y="2134734"/>
                  <a:pt x="21932616" y="2096212"/>
                </a:cubicBezTo>
                <a:cubicBezTo>
                  <a:pt x="21922984" y="2096212"/>
                  <a:pt x="21908638" y="2096212"/>
                  <a:pt x="21891934" y="2096212"/>
                </a:cubicBezTo>
                <a:lnTo>
                  <a:pt x="21855564" y="2096212"/>
                </a:lnTo>
                <a:lnTo>
                  <a:pt x="21837104" y="2096212"/>
                </a:lnTo>
                <a:cubicBezTo>
                  <a:pt x="21798980" y="2096212"/>
                  <a:pt x="21760856" y="2096212"/>
                  <a:pt x="21741594" y="2096212"/>
                </a:cubicBezTo>
                <a:cubicBezTo>
                  <a:pt x="21703068" y="2096212"/>
                  <a:pt x="21780118" y="2057691"/>
                  <a:pt x="21703068" y="2057691"/>
                </a:cubicBezTo>
                <a:close/>
                <a:moveTo>
                  <a:pt x="2114404" y="1905210"/>
                </a:moveTo>
                <a:cubicBezTo>
                  <a:pt x="2037353" y="1905210"/>
                  <a:pt x="2077483" y="1943731"/>
                  <a:pt x="2037353" y="1943731"/>
                </a:cubicBezTo>
                <a:cubicBezTo>
                  <a:pt x="2037353" y="1943731"/>
                  <a:pt x="2000433" y="1943731"/>
                  <a:pt x="2000433" y="1982253"/>
                </a:cubicBezTo>
                <a:cubicBezTo>
                  <a:pt x="2000433" y="1982253"/>
                  <a:pt x="2037353" y="1982253"/>
                  <a:pt x="2077483" y="1982253"/>
                </a:cubicBezTo>
                <a:cubicBezTo>
                  <a:pt x="2077483" y="1943731"/>
                  <a:pt x="2077483" y="1943731"/>
                  <a:pt x="2114404" y="1943731"/>
                </a:cubicBezTo>
                <a:cubicBezTo>
                  <a:pt x="2114404" y="1943731"/>
                  <a:pt x="2114404" y="1943731"/>
                  <a:pt x="2114404" y="1905210"/>
                </a:cubicBezTo>
                <a:close/>
                <a:moveTo>
                  <a:pt x="22199084" y="1876319"/>
                </a:moveTo>
                <a:cubicBezTo>
                  <a:pt x="22179820" y="1876319"/>
                  <a:pt x="22160558" y="1885949"/>
                  <a:pt x="22160558" y="1905210"/>
                </a:cubicBezTo>
                <a:cubicBezTo>
                  <a:pt x="22199084" y="1905210"/>
                  <a:pt x="22199084" y="1943731"/>
                  <a:pt x="22237610" y="1905210"/>
                </a:cubicBezTo>
                <a:cubicBezTo>
                  <a:pt x="22237610" y="1885949"/>
                  <a:pt x="22218346" y="1876319"/>
                  <a:pt x="22199084" y="1876319"/>
                </a:cubicBezTo>
                <a:close/>
                <a:moveTo>
                  <a:pt x="1732358" y="1866688"/>
                </a:moveTo>
                <a:cubicBezTo>
                  <a:pt x="1732358" y="1905210"/>
                  <a:pt x="1619992" y="1866688"/>
                  <a:pt x="1656913" y="1905210"/>
                </a:cubicBezTo>
                <a:cubicBezTo>
                  <a:pt x="1695438" y="1905210"/>
                  <a:pt x="1619992" y="1943731"/>
                  <a:pt x="1656913" y="1943731"/>
                </a:cubicBezTo>
                <a:cubicBezTo>
                  <a:pt x="1732358" y="1943731"/>
                  <a:pt x="1809410" y="1905210"/>
                  <a:pt x="1772489" y="1943731"/>
                </a:cubicBezTo>
                <a:cubicBezTo>
                  <a:pt x="1847935" y="1905210"/>
                  <a:pt x="1924986" y="1982253"/>
                  <a:pt x="1961907" y="1943731"/>
                </a:cubicBezTo>
                <a:cubicBezTo>
                  <a:pt x="1924986" y="1943731"/>
                  <a:pt x="1924986" y="1943731"/>
                  <a:pt x="1884855" y="1943731"/>
                </a:cubicBezTo>
                <a:cubicBezTo>
                  <a:pt x="1924986" y="1943731"/>
                  <a:pt x="2000433" y="1943731"/>
                  <a:pt x="2000433" y="1905210"/>
                </a:cubicBezTo>
                <a:cubicBezTo>
                  <a:pt x="1884855" y="1866688"/>
                  <a:pt x="1961907" y="1905210"/>
                  <a:pt x="1884855" y="1905210"/>
                </a:cubicBezTo>
                <a:lnTo>
                  <a:pt x="1884855" y="1866688"/>
                </a:lnTo>
                <a:cubicBezTo>
                  <a:pt x="1847935" y="1866688"/>
                  <a:pt x="1847935" y="1866688"/>
                  <a:pt x="1847935" y="1866688"/>
                </a:cubicBezTo>
                <a:cubicBezTo>
                  <a:pt x="1772489" y="1866688"/>
                  <a:pt x="1847935" y="1905210"/>
                  <a:pt x="1809410" y="1905210"/>
                </a:cubicBezTo>
                <a:cubicBezTo>
                  <a:pt x="1772489" y="1905210"/>
                  <a:pt x="1772489" y="1866688"/>
                  <a:pt x="1732358" y="1866688"/>
                </a:cubicBezTo>
                <a:close/>
                <a:moveTo>
                  <a:pt x="1579861" y="1866688"/>
                </a:moveTo>
                <a:cubicBezTo>
                  <a:pt x="1542941" y="1905210"/>
                  <a:pt x="1504415" y="1905210"/>
                  <a:pt x="1467495" y="1943731"/>
                </a:cubicBezTo>
                <a:cubicBezTo>
                  <a:pt x="1504415" y="1943731"/>
                  <a:pt x="1542941" y="1943731"/>
                  <a:pt x="1579861" y="1943731"/>
                </a:cubicBezTo>
                <a:cubicBezTo>
                  <a:pt x="1579861" y="1905210"/>
                  <a:pt x="1619992" y="1866688"/>
                  <a:pt x="1579861" y="1866688"/>
                </a:cubicBezTo>
                <a:close/>
                <a:moveTo>
                  <a:pt x="22366030" y="1839001"/>
                </a:moveTo>
                <a:cubicBezTo>
                  <a:pt x="22351582" y="1839001"/>
                  <a:pt x="22332320" y="1848230"/>
                  <a:pt x="22313056" y="1866688"/>
                </a:cubicBezTo>
                <a:cubicBezTo>
                  <a:pt x="22313056" y="1866688"/>
                  <a:pt x="22313056" y="1905210"/>
                  <a:pt x="22351582" y="1905210"/>
                </a:cubicBezTo>
                <a:cubicBezTo>
                  <a:pt x="22351582" y="1866688"/>
                  <a:pt x="22427028" y="1866688"/>
                  <a:pt x="22390108" y="1866688"/>
                </a:cubicBezTo>
                <a:cubicBezTo>
                  <a:pt x="22390108" y="1848230"/>
                  <a:pt x="22380476" y="1839001"/>
                  <a:pt x="22366030" y="1839001"/>
                </a:cubicBezTo>
                <a:close/>
                <a:moveTo>
                  <a:pt x="1162501" y="1829772"/>
                </a:moveTo>
                <a:cubicBezTo>
                  <a:pt x="1162501" y="1829772"/>
                  <a:pt x="1085449" y="1829772"/>
                  <a:pt x="1085449" y="1866688"/>
                </a:cubicBezTo>
                <a:lnTo>
                  <a:pt x="1046923" y="1866688"/>
                </a:lnTo>
                <a:cubicBezTo>
                  <a:pt x="1046923" y="1866688"/>
                  <a:pt x="1122370" y="1905210"/>
                  <a:pt x="1122370" y="1866688"/>
                </a:cubicBezTo>
                <a:cubicBezTo>
                  <a:pt x="1085449" y="1866688"/>
                  <a:pt x="1199421" y="1866688"/>
                  <a:pt x="1162501" y="1829772"/>
                </a:cubicBezTo>
                <a:close/>
                <a:moveTo>
                  <a:pt x="2896780" y="1774071"/>
                </a:moveTo>
                <a:cubicBezTo>
                  <a:pt x="2862543" y="1768879"/>
                  <a:pt x="2790609" y="1789645"/>
                  <a:pt x="2762918" y="1789645"/>
                </a:cubicBezTo>
                <a:cubicBezTo>
                  <a:pt x="2762918" y="1829772"/>
                  <a:pt x="2724392" y="1829772"/>
                  <a:pt x="2724392" y="1866688"/>
                </a:cubicBezTo>
                <a:cubicBezTo>
                  <a:pt x="2799839" y="1829772"/>
                  <a:pt x="2762918" y="1789645"/>
                  <a:pt x="2915416" y="1789645"/>
                </a:cubicBezTo>
                <a:cubicBezTo>
                  <a:pt x="2915416" y="1780416"/>
                  <a:pt x="2908192" y="1775801"/>
                  <a:pt x="2896780" y="1774071"/>
                </a:cubicBezTo>
                <a:close/>
                <a:moveTo>
                  <a:pt x="21780118" y="1752728"/>
                </a:moveTo>
                <a:cubicBezTo>
                  <a:pt x="21741594" y="1789645"/>
                  <a:pt x="21855564" y="1789645"/>
                  <a:pt x="21855564" y="1789645"/>
                </a:cubicBezTo>
                <a:cubicBezTo>
                  <a:pt x="21818644" y="1789645"/>
                  <a:pt x="21818644" y="1752728"/>
                  <a:pt x="21780118" y="1752728"/>
                </a:cubicBezTo>
                <a:close/>
                <a:moveTo>
                  <a:pt x="2990861" y="1752728"/>
                </a:moveTo>
                <a:cubicBezTo>
                  <a:pt x="2952336" y="1789645"/>
                  <a:pt x="3067913" y="1829772"/>
                  <a:pt x="3067913" y="1789645"/>
                </a:cubicBezTo>
                <a:cubicBezTo>
                  <a:pt x="3029387" y="1789645"/>
                  <a:pt x="3067913" y="1752728"/>
                  <a:pt x="2990861" y="1752728"/>
                </a:cubicBezTo>
                <a:close/>
                <a:moveTo>
                  <a:pt x="19808766" y="1498075"/>
                </a:moveTo>
                <a:cubicBezTo>
                  <a:pt x="19787322" y="1498226"/>
                  <a:pt x="19758728" y="1505549"/>
                  <a:pt x="19720604" y="1524809"/>
                </a:cubicBezTo>
                <a:cubicBezTo>
                  <a:pt x="19797656" y="1524809"/>
                  <a:pt x="19720604" y="1524809"/>
                  <a:pt x="19720604" y="1561726"/>
                </a:cubicBezTo>
                <a:cubicBezTo>
                  <a:pt x="19778394" y="1561726"/>
                  <a:pt x="19792840" y="1583394"/>
                  <a:pt x="19828280" y="1594228"/>
                </a:cubicBezTo>
                <a:lnTo>
                  <a:pt x="19853680" y="1597639"/>
                </a:lnTo>
                <a:lnTo>
                  <a:pt x="19836180" y="1600247"/>
                </a:lnTo>
                <a:cubicBezTo>
                  <a:pt x="19873102" y="1600247"/>
                  <a:pt x="19873102" y="1600247"/>
                  <a:pt x="19873102" y="1600247"/>
                </a:cubicBezTo>
                <a:lnTo>
                  <a:pt x="19853680" y="1597639"/>
                </a:lnTo>
                <a:lnTo>
                  <a:pt x="19868486" y="1595432"/>
                </a:lnTo>
                <a:cubicBezTo>
                  <a:pt x="19873102" y="1590617"/>
                  <a:pt x="19873102" y="1580987"/>
                  <a:pt x="19873102" y="1561726"/>
                </a:cubicBezTo>
                <a:cubicBezTo>
                  <a:pt x="19873102" y="1561726"/>
                  <a:pt x="19873102" y="1497624"/>
                  <a:pt x="19808766" y="1498075"/>
                </a:cubicBezTo>
                <a:close/>
                <a:moveTo>
                  <a:pt x="21703068" y="1447767"/>
                </a:moveTo>
                <a:cubicBezTo>
                  <a:pt x="21703068" y="1486288"/>
                  <a:pt x="21780118" y="1524809"/>
                  <a:pt x="21780118" y="1486288"/>
                </a:cubicBezTo>
                <a:cubicBezTo>
                  <a:pt x="21770486" y="1486288"/>
                  <a:pt x="21775202" y="1486288"/>
                  <a:pt x="21787092" y="1485687"/>
                </a:cubicBezTo>
                <a:lnTo>
                  <a:pt x="21816878" y="1483177"/>
                </a:lnTo>
                <a:lnTo>
                  <a:pt x="21818644" y="1486288"/>
                </a:lnTo>
                <a:lnTo>
                  <a:pt x="21818644" y="1483028"/>
                </a:lnTo>
                <a:lnTo>
                  <a:pt x="21837104" y="1481473"/>
                </a:lnTo>
                <a:cubicBezTo>
                  <a:pt x="21875228" y="1476658"/>
                  <a:pt x="21913354" y="1467027"/>
                  <a:pt x="21894090" y="1447767"/>
                </a:cubicBezTo>
                <a:cubicBezTo>
                  <a:pt x="21894090" y="1447767"/>
                  <a:pt x="21855564" y="1447767"/>
                  <a:pt x="21818644" y="1447767"/>
                </a:cubicBezTo>
                <a:cubicBezTo>
                  <a:pt x="21818644" y="1447767"/>
                  <a:pt x="21818644" y="1447767"/>
                  <a:pt x="21818644" y="1464018"/>
                </a:cubicBezTo>
                <a:lnTo>
                  <a:pt x="21818644" y="1483028"/>
                </a:lnTo>
                <a:lnTo>
                  <a:pt x="21816878" y="1483177"/>
                </a:lnTo>
                <a:lnTo>
                  <a:pt x="21806002" y="1464018"/>
                </a:lnTo>
                <a:cubicBezTo>
                  <a:pt x="21782526" y="1447767"/>
                  <a:pt x="21731962" y="1447767"/>
                  <a:pt x="21703068" y="1447767"/>
                </a:cubicBezTo>
                <a:close/>
                <a:moveTo>
                  <a:pt x="21491378" y="1393671"/>
                </a:moveTo>
                <a:cubicBezTo>
                  <a:pt x="21496794" y="1388480"/>
                  <a:pt x="21475124" y="1409245"/>
                  <a:pt x="21475124" y="1409245"/>
                </a:cubicBezTo>
                <a:cubicBezTo>
                  <a:pt x="21484756" y="1400016"/>
                  <a:pt x="21489572" y="1395402"/>
                  <a:pt x="21491378" y="1393671"/>
                </a:cubicBezTo>
                <a:close/>
                <a:moveTo>
                  <a:pt x="21703068" y="1372328"/>
                </a:moveTo>
                <a:lnTo>
                  <a:pt x="21714720" y="1383201"/>
                </a:lnTo>
                <a:lnTo>
                  <a:pt x="21707884" y="1390787"/>
                </a:lnTo>
                <a:cubicBezTo>
                  <a:pt x="21703068" y="1400016"/>
                  <a:pt x="21703068" y="1409245"/>
                  <a:pt x="21703068" y="1409245"/>
                </a:cubicBezTo>
                <a:cubicBezTo>
                  <a:pt x="21703068" y="1447767"/>
                  <a:pt x="21780118" y="1447767"/>
                  <a:pt x="21780118" y="1409245"/>
                </a:cubicBezTo>
                <a:cubicBezTo>
                  <a:pt x="21751226" y="1409245"/>
                  <a:pt x="21744002" y="1409245"/>
                  <a:pt x="21725942" y="1393671"/>
                </a:cubicBezTo>
                <a:lnTo>
                  <a:pt x="21714720" y="1383201"/>
                </a:lnTo>
                <a:lnTo>
                  <a:pt x="21719322" y="1378097"/>
                </a:lnTo>
                <a:cubicBezTo>
                  <a:pt x="21724738" y="1374636"/>
                  <a:pt x="21731962" y="1372328"/>
                  <a:pt x="21741594" y="1372328"/>
                </a:cubicBezTo>
                <a:close/>
                <a:moveTo>
                  <a:pt x="19608238" y="1372328"/>
                </a:moveTo>
                <a:cubicBezTo>
                  <a:pt x="19617468" y="1381558"/>
                  <a:pt x="19619574" y="1388480"/>
                  <a:pt x="19618170" y="1393671"/>
                </a:cubicBezTo>
                <a:lnTo>
                  <a:pt x="19611948" y="1399795"/>
                </a:lnTo>
                <a:lnTo>
                  <a:pt x="19609972" y="1400226"/>
                </a:lnTo>
                <a:lnTo>
                  <a:pt x="19609612" y="1402092"/>
                </a:lnTo>
                <a:lnTo>
                  <a:pt x="19607034" y="1404631"/>
                </a:lnTo>
                <a:cubicBezTo>
                  <a:pt x="19597402" y="1409245"/>
                  <a:pt x="19588172" y="1409245"/>
                  <a:pt x="19608238" y="1409245"/>
                </a:cubicBezTo>
                <a:lnTo>
                  <a:pt x="19609612" y="1402092"/>
                </a:lnTo>
                <a:lnTo>
                  <a:pt x="19611948" y="1399795"/>
                </a:lnTo>
                <a:lnTo>
                  <a:pt x="19615186" y="1399088"/>
                </a:lnTo>
                <a:cubicBezTo>
                  <a:pt x="19629106" y="1402925"/>
                  <a:pt x="19664020" y="1438136"/>
                  <a:pt x="19720604" y="1409245"/>
                </a:cubicBezTo>
                <a:cubicBezTo>
                  <a:pt x="19683684" y="1372328"/>
                  <a:pt x="19645158" y="1372328"/>
                  <a:pt x="19608238" y="1372328"/>
                </a:cubicBezTo>
                <a:close/>
                <a:moveTo>
                  <a:pt x="21841870" y="1323575"/>
                </a:moveTo>
                <a:cubicBezTo>
                  <a:pt x="21828176" y="1321769"/>
                  <a:pt x="21818644" y="1324177"/>
                  <a:pt x="21818644" y="1333808"/>
                </a:cubicBezTo>
                <a:cubicBezTo>
                  <a:pt x="21855564" y="1372328"/>
                  <a:pt x="21855564" y="1372328"/>
                  <a:pt x="21932616" y="1372328"/>
                </a:cubicBezTo>
                <a:cubicBezTo>
                  <a:pt x="21961510" y="1372328"/>
                  <a:pt x="21882954" y="1328992"/>
                  <a:pt x="21841870" y="1323575"/>
                </a:cubicBezTo>
                <a:close/>
                <a:moveTo>
                  <a:pt x="21550570" y="1256764"/>
                </a:moveTo>
                <a:cubicBezTo>
                  <a:pt x="21560202" y="1256764"/>
                  <a:pt x="21574548" y="1256764"/>
                  <a:pt x="21590074" y="1257366"/>
                </a:cubicBezTo>
                <a:lnTo>
                  <a:pt x="21603366" y="1258569"/>
                </a:lnTo>
                <a:lnTo>
                  <a:pt x="21554724" y="1259967"/>
                </a:lnTo>
                <a:close/>
                <a:moveTo>
                  <a:pt x="19831966" y="1189753"/>
                </a:moveTo>
                <a:cubicBezTo>
                  <a:pt x="19798858" y="1189753"/>
                  <a:pt x="19760734" y="1199784"/>
                  <a:pt x="19760734" y="1219848"/>
                </a:cubicBezTo>
                <a:cubicBezTo>
                  <a:pt x="19836180" y="1256764"/>
                  <a:pt x="19797656" y="1219848"/>
                  <a:pt x="19873102" y="1219848"/>
                </a:cubicBezTo>
                <a:cubicBezTo>
                  <a:pt x="19893168" y="1199784"/>
                  <a:pt x="19865076" y="1189753"/>
                  <a:pt x="19831966" y="1189753"/>
                </a:cubicBezTo>
                <a:close/>
                <a:moveTo>
                  <a:pt x="20218226" y="914885"/>
                </a:moveTo>
                <a:cubicBezTo>
                  <a:pt x="20255146" y="951802"/>
                  <a:pt x="20178096" y="1028845"/>
                  <a:pt x="20218226" y="1028845"/>
                </a:cubicBezTo>
                <a:cubicBezTo>
                  <a:pt x="20218226" y="990324"/>
                  <a:pt x="20330592" y="990324"/>
                  <a:pt x="20330592" y="990324"/>
                </a:cubicBezTo>
                <a:cubicBezTo>
                  <a:pt x="20293672" y="951802"/>
                  <a:pt x="20255146" y="914885"/>
                  <a:pt x="20218226" y="914885"/>
                </a:cubicBezTo>
                <a:close/>
                <a:moveTo>
                  <a:pt x="5970575" y="763334"/>
                </a:moveTo>
                <a:lnTo>
                  <a:pt x="5963954" y="766417"/>
                </a:lnTo>
                <a:cubicBezTo>
                  <a:pt x="5944892" y="780461"/>
                  <a:pt x="5926031" y="799321"/>
                  <a:pt x="5888308" y="799321"/>
                </a:cubicBezTo>
                <a:cubicBezTo>
                  <a:pt x="5907370" y="785076"/>
                  <a:pt x="5929994" y="774392"/>
                  <a:pt x="5955439" y="766379"/>
                </a:cubicBezTo>
                <a:close/>
                <a:moveTo>
                  <a:pt x="5995081" y="751921"/>
                </a:moveTo>
                <a:cubicBezTo>
                  <a:pt x="6001088" y="751094"/>
                  <a:pt x="6007703" y="751307"/>
                  <a:pt x="6015225" y="752931"/>
                </a:cubicBezTo>
                <a:lnTo>
                  <a:pt x="6017705" y="753849"/>
                </a:lnTo>
                <a:lnTo>
                  <a:pt x="5970575" y="763334"/>
                </a:lnTo>
                <a:close/>
                <a:moveTo>
                  <a:pt x="10384567" y="646840"/>
                </a:moveTo>
                <a:lnTo>
                  <a:pt x="10369487" y="648650"/>
                </a:lnTo>
                <a:lnTo>
                  <a:pt x="10368991" y="647442"/>
                </a:lnTo>
                <a:cubicBezTo>
                  <a:pt x="10370722" y="646840"/>
                  <a:pt x="10375337" y="646840"/>
                  <a:pt x="10384567" y="646840"/>
                </a:cubicBezTo>
                <a:close/>
                <a:moveTo>
                  <a:pt x="13166210" y="601561"/>
                </a:moveTo>
                <a:lnTo>
                  <a:pt x="13171252" y="605108"/>
                </a:lnTo>
                <a:lnTo>
                  <a:pt x="13166408" y="608875"/>
                </a:lnTo>
                <a:close/>
                <a:moveTo>
                  <a:pt x="20025598" y="571402"/>
                </a:moveTo>
                <a:cubicBezTo>
                  <a:pt x="19988678" y="571402"/>
                  <a:pt x="19950152" y="571402"/>
                  <a:pt x="19950152" y="609923"/>
                </a:cubicBezTo>
                <a:cubicBezTo>
                  <a:pt x="20025598" y="571402"/>
                  <a:pt x="19988678" y="646840"/>
                  <a:pt x="20025598" y="609923"/>
                </a:cubicBezTo>
                <a:close/>
                <a:moveTo>
                  <a:pt x="13127910" y="571402"/>
                </a:moveTo>
                <a:cubicBezTo>
                  <a:pt x="13156805" y="571402"/>
                  <a:pt x="13164028" y="571402"/>
                  <a:pt x="13165834" y="587653"/>
                </a:cubicBezTo>
                <a:lnTo>
                  <a:pt x="13166210" y="601561"/>
                </a:lnTo>
                <a:lnTo>
                  <a:pt x="13154998" y="593672"/>
                </a:lnTo>
                <a:cubicBezTo>
                  <a:pt x="13147173" y="588255"/>
                  <a:pt x="13137542" y="581032"/>
                  <a:pt x="13127910" y="571402"/>
                </a:cubicBezTo>
                <a:close/>
                <a:moveTo>
                  <a:pt x="20434214" y="433534"/>
                </a:moveTo>
                <a:lnTo>
                  <a:pt x="20439574" y="435774"/>
                </a:lnTo>
                <a:cubicBezTo>
                  <a:pt x="20443762" y="440589"/>
                  <a:pt x="20446170" y="447812"/>
                  <a:pt x="20446170" y="457443"/>
                </a:cubicBezTo>
                <a:close/>
                <a:moveTo>
                  <a:pt x="20178096" y="380399"/>
                </a:moveTo>
                <a:cubicBezTo>
                  <a:pt x="20218226" y="380399"/>
                  <a:pt x="20178096" y="418921"/>
                  <a:pt x="20178096" y="418921"/>
                </a:cubicBezTo>
                <a:cubicBezTo>
                  <a:pt x="20102650" y="380399"/>
                  <a:pt x="20065730" y="418921"/>
                  <a:pt x="20025598" y="418921"/>
                </a:cubicBezTo>
                <a:cubicBezTo>
                  <a:pt x="20065730" y="457443"/>
                  <a:pt x="20102650" y="532881"/>
                  <a:pt x="20178096" y="571402"/>
                </a:cubicBezTo>
                <a:cubicBezTo>
                  <a:pt x="20255146" y="494359"/>
                  <a:pt x="20218226" y="457443"/>
                  <a:pt x="20255146" y="380399"/>
                </a:cubicBezTo>
                <a:cubicBezTo>
                  <a:pt x="20255146" y="380399"/>
                  <a:pt x="20226654" y="380399"/>
                  <a:pt x="20202776" y="380399"/>
                </a:cubicBezTo>
                <a:close/>
                <a:moveTo>
                  <a:pt x="18121792" y="380399"/>
                </a:moveTo>
                <a:cubicBezTo>
                  <a:pt x="18006214" y="418921"/>
                  <a:pt x="17853718" y="341878"/>
                  <a:pt x="17778272" y="418921"/>
                </a:cubicBezTo>
                <a:cubicBezTo>
                  <a:pt x="17892244" y="457443"/>
                  <a:pt x="18083266" y="457443"/>
                  <a:pt x="18121792" y="380399"/>
                </a:cubicBezTo>
                <a:close/>
                <a:moveTo>
                  <a:pt x="19950152" y="341878"/>
                </a:moveTo>
                <a:cubicBezTo>
                  <a:pt x="19797656" y="341878"/>
                  <a:pt x="19950152" y="418921"/>
                  <a:pt x="19873102" y="457443"/>
                </a:cubicBezTo>
                <a:cubicBezTo>
                  <a:pt x="19950152" y="457443"/>
                  <a:pt x="19950152" y="418921"/>
                  <a:pt x="19950152" y="341878"/>
                </a:cubicBezTo>
                <a:close/>
                <a:moveTo>
                  <a:pt x="19720604" y="341878"/>
                </a:moveTo>
                <a:cubicBezTo>
                  <a:pt x="19608238" y="457443"/>
                  <a:pt x="19378690" y="380399"/>
                  <a:pt x="19226192" y="457443"/>
                </a:cubicBezTo>
                <a:cubicBezTo>
                  <a:pt x="19303244" y="494359"/>
                  <a:pt x="19378690" y="418921"/>
                  <a:pt x="19417214" y="494359"/>
                </a:cubicBezTo>
                <a:cubicBezTo>
                  <a:pt x="19378690" y="532881"/>
                  <a:pt x="19303244" y="494359"/>
                  <a:pt x="19303244" y="532881"/>
                </a:cubicBezTo>
                <a:cubicBezTo>
                  <a:pt x="19417214" y="532881"/>
                  <a:pt x="19417214" y="571402"/>
                  <a:pt x="19455740" y="571402"/>
                </a:cubicBezTo>
                <a:cubicBezTo>
                  <a:pt x="19531186" y="532881"/>
                  <a:pt x="19608238" y="494359"/>
                  <a:pt x="19720604" y="532881"/>
                </a:cubicBezTo>
                <a:cubicBezTo>
                  <a:pt x="19760734" y="457443"/>
                  <a:pt x="19760734" y="418921"/>
                  <a:pt x="19797656" y="380399"/>
                </a:cubicBezTo>
                <a:cubicBezTo>
                  <a:pt x="19760734" y="380399"/>
                  <a:pt x="19797656" y="341878"/>
                  <a:pt x="19720604" y="341878"/>
                </a:cubicBezTo>
                <a:close/>
                <a:moveTo>
                  <a:pt x="19760734" y="266440"/>
                </a:moveTo>
                <a:cubicBezTo>
                  <a:pt x="19720604" y="266440"/>
                  <a:pt x="19608238" y="266440"/>
                  <a:pt x="19608238" y="304961"/>
                </a:cubicBezTo>
                <a:cubicBezTo>
                  <a:pt x="19683684" y="304961"/>
                  <a:pt x="19797656" y="266440"/>
                  <a:pt x="19760734" y="266440"/>
                </a:cubicBezTo>
                <a:close/>
                <a:moveTo>
                  <a:pt x="19492660" y="266440"/>
                </a:moveTo>
                <a:cubicBezTo>
                  <a:pt x="19455740" y="266440"/>
                  <a:pt x="19417214" y="266440"/>
                  <a:pt x="19417214" y="304961"/>
                </a:cubicBezTo>
                <a:cubicBezTo>
                  <a:pt x="19455740" y="304961"/>
                  <a:pt x="19492660" y="304961"/>
                  <a:pt x="19492660" y="266440"/>
                </a:cubicBezTo>
                <a:close/>
                <a:moveTo>
                  <a:pt x="18426786" y="266440"/>
                </a:moveTo>
                <a:cubicBezTo>
                  <a:pt x="18388260" y="304961"/>
                  <a:pt x="18502232" y="304961"/>
                  <a:pt x="18502232" y="266440"/>
                </a:cubicBezTo>
                <a:cubicBezTo>
                  <a:pt x="18502232" y="266440"/>
                  <a:pt x="18502232" y="266440"/>
                  <a:pt x="18426786" y="266440"/>
                </a:cubicBezTo>
                <a:close/>
                <a:moveTo>
                  <a:pt x="18283118" y="218890"/>
                </a:moveTo>
                <a:cubicBezTo>
                  <a:pt x="18254626" y="219091"/>
                  <a:pt x="18235764" y="228721"/>
                  <a:pt x="18235764" y="266440"/>
                </a:cubicBezTo>
                <a:cubicBezTo>
                  <a:pt x="18274288" y="266440"/>
                  <a:pt x="18388260" y="304961"/>
                  <a:pt x="18388260" y="227918"/>
                </a:cubicBezTo>
                <a:cubicBezTo>
                  <a:pt x="18349736" y="227918"/>
                  <a:pt x="18311612" y="218689"/>
                  <a:pt x="18283118" y="218890"/>
                </a:cubicBezTo>
                <a:close/>
                <a:moveTo>
                  <a:pt x="20255146" y="191002"/>
                </a:moveTo>
                <a:cubicBezTo>
                  <a:pt x="20255146" y="227918"/>
                  <a:pt x="20293672" y="227918"/>
                  <a:pt x="20255146" y="266440"/>
                </a:cubicBezTo>
                <a:cubicBezTo>
                  <a:pt x="20218226" y="266440"/>
                  <a:pt x="20178096" y="266440"/>
                  <a:pt x="20141176" y="266440"/>
                </a:cubicBezTo>
                <a:cubicBezTo>
                  <a:pt x="20141176" y="304961"/>
                  <a:pt x="20102650" y="341878"/>
                  <a:pt x="20141176" y="341878"/>
                </a:cubicBezTo>
                <a:cubicBezTo>
                  <a:pt x="20141176" y="304961"/>
                  <a:pt x="20218226" y="304961"/>
                  <a:pt x="20255146" y="266440"/>
                </a:cubicBezTo>
                <a:cubicBezTo>
                  <a:pt x="20293672" y="227918"/>
                  <a:pt x="20330592" y="266440"/>
                  <a:pt x="20330592" y="227918"/>
                </a:cubicBezTo>
                <a:cubicBezTo>
                  <a:pt x="20255146" y="227918"/>
                  <a:pt x="20293672" y="227918"/>
                  <a:pt x="20293672" y="191002"/>
                </a:cubicBezTo>
                <a:cubicBezTo>
                  <a:pt x="20293672" y="191002"/>
                  <a:pt x="20293672" y="191002"/>
                  <a:pt x="20255146" y="191002"/>
                </a:cubicBezTo>
                <a:close/>
                <a:moveTo>
                  <a:pt x="16558294" y="191002"/>
                </a:moveTo>
                <a:cubicBezTo>
                  <a:pt x="16481242" y="191002"/>
                  <a:pt x="16328746" y="227918"/>
                  <a:pt x="16214774" y="227918"/>
                </a:cubicBezTo>
                <a:cubicBezTo>
                  <a:pt x="16291826" y="304961"/>
                  <a:pt x="16519768" y="266440"/>
                  <a:pt x="16558294" y="191002"/>
                </a:cubicBezTo>
                <a:close/>
                <a:moveTo>
                  <a:pt x="15986832" y="191002"/>
                </a:moveTo>
                <a:cubicBezTo>
                  <a:pt x="15948306" y="191002"/>
                  <a:pt x="15720362" y="227918"/>
                  <a:pt x="15834334" y="266440"/>
                </a:cubicBezTo>
                <a:cubicBezTo>
                  <a:pt x="15872860" y="227918"/>
                  <a:pt x="15948306" y="266440"/>
                  <a:pt x="16023752" y="266440"/>
                </a:cubicBezTo>
                <a:cubicBezTo>
                  <a:pt x="16014522" y="256810"/>
                  <a:pt x="16009907" y="249587"/>
                  <a:pt x="16008176" y="244170"/>
                </a:cubicBezTo>
                <a:lnTo>
                  <a:pt x="16009193" y="237454"/>
                </a:lnTo>
                <a:lnTo>
                  <a:pt x="16009985" y="237392"/>
                </a:lnTo>
                <a:cubicBezTo>
                  <a:pt x="16014497" y="235768"/>
                  <a:pt x="16019137" y="232734"/>
                  <a:pt x="16023752" y="227918"/>
                </a:cubicBezTo>
                <a:cubicBezTo>
                  <a:pt x="16023752" y="227918"/>
                  <a:pt x="16014522" y="227918"/>
                  <a:pt x="16009907" y="232734"/>
                </a:cubicBezTo>
                <a:lnTo>
                  <a:pt x="16009193" y="237454"/>
                </a:lnTo>
                <a:lnTo>
                  <a:pt x="15996990" y="238402"/>
                </a:lnTo>
                <a:cubicBezTo>
                  <a:pt x="15972385" y="233436"/>
                  <a:pt x="15957938" y="191002"/>
                  <a:pt x="15986832" y="191002"/>
                </a:cubicBezTo>
                <a:close/>
                <a:moveTo>
                  <a:pt x="19126066" y="162111"/>
                </a:moveTo>
                <a:cubicBezTo>
                  <a:pt x="19102188" y="162111"/>
                  <a:pt x="19073694" y="171741"/>
                  <a:pt x="19073694" y="191002"/>
                </a:cubicBezTo>
                <a:cubicBezTo>
                  <a:pt x="19112220" y="191002"/>
                  <a:pt x="19112220" y="227918"/>
                  <a:pt x="19150746" y="191002"/>
                </a:cubicBezTo>
                <a:cubicBezTo>
                  <a:pt x="19169206" y="171741"/>
                  <a:pt x="19149944" y="162111"/>
                  <a:pt x="19126066" y="162111"/>
                </a:cubicBezTo>
                <a:close/>
                <a:moveTo>
                  <a:pt x="19378690" y="152480"/>
                </a:moveTo>
                <a:cubicBezTo>
                  <a:pt x="19226192" y="152480"/>
                  <a:pt x="19455740" y="227918"/>
                  <a:pt x="19417214" y="191002"/>
                </a:cubicBezTo>
                <a:cubicBezTo>
                  <a:pt x="19417214" y="191002"/>
                  <a:pt x="19417214" y="191002"/>
                  <a:pt x="19378690" y="191002"/>
                </a:cubicBezTo>
                <a:cubicBezTo>
                  <a:pt x="19417214" y="191002"/>
                  <a:pt x="19378690" y="191002"/>
                  <a:pt x="19378690" y="152480"/>
                </a:cubicBezTo>
                <a:close/>
                <a:moveTo>
                  <a:pt x="16824762" y="152480"/>
                </a:moveTo>
                <a:cubicBezTo>
                  <a:pt x="16786238" y="152480"/>
                  <a:pt x="16749316" y="152480"/>
                  <a:pt x="16749316" y="191002"/>
                </a:cubicBezTo>
                <a:cubicBezTo>
                  <a:pt x="16749316" y="191002"/>
                  <a:pt x="16824762" y="191002"/>
                  <a:pt x="16824762" y="152480"/>
                </a:cubicBezTo>
                <a:close/>
                <a:moveTo>
                  <a:pt x="20044430" y="88187"/>
                </a:moveTo>
                <a:lnTo>
                  <a:pt x="20063370" y="111103"/>
                </a:lnTo>
                <a:lnTo>
                  <a:pt x="20055790" y="110551"/>
                </a:lnTo>
                <a:lnTo>
                  <a:pt x="20048172" y="107940"/>
                </a:lnTo>
                <a:cubicBezTo>
                  <a:pt x="20045664" y="104329"/>
                  <a:pt x="20045664" y="99513"/>
                  <a:pt x="20045664" y="94698"/>
                </a:cubicBezTo>
                <a:close/>
                <a:moveTo>
                  <a:pt x="20037174" y="79406"/>
                </a:moveTo>
                <a:lnTo>
                  <a:pt x="20043156" y="81456"/>
                </a:lnTo>
                <a:lnTo>
                  <a:pt x="20044430" y="88187"/>
                </a:lnTo>
                <a:close/>
                <a:moveTo>
                  <a:pt x="20293672" y="75437"/>
                </a:moveTo>
                <a:cubicBezTo>
                  <a:pt x="20293672" y="104329"/>
                  <a:pt x="20251234" y="111551"/>
                  <a:pt x="20230014" y="97106"/>
                </a:cubicBezTo>
                <a:lnTo>
                  <a:pt x="20219992" y="78682"/>
                </a:lnTo>
                <a:close/>
                <a:moveTo>
                  <a:pt x="20218226" y="75437"/>
                </a:moveTo>
                <a:lnTo>
                  <a:pt x="20219992" y="78682"/>
                </a:lnTo>
                <a:lnTo>
                  <a:pt x="20217350" y="78798"/>
                </a:lnTo>
                <a:close/>
                <a:moveTo>
                  <a:pt x="19988678" y="75437"/>
                </a:moveTo>
                <a:cubicBezTo>
                  <a:pt x="19988678" y="113959"/>
                  <a:pt x="19873102" y="152480"/>
                  <a:pt x="19836180" y="113959"/>
                </a:cubicBezTo>
                <a:cubicBezTo>
                  <a:pt x="19913232" y="152480"/>
                  <a:pt x="19797656" y="152480"/>
                  <a:pt x="19797656" y="152480"/>
                </a:cubicBezTo>
                <a:cubicBezTo>
                  <a:pt x="19873102" y="152480"/>
                  <a:pt x="20025598" y="152480"/>
                  <a:pt x="19988678" y="75437"/>
                </a:cubicBezTo>
                <a:close/>
                <a:moveTo>
                  <a:pt x="18730176" y="38521"/>
                </a:moveTo>
                <a:lnTo>
                  <a:pt x="18807226" y="38521"/>
                </a:lnTo>
                <a:cubicBezTo>
                  <a:pt x="18807226" y="75437"/>
                  <a:pt x="18807226" y="75437"/>
                  <a:pt x="18730176" y="38521"/>
                </a:cubicBezTo>
                <a:close/>
                <a:moveTo>
                  <a:pt x="17892244" y="38521"/>
                </a:moveTo>
                <a:cubicBezTo>
                  <a:pt x="17892244" y="38521"/>
                  <a:pt x="17901874" y="38521"/>
                  <a:pt x="17911506" y="43136"/>
                </a:cubicBezTo>
                <a:lnTo>
                  <a:pt x="17924568" y="53945"/>
                </a:lnTo>
                <a:lnTo>
                  <a:pt x="17921714" y="54095"/>
                </a:lnTo>
                <a:cubicBezTo>
                  <a:pt x="17911506" y="52365"/>
                  <a:pt x="17901874" y="47750"/>
                  <a:pt x="17892244" y="38521"/>
                </a:cubicBezTo>
                <a:close/>
                <a:moveTo>
                  <a:pt x="19836180" y="0"/>
                </a:moveTo>
                <a:cubicBezTo>
                  <a:pt x="19797656" y="38521"/>
                  <a:pt x="19913232" y="38521"/>
                  <a:pt x="19913232" y="75437"/>
                </a:cubicBezTo>
                <a:cubicBezTo>
                  <a:pt x="19940922" y="47750"/>
                  <a:pt x="19990282" y="40828"/>
                  <a:pt x="20030164" y="70923"/>
                </a:cubicBezTo>
                <a:lnTo>
                  <a:pt x="20037174" y="79406"/>
                </a:lnTo>
                <a:lnTo>
                  <a:pt x="20025598" y="75437"/>
                </a:lnTo>
                <a:cubicBezTo>
                  <a:pt x="20007138" y="94698"/>
                  <a:pt x="20017172" y="104329"/>
                  <a:pt x="20036434" y="109144"/>
                </a:cubicBezTo>
                <a:lnTo>
                  <a:pt x="20055790" y="110551"/>
                </a:lnTo>
                <a:lnTo>
                  <a:pt x="20065730" y="113959"/>
                </a:lnTo>
                <a:cubicBezTo>
                  <a:pt x="20102650" y="191002"/>
                  <a:pt x="20025598" y="152480"/>
                  <a:pt x="20025598" y="191002"/>
                </a:cubicBezTo>
                <a:cubicBezTo>
                  <a:pt x="20065730" y="191002"/>
                  <a:pt x="20102650" y="152480"/>
                  <a:pt x="20141176" y="152480"/>
                </a:cubicBezTo>
                <a:cubicBezTo>
                  <a:pt x="20102650" y="152480"/>
                  <a:pt x="20102650" y="113959"/>
                  <a:pt x="20065730" y="113959"/>
                </a:cubicBezTo>
                <a:lnTo>
                  <a:pt x="20063370" y="111103"/>
                </a:lnTo>
                <a:lnTo>
                  <a:pt x="20102650" y="113959"/>
                </a:lnTo>
                <a:cubicBezTo>
                  <a:pt x="20121912" y="94698"/>
                  <a:pt x="20150806" y="85068"/>
                  <a:pt x="20184316" y="80253"/>
                </a:cubicBezTo>
                <a:lnTo>
                  <a:pt x="20217350" y="78798"/>
                </a:lnTo>
                <a:lnTo>
                  <a:pt x="20203178" y="133220"/>
                </a:lnTo>
                <a:cubicBezTo>
                  <a:pt x="20198162" y="152480"/>
                  <a:pt x="20198162" y="171741"/>
                  <a:pt x="20218226" y="191002"/>
                </a:cubicBezTo>
                <a:cubicBezTo>
                  <a:pt x="20255146" y="113959"/>
                  <a:pt x="20293672" y="191002"/>
                  <a:pt x="20330592" y="152480"/>
                </a:cubicBezTo>
                <a:cubicBezTo>
                  <a:pt x="20330592" y="191002"/>
                  <a:pt x="20370724" y="191002"/>
                  <a:pt x="20370724" y="191002"/>
                </a:cubicBezTo>
                <a:cubicBezTo>
                  <a:pt x="20330592" y="227918"/>
                  <a:pt x="20330592" y="266440"/>
                  <a:pt x="20255146" y="304961"/>
                </a:cubicBezTo>
                <a:cubicBezTo>
                  <a:pt x="20293672" y="304961"/>
                  <a:pt x="20293672" y="304961"/>
                  <a:pt x="20293672" y="341878"/>
                </a:cubicBezTo>
                <a:cubicBezTo>
                  <a:pt x="20330592" y="341878"/>
                  <a:pt x="20330592" y="341878"/>
                  <a:pt x="20370724" y="341878"/>
                </a:cubicBezTo>
                <a:cubicBezTo>
                  <a:pt x="20370724" y="341878"/>
                  <a:pt x="20407644" y="341878"/>
                  <a:pt x="20446170" y="341878"/>
                </a:cubicBezTo>
                <a:cubicBezTo>
                  <a:pt x="20426906" y="361139"/>
                  <a:pt x="20417276" y="380399"/>
                  <a:pt x="20417276" y="399660"/>
                </a:cubicBezTo>
                <a:lnTo>
                  <a:pt x="20434214" y="433534"/>
                </a:lnTo>
                <a:lnTo>
                  <a:pt x="20422292" y="428551"/>
                </a:lnTo>
                <a:cubicBezTo>
                  <a:pt x="20408046" y="428551"/>
                  <a:pt x="20389184" y="438182"/>
                  <a:pt x="20370724" y="457443"/>
                </a:cubicBezTo>
                <a:cubicBezTo>
                  <a:pt x="20446170" y="494359"/>
                  <a:pt x="20407644" y="532881"/>
                  <a:pt x="20330592" y="532881"/>
                </a:cubicBezTo>
                <a:cubicBezTo>
                  <a:pt x="20370724" y="571402"/>
                  <a:pt x="20370724" y="532881"/>
                  <a:pt x="20446170" y="532881"/>
                </a:cubicBezTo>
                <a:cubicBezTo>
                  <a:pt x="20446170" y="532881"/>
                  <a:pt x="20446170" y="532881"/>
                  <a:pt x="20446170" y="609923"/>
                </a:cubicBezTo>
                <a:cubicBezTo>
                  <a:pt x="20370724" y="609923"/>
                  <a:pt x="20370724" y="646840"/>
                  <a:pt x="20293672" y="646840"/>
                </a:cubicBezTo>
                <a:cubicBezTo>
                  <a:pt x="20255146" y="646840"/>
                  <a:pt x="20218226" y="685361"/>
                  <a:pt x="20218226" y="685361"/>
                </a:cubicBezTo>
                <a:cubicBezTo>
                  <a:pt x="20178096" y="685361"/>
                  <a:pt x="20178096" y="685361"/>
                  <a:pt x="20102650" y="723883"/>
                </a:cubicBezTo>
                <a:cubicBezTo>
                  <a:pt x="20102650" y="685361"/>
                  <a:pt x="19988678" y="685361"/>
                  <a:pt x="19950152" y="685361"/>
                </a:cubicBezTo>
                <a:cubicBezTo>
                  <a:pt x="19988678" y="723883"/>
                  <a:pt x="19988678" y="723883"/>
                  <a:pt x="20025598" y="723883"/>
                </a:cubicBezTo>
                <a:cubicBezTo>
                  <a:pt x="19988678" y="762404"/>
                  <a:pt x="20065730" y="799321"/>
                  <a:pt x="20141176" y="799321"/>
                </a:cubicBezTo>
                <a:cubicBezTo>
                  <a:pt x="20178096" y="799321"/>
                  <a:pt x="20178096" y="762404"/>
                  <a:pt x="20178096" y="762404"/>
                </a:cubicBezTo>
                <a:cubicBezTo>
                  <a:pt x="20255146" y="837842"/>
                  <a:pt x="20407644" y="799321"/>
                  <a:pt x="20446170" y="837842"/>
                </a:cubicBezTo>
                <a:cubicBezTo>
                  <a:pt x="20483090" y="799321"/>
                  <a:pt x="20560142" y="723883"/>
                  <a:pt x="20483090" y="723883"/>
                </a:cubicBezTo>
                <a:cubicBezTo>
                  <a:pt x="20483090" y="685361"/>
                  <a:pt x="20598666" y="723883"/>
                  <a:pt x="20635588" y="723883"/>
                </a:cubicBezTo>
                <a:cubicBezTo>
                  <a:pt x="20635588" y="762404"/>
                  <a:pt x="20560142" y="762404"/>
                  <a:pt x="20560142" y="762404"/>
                </a:cubicBezTo>
                <a:cubicBezTo>
                  <a:pt x="20560142" y="799321"/>
                  <a:pt x="20635588" y="799321"/>
                  <a:pt x="20560142" y="837842"/>
                </a:cubicBezTo>
                <a:cubicBezTo>
                  <a:pt x="20598666" y="837842"/>
                  <a:pt x="20635588" y="837842"/>
                  <a:pt x="20675718" y="837842"/>
                </a:cubicBezTo>
                <a:cubicBezTo>
                  <a:pt x="20675718" y="876364"/>
                  <a:pt x="20635588" y="876364"/>
                  <a:pt x="20675718" y="876364"/>
                </a:cubicBezTo>
                <a:cubicBezTo>
                  <a:pt x="20635588" y="876364"/>
                  <a:pt x="20560142" y="914885"/>
                  <a:pt x="20598666" y="951802"/>
                </a:cubicBezTo>
                <a:cubicBezTo>
                  <a:pt x="20560942" y="951802"/>
                  <a:pt x="20522818" y="951802"/>
                  <a:pt x="20479678" y="951802"/>
                </a:cubicBezTo>
                <a:lnTo>
                  <a:pt x="20446170" y="951802"/>
                </a:lnTo>
                <a:lnTo>
                  <a:pt x="20330592" y="951802"/>
                </a:lnTo>
                <a:cubicBezTo>
                  <a:pt x="20330592" y="990324"/>
                  <a:pt x="20407644" y="990324"/>
                  <a:pt x="20446170" y="951802"/>
                </a:cubicBezTo>
                <a:cubicBezTo>
                  <a:pt x="20446170" y="1028845"/>
                  <a:pt x="20523220" y="990324"/>
                  <a:pt x="20483090" y="1028845"/>
                </a:cubicBezTo>
                <a:cubicBezTo>
                  <a:pt x="20483090" y="1067366"/>
                  <a:pt x="20330592" y="1067366"/>
                  <a:pt x="20370724" y="1104283"/>
                </a:cubicBezTo>
                <a:cubicBezTo>
                  <a:pt x="20330592" y="1067366"/>
                  <a:pt x="20293672" y="1067366"/>
                  <a:pt x="20178096" y="1067366"/>
                </a:cubicBezTo>
                <a:cubicBezTo>
                  <a:pt x="20141176" y="1179721"/>
                  <a:pt x="19988678" y="1142804"/>
                  <a:pt x="19913232" y="1179721"/>
                </a:cubicBezTo>
                <a:cubicBezTo>
                  <a:pt x="19988678" y="1219848"/>
                  <a:pt x="19988678" y="1142804"/>
                  <a:pt x="20102650" y="1179721"/>
                </a:cubicBezTo>
                <a:cubicBezTo>
                  <a:pt x="20102650" y="1219848"/>
                  <a:pt x="20025598" y="1179721"/>
                  <a:pt x="20025598" y="1219848"/>
                </a:cubicBezTo>
                <a:cubicBezTo>
                  <a:pt x="20025598" y="1179721"/>
                  <a:pt x="19988678" y="1219848"/>
                  <a:pt x="20025598" y="1256764"/>
                </a:cubicBezTo>
                <a:cubicBezTo>
                  <a:pt x="19988678" y="1256764"/>
                  <a:pt x="19950152" y="1256764"/>
                  <a:pt x="19988678" y="1219848"/>
                </a:cubicBezTo>
                <a:cubicBezTo>
                  <a:pt x="19913232" y="1219848"/>
                  <a:pt x="19873102" y="1219848"/>
                  <a:pt x="19836180" y="1295285"/>
                </a:cubicBezTo>
                <a:cubicBezTo>
                  <a:pt x="19760734" y="1256764"/>
                  <a:pt x="19720604" y="1333808"/>
                  <a:pt x="19645158" y="1333808"/>
                </a:cubicBezTo>
                <a:cubicBezTo>
                  <a:pt x="19683684" y="1372328"/>
                  <a:pt x="19873102" y="1447767"/>
                  <a:pt x="19913232" y="1409245"/>
                </a:cubicBezTo>
                <a:cubicBezTo>
                  <a:pt x="19950152" y="1409245"/>
                  <a:pt x="19873102" y="1447767"/>
                  <a:pt x="19873102" y="1486288"/>
                </a:cubicBezTo>
                <a:cubicBezTo>
                  <a:pt x="19913232" y="1524809"/>
                  <a:pt x="19913232" y="1561726"/>
                  <a:pt x="19988678" y="1561726"/>
                </a:cubicBezTo>
                <a:cubicBezTo>
                  <a:pt x="20025598" y="1524809"/>
                  <a:pt x="20065730" y="1561726"/>
                  <a:pt x="20102650" y="1561726"/>
                </a:cubicBezTo>
                <a:cubicBezTo>
                  <a:pt x="20141176" y="1561726"/>
                  <a:pt x="20065730" y="1524809"/>
                  <a:pt x="20065730" y="1524809"/>
                </a:cubicBezTo>
                <a:cubicBezTo>
                  <a:pt x="20102650" y="1486288"/>
                  <a:pt x="20218226" y="1524809"/>
                  <a:pt x="20218226" y="1561726"/>
                </a:cubicBezTo>
                <a:cubicBezTo>
                  <a:pt x="20330592" y="1486288"/>
                  <a:pt x="20598666" y="1486288"/>
                  <a:pt x="20635588" y="1447767"/>
                </a:cubicBezTo>
                <a:cubicBezTo>
                  <a:pt x="20675718" y="1409245"/>
                  <a:pt x="20712638" y="1447767"/>
                  <a:pt x="20751164" y="1486288"/>
                </a:cubicBezTo>
                <a:cubicBezTo>
                  <a:pt x="20751164" y="1486288"/>
                  <a:pt x="20751164" y="1447767"/>
                  <a:pt x="20788084" y="1447767"/>
                </a:cubicBezTo>
                <a:cubicBezTo>
                  <a:pt x="20828216" y="1409245"/>
                  <a:pt x="20712638" y="1447767"/>
                  <a:pt x="20751164" y="1409245"/>
                </a:cubicBezTo>
                <a:cubicBezTo>
                  <a:pt x="20788084" y="1409245"/>
                  <a:pt x="20788084" y="1409245"/>
                  <a:pt x="20828216" y="1409245"/>
                </a:cubicBezTo>
                <a:cubicBezTo>
                  <a:pt x="20828216" y="1524809"/>
                  <a:pt x="21133210" y="1409245"/>
                  <a:pt x="21245576" y="1409245"/>
                </a:cubicBezTo>
                <a:cubicBezTo>
                  <a:pt x="21285706" y="1409245"/>
                  <a:pt x="21398074" y="1447767"/>
                  <a:pt x="21475124" y="1409245"/>
                </a:cubicBezTo>
                <a:cubicBezTo>
                  <a:pt x="21550570" y="1409245"/>
                  <a:pt x="21513650" y="1409245"/>
                  <a:pt x="21627622" y="1409245"/>
                </a:cubicBezTo>
                <a:cubicBezTo>
                  <a:pt x="21513650" y="1372328"/>
                  <a:pt x="21550570" y="1333808"/>
                  <a:pt x="21475124" y="1295285"/>
                </a:cubicBezTo>
                <a:cubicBezTo>
                  <a:pt x="21436598" y="1333808"/>
                  <a:pt x="21436598" y="1295285"/>
                  <a:pt x="21361152" y="1295285"/>
                </a:cubicBezTo>
                <a:cubicBezTo>
                  <a:pt x="21398874" y="1276025"/>
                  <a:pt x="21446230" y="1266395"/>
                  <a:pt x="21498600" y="1261580"/>
                </a:cubicBezTo>
                <a:lnTo>
                  <a:pt x="21554724" y="1259967"/>
                </a:lnTo>
                <a:lnTo>
                  <a:pt x="21579464" y="1279034"/>
                </a:lnTo>
                <a:cubicBezTo>
                  <a:pt x="21608360" y="1295285"/>
                  <a:pt x="21637254" y="1295285"/>
                  <a:pt x="21666148" y="1295285"/>
                </a:cubicBezTo>
                <a:cubicBezTo>
                  <a:pt x="21684608" y="1276025"/>
                  <a:pt x="21665346" y="1266395"/>
                  <a:pt x="21636652" y="1261580"/>
                </a:cubicBezTo>
                <a:lnTo>
                  <a:pt x="21603366" y="1258569"/>
                </a:lnTo>
                <a:lnTo>
                  <a:pt x="21666148" y="1256764"/>
                </a:lnTo>
                <a:cubicBezTo>
                  <a:pt x="21703068" y="1256764"/>
                  <a:pt x="21741594" y="1295285"/>
                  <a:pt x="21703068" y="1333808"/>
                </a:cubicBezTo>
                <a:cubicBezTo>
                  <a:pt x="21780118" y="1333808"/>
                  <a:pt x="21780118" y="1256764"/>
                  <a:pt x="21741594" y="1256764"/>
                </a:cubicBezTo>
                <a:cubicBezTo>
                  <a:pt x="21741594" y="1219848"/>
                  <a:pt x="21894090" y="1295285"/>
                  <a:pt x="21818644" y="1295285"/>
                </a:cubicBezTo>
                <a:cubicBezTo>
                  <a:pt x="21818644" y="1333808"/>
                  <a:pt x="21855564" y="1256764"/>
                  <a:pt x="21894090" y="1295285"/>
                </a:cubicBezTo>
                <a:cubicBezTo>
                  <a:pt x="21932616" y="1333808"/>
                  <a:pt x="22008062" y="1372328"/>
                  <a:pt x="22123638" y="1409245"/>
                </a:cubicBezTo>
                <a:cubicBezTo>
                  <a:pt x="22085112" y="1447767"/>
                  <a:pt x="21855564" y="1372328"/>
                  <a:pt x="21818644" y="1409245"/>
                </a:cubicBezTo>
                <a:cubicBezTo>
                  <a:pt x="21855564" y="1409245"/>
                  <a:pt x="21894090" y="1447767"/>
                  <a:pt x="22008062" y="1447767"/>
                </a:cubicBezTo>
                <a:cubicBezTo>
                  <a:pt x="22008062" y="1486288"/>
                  <a:pt x="21932616" y="1486288"/>
                  <a:pt x="21855564" y="1486288"/>
                </a:cubicBezTo>
                <a:cubicBezTo>
                  <a:pt x="21894090" y="1561726"/>
                  <a:pt x="21971142" y="1524809"/>
                  <a:pt x="22046588" y="1561726"/>
                </a:cubicBezTo>
                <a:cubicBezTo>
                  <a:pt x="22008062" y="1561726"/>
                  <a:pt x="21855564" y="1561726"/>
                  <a:pt x="21855564" y="1524809"/>
                </a:cubicBezTo>
                <a:cubicBezTo>
                  <a:pt x="21780118" y="1561726"/>
                  <a:pt x="21818644" y="1600247"/>
                  <a:pt x="21703068" y="1600247"/>
                </a:cubicBezTo>
                <a:cubicBezTo>
                  <a:pt x="21741594" y="1600247"/>
                  <a:pt x="21780118" y="1638769"/>
                  <a:pt x="21855564" y="1638769"/>
                </a:cubicBezTo>
                <a:cubicBezTo>
                  <a:pt x="21855564" y="1677291"/>
                  <a:pt x="21855564" y="1677291"/>
                  <a:pt x="21855564" y="1677291"/>
                </a:cubicBezTo>
                <a:cubicBezTo>
                  <a:pt x="21855564" y="1714207"/>
                  <a:pt x="21780118" y="1677291"/>
                  <a:pt x="21780118" y="1714207"/>
                </a:cubicBezTo>
                <a:cubicBezTo>
                  <a:pt x="21818644" y="1752728"/>
                  <a:pt x="21855564" y="1752728"/>
                  <a:pt x="21894090" y="1789645"/>
                </a:cubicBezTo>
                <a:cubicBezTo>
                  <a:pt x="22046588" y="1789645"/>
                  <a:pt x="22199084" y="1789645"/>
                  <a:pt x="22351582" y="1789645"/>
                </a:cubicBezTo>
                <a:cubicBezTo>
                  <a:pt x="22313056" y="1829772"/>
                  <a:pt x="22390108" y="1829772"/>
                  <a:pt x="22427028" y="1829772"/>
                </a:cubicBezTo>
                <a:cubicBezTo>
                  <a:pt x="22351582" y="1789645"/>
                  <a:pt x="22427028" y="1829772"/>
                  <a:pt x="22427028" y="1752728"/>
                </a:cubicBezTo>
                <a:cubicBezTo>
                  <a:pt x="22427028" y="1829772"/>
                  <a:pt x="22504078" y="1789645"/>
                  <a:pt x="22542604" y="1789645"/>
                </a:cubicBezTo>
                <a:cubicBezTo>
                  <a:pt x="22579524" y="1829772"/>
                  <a:pt x="22504078" y="1866688"/>
                  <a:pt x="22542604" y="1866688"/>
                </a:cubicBezTo>
                <a:lnTo>
                  <a:pt x="22504078" y="1866688"/>
                </a:lnTo>
                <a:cubicBezTo>
                  <a:pt x="22465554" y="1943731"/>
                  <a:pt x="22579524" y="1905210"/>
                  <a:pt x="22579524" y="1905210"/>
                </a:cubicBezTo>
                <a:cubicBezTo>
                  <a:pt x="22579524" y="1943731"/>
                  <a:pt x="22504078" y="1943731"/>
                  <a:pt x="22504078" y="1943731"/>
                </a:cubicBezTo>
                <a:cubicBezTo>
                  <a:pt x="22427028" y="1943731"/>
                  <a:pt x="22504078" y="2057691"/>
                  <a:pt x="22427028" y="2057691"/>
                </a:cubicBezTo>
                <a:cubicBezTo>
                  <a:pt x="22427028" y="2057691"/>
                  <a:pt x="22427028" y="2057691"/>
                  <a:pt x="22390108" y="1982253"/>
                </a:cubicBezTo>
                <a:cubicBezTo>
                  <a:pt x="22351582" y="2000711"/>
                  <a:pt x="22360812" y="2019571"/>
                  <a:pt x="22370242" y="2038631"/>
                </a:cubicBezTo>
                <a:lnTo>
                  <a:pt x="22378400" y="2066673"/>
                </a:lnTo>
                <a:lnTo>
                  <a:pt x="22361012" y="2076952"/>
                </a:lnTo>
                <a:cubicBezTo>
                  <a:pt x="22351582" y="2086582"/>
                  <a:pt x="22351582" y="2096212"/>
                  <a:pt x="22351582" y="2096212"/>
                </a:cubicBezTo>
                <a:cubicBezTo>
                  <a:pt x="22370444" y="2086582"/>
                  <a:pt x="22377466" y="2076952"/>
                  <a:pt x="22378594" y="2067346"/>
                </a:cubicBezTo>
                <a:lnTo>
                  <a:pt x="22378400" y="2066673"/>
                </a:lnTo>
                <a:lnTo>
                  <a:pt x="22383410" y="2063710"/>
                </a:lnTo>
                <a:cubicBezTo>
                  <a:pt x="22394020" y="2060098"/>
                  <a:pt x="22408166" y="2057691"/>
                  <a:pt x="22427028" y="2057691"/>
                </a:cubicBezTo>
                <a:cubicBezTo>
                  <a:pt x="22427028" y="2134734"/>
                  <a:pt x="22274530" y="2096212"/>
                  <a:pt x="22274530" y="2134734"/>
                </a:cubicBezTo>
                <a:cubicBezTo>
                  <a:pt x="22313056" y="2171650"/>
                  <a:pt x="22351582" y="2171650"/>
                  <a:pt x="22427028" y="2171650"/>
                </a:cubicBezTo>
                <a:cubicBezTo>
                  <a:pt x="22390108" y="2248693"/>
                  <a:pt x="22465554" y="2399569"/>
                  <a:pt x="22618050" y="2324131"/>
                </a:cubicBezTo>
                <a:cubicBezTo>
                  <a:pt x="22618050" y="2285609"/>
                  <a:pt x="22579524" y="2285609"/>
                  <a:pt x="22542604" y="2285609"/>
                </a:cubicBezTo>
                <a:cubicBezTo>
                  <a:pt x="22579524" y="2248693"/>
                  <a:pt x="22656576" y="2285609"/>
                  <a:pt x="22732022" y="2285609"/>
                </a:cubicBezTo>
                <a:cubicBezTo>
                  <a:pt x="22656576" y="2324131"/>
                  <a:pt x="22732022" y="2362653"/>
                  <a:pt x="22695102" y="2399569"/>
                </a:cubicBezTo>
                <a:cubicBezTo>
                  <a:pt x="22656576" y="2399569"/>
                  <a:pt x="22618050" y="2399569"/>
                  <a:pt x="22579524" y="2362653"/>
                </a:cubicBezTo>
                <a:cubicBezTo>
                  <a:pt x="22542604" y="2362653"/>
                  <a:pt x="22504078" y="2399569"/>
                  <a:pt x="22465554" y="2399569"/>
                </a:cubicBezTo>
                <a:cubicBezTo>
                  <a:pt x="22542604" y="2438091"/>
                  <a:pt x="22618050" y="2438091"/>
                  <a:pt x="22695102" y="2438091"/>
                </a:cubicBezTo>
                <a:cubicBezTo>
                  <a:pt x="22618050" y="2476612"/>
                  <a:pt x="22542604" y="2438091"/>
                  <a:pt x="22427028" y="2438091"/>
                </a:cubicBezTo>
                <a:lnTo>
                  <a:pt x="22465554" y="2476612"/>
                </a:lnTo>
                <a:cubicBezTo>
                  <a:pt x="22465554" y="2476612"/>
                  <a:pt x="22351582" y="2438091"/>
                  <a:pt x="22313056" y="2399569"/>
                </a:cubicBezTo>
                <a:cubicBezTo>
                  <a:pt x="22274530" y="2438091"/>
                  <a:pt x="22313056" y="2515134"/>
                  <a:pt x="22237610" y="2515134"/>
                </a:cubicBezTo>
                <a:cubicBezTo>
                  <a:pt x="22274530" y="2515134"/>
                  <a:pt x="22313056" y="2553655"/>
                  <a:pt x="22390108" y="2553655"/>
                </a:cubicBezTo>
                <a:cubicBezTo>
                  <a:pt x="22351582" y="2590572"/>
                  <a:pt x="22313056" y="2515134"/>
                  <a:pt x="22237610" y="2553655"/>
                </a:cubicBezTo>
                <a:cubicBezTo>
                  <a:pt x="22237610" y="2553655"/>
                  <a:pt x="22237610" y="2590572"/>
                  <a:pt x="22199084" y="2629093"/>
                </a:cubicBezTo>
                <a:cubicBezTo>
                  <a:pt x="22255668" y="2629093"/>
                  <a:pt x="22398936" y="2586659"/>
                  <a:pt x="22450780" y="2565442"/>
                </a:cubicBezTo>
                <a:lnTo>
                  <a:pt x="22465554" y="2558219"/>
                </a:lnTo>
                <a:lnTo>
                  <a:pt x="22465554" y="2574998"/>
                </a:lnTo>
                <a:cubicBezTo>
                  <a:pt x="22465554" y="2590572"/>
                  <a:pt x="22465554" y="2590572"/>
                  <a:pt x="22465554" y="2590572"/>
                </a:cubicBezTo>
                <a:cubicBezTo>
                  <a:pt x="22542604" y="2590572"/>
                  <a:pt x="22542604" y="2553655"/>
                  <a:pt x="22656576" y="2553655"/>
                </a:cubicBezTo>
                <a:cubicBezTo>
                  <a:pt x="22656576" y="2590572"/>
                  <a:pt x="22618050" y="2590572"/>
                  <a:pt x="22618050" y="2629093"/>
                </a:cubicBezTo>
                <a:cubicBezTo>
                  <a:pt x="22656576" y="2629093"/>
                  <a:pt x="22656576" y="2629093"/>
                  <a:pt x="22656576" y="2629093"/>
                </a:cubicBezTo>
                <a:cubicBezTo>
                  <a:pt x="22666208" y="2619463"/>
                  <a:pt x="22682962" y="2614648"/>
                  <a:pt x="22703254" y="2612240"/>
                </a:cubicBezTo>
                <a:lnTo>
                  <a:pt x="22752892" y="2610480"/>
                </a:lnTo>
                <a:lnTo>
                  <a:pt x="22754972" y="2617306"/>
                </a:lnTo>
                <a:cubicBezTo>
                  <a:pt x="22763926" y="2624378"/>
                  <a:pt x="22780580" y="2629093"/>
                  <a:pt x="22809074" y="2629093"/>
                </a:cubicBezTo>
                <a:lnTo>
                  <a:pt x="22801216" y="2608762"/>
                </a:lnTo>
                <a:lnTo>
                  <a:pt x="22838744" y="2607425"/>
                </a:lnTo>
                <a:cubicBezTo>
                  <a:pt x="22858836" y="2605017"/>
                  <a:pt x="22875290" y="2600202"/>
                  <a:pt x="22884520" y="2590572"/>
                </a:cubicBezTo>
                <a:cubicBezTo>
                  <a:pt x="22847598" y="2590572"/>
                  <a:pt x="22847598" y="2553655"/>
                  <a:pt x="22809074" y="2553655"/>
                </a:cubicBezTo>
                <a:cubicBezTo>
                  <a:pt x="22751284" y="2553655"/>
                  <a:pt x="22780180" y="2574421"/>
                  <a:pt x="22798238" y="2601055"/>
                </a:cubicBezTo>
                <a:lnTo>
                  <a:pt x="22801216" y="2608762"/>
                </a:lnTo>
                <a:lnTo>
                  <a:pt x="22771150" y="2609832"/>
                </a:lnTo>
                <a:lnTo>
                  <a:pt x="22752892" y="2610480"/>
                </a:lnTo>
                <a:lnTo>
                  <a:pt x="22747072" y="2591374"/>
                </a:lnTo>
                <a:cubicBezTo>
                  <a:pt x="22751686" y="2572515"/>
                  <a:pt x="22770548" y="2553655"/>
                  <a:pt x="22770548" y="2553655"/>
                </a:cubicBezTo>
                <a:cubicBezTo>
                  <a:pt x="22809074" y="2553655"/>
                  <a:pt x="22809074" y="2553655"/>
                  <a:pt x="22809074" y="2515134"/>
                </a:cubicBezTo>
                <a:cubicBezTo>
                  <a:pt x="22847598" y="2515134"/>
                  <a:pt x="22847598" y="2553655"/>
                  <a:pt x="22884520" y="2553655"/>
                </a:cubicBezTo>
                <a:cubicBezTo>
                  <a:pt x="22884520" y="2553655"/>
                  <a:pt x="22923044" y="2515134"/>
                  <a:pt x="22923044" y="2476612"/>
                </a:cubicBezTo>
                <a:lnTo>
                  <a:pt x="22923044" y="2515134"/>
                </a:lnTo>
                <a:cubicBezTo>
                  <a:pt x="22923044" y="2515134"/>
                  <a:pt x="22923044" y="2515134"/>
                  <a:pt x="23037016" y="2515134"/>
                </a:cubicBezTo>
                <a:cubicBezTo>
                  <a:pt x="23037016" y="2515134"/>
                  <a:pt x="23037016" y="2515134"/>
                  <a:pt x="23037016" y="2553655"/>
                </a:cubicBezTo>
                <a:cubicBezTo>
                  <a:pt x="23000096" y="2553655"/>
                  <a:pt x="23000096" y="2553655"/>
                  <a:pt x="23000096" y="2590572"/>
                </a:cubicBezTo>
                <a:cubicBezTo>
                  <a:pt x="23037016" y="2590572"/>
                  <a:pt x="23037016" y="2590572"/>
                  <a:pt x="23075542" y="2590572"/>
                </a:cubicBezTo>
                <a:cubicBezTo>
                  <a:pt x="23075542" y="2629093"/>
                  <a:pt x="23114068" y="2629093"/>
                  <a:pt x="23189514" y="2629093"/>
                </a:cubicBezTo>
                <a:cubicBezTo>
                  <a:pt x="23152594" y="2590572"/>
                  <a:pt x="23228040" y="2590572"/>
                  <a:pt x="23228040" y="2629093"/>
                </a:cubicBezTo>
                <a:cubicBezTo>
                  <a:pt x="23285024" y="2629093"/>
                  <a:pt x="23313518" y="2619463"/>
                  <a:pt x="23342210" y="2609832"/>
                </a:cubicBezTo>
                <a:lnTo>
                  <a:pt x="23382648" y="2598385"/>
                </a:lnTo>
                <a:lnTo>
                  <a:pt x="23386556" y="2612842"/>
                </a:lnTo>
                <a:cubicBezTo>
                  <a:pt x="23397392" y="2629093"/>
                  <a:pt x="23419062" y="2629093"/>
                  <a:pt x="23419062" y="2629093"/>
                </a:cubicBezTo>
                <a:cubicBezTo>
                  <a:pt x="23533034" y="2590572"/>
                  <a:pt x="23724056" y="2590572"/>
                  <a:pt x="23799502" y="2553655"/>
                </a:cubicBezTo>
                <a:cubicBezTo>
                  <a:pt x="23838028" y="2553655"/>
                  <a:pt x="23838028" y="2590572"/>
                  <a:pt x="23915080" y="2590572"/>
                </a:cubicBezTo>
                <a:cubicBezTo>
                  <a:pt x="23915080" y="2590572"/>
                  <a:pt x="23876554" y="2629093"/>
                  <a:pt x="23838028" y="2629093"/>
                </a:cubicBezTo>
                <a:cubicBezTo>
                  <a:pt x="23838028" y="2667615"/>
                  <a:pt x="23838028" y="2667615"/>
                  <a:pt x="23915080" y="2667615"/>
                </a:cubicBezTo>
                <a:lnTo>
                  <a:pt x="23890400" y="2667615"/>
                </a:lnTo>
                <a:cubicBezTo>
                  <a:pt x="23866522" y="2667615"/>
                  <a:pt x="23838028" y="2667615"/>
                  <a:pt x="23838028" y="2667615"/>
                </a:cubicBezTo>
                <a:cubicBezTo>
                  <a:pt x="23915080" y="2743053"/>
                  <a:pt x="24143022" y="2667615"/>
                  <a:pt x="24029050" y="2590572"/>
                </a:cubicBezTo>
                <a:cubicBezTo>
                  <a:pt x="24067576" y="2590572"/>
                  <a:pt x="24067576" y="2590572"/>
                  <a:pt x="24104496" y="2590572"/>
                </a:cubicBezTo>
                <a:cubicBezTo>
                  <a:pt x="24067576" y="2553655"/>
                  <a:pt x="24067576" y="2553655"/>
                  <a:pt x="24029050" y="2553655"/>
                </a:cubicBezTo>
                <a:cubicBezTo>
                  <a:pt x="24067576" y="2476612"/>
                  <a:pt x="24143022" y="2515134"/>
                  <a:pt x="24220074" y="2515134"/>
                </a:cubicBezTo>
                <a:cubicBezTo>
                  <a:pt x="24181548" y="2553655"/>
                  <a:pt x="24295520" y="2553655"/>
                  <a:pt x="24334046" y="2553655"/>
                </a:cubicBezTo>
                <a:cubicBezTo>
                  <a:pt x="24372570" y="2553655"/>
                  <a:pt x="24372570" y="2515134"/>
                  <a:pt x="24372570" y="2476612"/>
                </a:cubicBezTo>
                <a:lnTo>
                  <a:pt x="24377650" y="2479068"/>
                </a:lnTo>
                <a:lnTo>
                  <a:pt x="24377650" y="2783205"/>
                </a:lnTo>
                <a:lnTo>
                  <a:pt x="24319398" y="2786189"/>
                </a:lnTo>
                <a:cubicBezTo>
                  <a:pt x="24295520" y="2790803"/>
                  <a:pt x="24276258" y="2800033"/>
                  <a:pt x="24256994" y="2818491"/>
                </a:cubicBezTo>
                <a:cubicBezTo>
                  <a:pt x="24295520" y="2818491"/>
                  <a:pt x="24324414" y="2818491"/>
                  <a:pt x="24348292" y="2813876"/>
                </a:cubicBezTo>
                <a:lnTo>
                  <a:pt x="24377650" y="2804016"/>
                </a:lnTo>
                <a:lnTo>
                  <a:pt x="24377650" y="2901489"/>
                </a:lnTo>
                <a:lnTo>
                  <a:pt x="24377312" y="2901553"/>
                </a:lnTo>
                <a:cubicBezTo>
                  <a:pt x="24343676" y="2912387"/>
                  <a:pt x="24314782" y="2934055"/>
                  <a:pt x="24372570" y="2934055"/>
                </a:cubicBezTo>
                <a:cubicBezTo>
                  <a:pt x="24256994" y="2934055"/>
                  <a:pt x="24143022" y="2970972"/>
                  <a:pt x="23952000" y="2970972"/>
                </a:cubicBezTo>
                <a:cubicBezTo>
                  <a:pt x="23915080" y="2970972"/>
                  <a:pt x="23952000" y="2970972"/>
                  <a:pt x="23952000" y="3009493"/>
                </a:cubicBezTo>
                <a:cubicBezTo>
                  <a:pt x="23876554" y="3009493"/>
                  <a:pt x="23799502" y="3009493"/>
                  <a:pt x="23762582" y="3009493"/>
                </a:cubicBezTo>
                <a:cubicBezTo>
                  <a:pt x="23838028" y="3048015"/>
                  <a:pt x="23724056" y="3123453"/>
                  <a:pt x="23838028" y="3086536"/>
                </a:cubicBezTo>
                <a:cubicBezTo>
                  <a:pt x="23876554" y="3123453"/>
                  <a:pt x="23762582" y="3086536"/>
                  <a:pt x="23724056" y="3123453"/>
                </a:cubicBezTo>
                <a:cubicBezTo>
                  <a:pt x="23762582" y="3163579"/>
                  <a:pt x="23838028" y="3123453"/>
                  <a:pt x="23876554" y="3123453"/>
                </a:cubicBezTo>
                <a:cubicBezTo>
                  <a:pt x="23876554" y="3163579"/>
                  <a:pt x="23876554" y="3163579"/>
                  <a:pt x="23915080" y="3163579"/>
                </a:cubicBezTo>
                <a:cubicBezTo>
                  <a:pt x="23838028" y="3163579"/>
                  <a:pt x="23799502" y="3163579"/>
                  <a:pt x="23762582" y="3239017"/>
                </a:cubicBezTo>
                <a:cubicBezTo>
                  <a:pt x="23799502" y="3239017"/>
                  <a:pt x="23799502" y="3239017"/>
                  <a:pt x="23799502" y="3239017"/>
                </a:cubicBezTo>
                <a:cubicBezTo>
                  <a:pt x="23838028" y="3239017"/>
                  <a:pt x="23915080" y="3200495"/>
                  <a:pt x="23952000" y="3200495"/>
                </a:cubicBezTo>
                <a:cubicBezTo>
                  <a:pt x="23990526" y="3239017"/>
                  <a:pt x="24220074" y="3275933"/>
                  <a:pt x="24220074" y="3200495"/>
                </a:cubicBezTo>
                <a:cubicBezTo>
                  <a:pt x="24256994" y="3200495"/>
                  <a:pt x="24295520" y="3239017"/>
                  <a:pt x="24334046" y="3275933"/>
                </a:cubicBezTo>
                <a:cubicBezTo>
                  <a:pt x="24343476" y="3271318"/>
                  <a:pt x="24353534" y="3268485"/>
                  <a:pt x="24364062" y="3266908"/>
                </a:cubicBezTo>
                <a:lnTo>
                  <a:pt x="24377650" y="3266294"/>
                </a:lnTo>
                <a:lnTo>
                  <a:pt x="24377650" y="3532006"/>
                </a:lnTo>
                <a:lnTo>
                  <a:pt x="24363892" y="3527728"/>
                </a:lnTo>
                <a:cubicBezTo>
                  <a:pt x="24353208" y="3522310"/>
                  <a:pt x="24343676" y="3515087"/>
                  <a:pt x="24334046" y="3505457"/>
                </a:cubicBezTo>
                <a:cubicBezTo>
                  <a:pt x="24295520" y="3505457"/>
                  <a:pt x="24295520" y="3543979"/>
                  <a:pt x="24295520" y="3543979"/>
                </a:cubicBezTo>
                <a:cubicBezTo>
                  <a:pt x="24220074" y="3543979"/>
                  <a:pt x="24104496" y="3543979"/>
                  <a:pt x="24067576" y="3505457"/>
                </a:cubicBezTo>
                <a:cubicBezTo>
                  <a:pt x="24029050" y="3505457"/>
                  <a:pt x="24029050" y="3543979"/>
                  <a:pt x="23915080" y="3543979"/>
                </a:cubicBezTo>
                <a:cubicBezTo>
                  <a:pt x="23915080" y="3580895"/>
                  <a:pt x="23990526" y="3580895"/>
                  <a:pt x="23952000" y="3621022"/>
                </a:cubicBezTo>
                <a:cubicBezTo>
                  <a:pt x="23990526" y="3621022"/>
                  <a:pt x="24029050" y="3621022"/>
                  <a:pt x="24104496" y="3657939"/>
                </a:cubicBezTo>
                <a:cubicBezTo>
                  <a:pt x="24029050" y="3657939"/>
                  <a:pt x="24104496" y="3696460"/>
                  <a:pt x="24104496" y="3773503"/>
                </a:cubicBezTo>
                <a:cubicBezTo>
                  <a:pt x="24181548" y="3696460"/>
                  <a:pt x="24220074" y="3733377"/>
                  <a:pt x="24372570" y="3733377"/>
                </a:cubicBezTo>
                <a:cubicBezTo>
                  <a:pt x="24295520" y="3773503"/>
                  <a:pt x="24181548" y="3733377"/>
                  <a:pt x="24143022" y="3810420"/>
                </a:cubicBezTo>
                <a:cubicBezTo>
                  <a:pt x="24104496" y="3773503"/>
                  <a:pt x="24029050" y="3773503"/>
                  <a:pt x="23990526" y="3773503"/>
                </a:cubicBezTo>
                <a:cubicBezTo>
                  <a:pt x="23799502" y="3925984"/>
                  <a:pt x="24220074" y="3925984"/>
                  <a:pt x="24295520" y="4001422"/>
                </a:cubicBezTo>
                <a:cubicBezTo>
                  <a:pt x="24295520" y="4001422"/>
                  <a:pt x="24334046" y="4001422"/>
                  <a:pt x="24372570" y="4001422"/>
                </a:cubicBezTo>
                <a:lnTo>
                  <a:pt x="24372570" y="4038339"/>
                </a:lnTo>
                <a:lnTo>
                  <a:pt x="24377650" y="4044926"/>
                </a:lnTo>
                <a:lnTo>
                  <a:pt x="24377650" y="4056644"/>
                </a:lnTo>
                <a:lnTo>
                  <a:pt x="24367154" y="4058402"/>
                </a:lnTo>
                <a:cubicBezTo>
                  <a:pt x="24352908" y="4058402"/>
                  <a:pt x="24334046" y="4058402"/>
                  <a:pt x="24334046" y="4078465"/>
                </a:cubicBezTo>
                <a:cubicBezTo>
                  <a:pt x="24352908" y="4078465"/>
                  <a:pt x="24364746" y="4078465"/>
                  <a:pt x="24372472" y="4079042"/>
                </a:cubicBezTo>
                <a:lnTo>
                  <a:pt x="24377650" y="4080563"/>
                </a:lnTo>
                <a:lnTo>
                  <a:pt x="24377650" y="5115369"/>
                </a:lnTo>
                <a:lnTo>
                  <a:pt x="24371768" y="5113732"/>
                </a:lnTo>
                <a:cubicBezTo>
                  <a:pt x="24352908" y="5113731"/>
                  <a:pt x="24334046" y="5123362"/>
                  <a:pt x="24334046" y="5142623"/>
                </a:cubicBezTo>
                <a:cubicBezTo>
                  <a:pt x="24343676" y="5152253"/>
                  <a:pt x="24353208" y="5157068"/>
                  <a:pt x="24362688" y="5158874"/>
                </a:cubicBezTo>
                <a:lnTo>
                  <a:pt x="24377650" y="5157921"/>
                </a:lnTo>
                <a:lnTo>
                  <a:pt x="24377650" y="5181144"/>
                </a:lnTo>
                <a:lnTo>
                  <a:pt x="24371768" y="5181144"/>
                </a:lnTo>
                <a:cubicBezTo>
                  <a:pt x="24343276" y="5181144"/>
                  <a:pt x="24314784" y="5181144"/>
                  <a:pt x="24295520" y="5181144"/>
                </a:cubicBezTo>
                <a:cubicBezTo>
                  <a:pt x="24295520" y="5218061"/>
                  <a:pt x="24372570" y="5218061"/>
                  <a:pt x="24334046" y="5256582"/>
                </a:cubicBezTo>
                <a:cubicBezTo>
                  <a:pt x="24334046" y="5295103"/>
                  <a:pt x="24295520" y="5295103"/>
                  <a:pt x="24256994" y="5295103"/>
                </a:cubicBezTo>
                <a:cubicBezTo>
                  <a:pt x="24295520" y="5333625"/>
                  <a:pt x="24295520" y="5333625"/>
                  <a:pt x="24256994" y="5370541"/>
                </a:cubicBezTo>
                <a:cubicBezTo>
                  <a:pt x="24295520" y="5370541"/>
                  <a:pt x="24334046" y="5370541"/>
                  <a:pt x="24372570" y="5409063"/>
                </a:cubicBezTo>
                <a:cubicBezTo>
                  <a:pt x="24372570" y="5447585"/>
                  <a:pt x="24372570" y="5476075"/>
                  <a:pt x="24377186" y="5504564"/>
                </a:cubicBezTo>
                <a:lnTo>
                  <a:pt x="24377650" y="5506429"/>
                </a:lnTo>
                <a:lnTo>
                  <a:pt x="24377650" y="5602784"/>
                </a:lnTo>
                <a:lnTo>
                  <a:pt x="24353108" y="5604880"/>
                </a:lnTo>
                <a:cubicBezTo>
                  <a:pt x="24334046" y="5609696"/>
                  <a:pt x="24314784" y="5619326"/>
                  <a:pt x="24295520" y="5638587"/>
                </a:cubicBezTo>
                <a:cubicBezTo>
                  <a:pt x="24334046" y="5638587"/>
                  <a:pt x="24334046" y="5638587"/>
                  <a:pt x="24372570" y="5638587"/>
                </a:cubicBezTo>
                <a:lnTo>
                  <a:pt x="24377650" y="5647171"/>
                </a:lnTo>
                <a:lnTo>
                  <a:pt x="24377650" y="5655428"/>
                </a:lnTo>
                <a:lnTo>
                  <a:pt x="24367154" y="5657045"/>
                </a:lnTo>
                <a:cubicBezTo>
                  <a:pt x="24352908" y="5657045"/>
                  <a:pt x="24334046" y="5657045"/>
                  <a:pt x="24334046" y="5675503"/>
                </a:cubicBezTo>
                <a:cubicBezTo>
                  <a:pt x="24295520" y="5675503"/>
                  <a:pt x="24256994" y="5675503"/>
                  <a:pt x="24220074" y="5714025"/>
                </a:cubicBezTo>
                <a:cubicBezTo>
                  <a:pt x="24295520" y="5675503"/>
                  <a:pt x="24334046" y="5827985"/>
                  <a:pt x="24220074" y="5827985"/>
                </a:cubicBezTo>
                <a:cubicBezTo>
                  <a:pt x="24220074" y="5791068"/>
                  <a:pt x="24256994" y="5752547"/>
                  <a:pt x="24181548" y="5714025"/>
                </a:cubicBezTo>
                <a:cubicBezTo>
                  <a:pt x="24143022" y="5752547"/>
                  <a:pt x="24104496" y="5752547"/>
                  <a:pt x="24067576" y="5827985"/>
                </a:cubicBezTo>
                <a:cubicBezTo>
                  <a:pt x="24181548" y="5827985"/>
                  <a:pt x="24220074" y="5905027"/>
                  <a:pt x="24067576" y="5905027"/>
                </a:cubicBezTo>
                <a:cubicBezTo>
                  <a:pt x="24104496" y="5943549"/>
                  <a:pt x="24143022" y="5980465"/>
                  <a:pt x="24143022" y="5980465"/>
                </a:cubicBezTo>
                <a:cubicBezTo>
                  <a:pt x="24143022" y="6018987"/>
                  <a:pt x="24104496" y="6018987"/>
                  <a:pt x="24104496" y="6018987"/>
                </a:cubicBezTo>
                <a:lnTo>
                  <a:pt x="24143022" y="6018987"/>
                </a:lnTo>
                <a:cubicBezTo>
                  <a:pt x="24181548" y="6057509"/>
                  <a:pt x="24104496" y="6057509"/>
                  <a:pt x="24104496" y="6096030"/>
                </a:cubicBezTo>
                <a:cubicBezTo>
                  <a:pt x="24181548" y="6132947"/>
                  <a:pt x="24143022" y="6057509"/>
                  <a:pt x="24220074" y="6057509"/>
                </a:cubicBezTo>
                <a:cubicBezTo>
                  <a:pt x="24143022" y="6132947"/>
                  <a:pt x="24143022" y="6209989"/>
                  <a:pt x="24104496" y="6285427"/>
                </a:cubicBezTo>
                <a:cubicBezTo>
                  <a:pt x="24067576" y="6285427"/>
                  <a:pt x="24067576" y="6323949"/>
                  <a:pt x="23990526" y="6323949"/>
                </a:cubicBezTo>
                <a:cubicBezTo>
                  <a:pt x="23990526" y="6362471"/>
                  <a:pt x="24029050" y="6362471"/>
                  <a:pt x="24067576" y="6362471"/>
                </a:cubicBezTo>
                <a:cubicBezTo>
                  <a:pt x="24029050" y="6400992"/>
                  <a:pt x="24067576" y="6476430"/>
                  <a:pt x="23990526" y="6514951"/>
                </a:cubicBezTo>
                <a:cubicBezTo>
                  <a:pt x="23952000" y="6476430"/>
                  <a:pt x="23990526" y="6437909"/>
                  <a:pt x="23990526" y="6437909"/>
                </a:cubicBezTo>
                <a:cubicBezTo>
                  <a:pt x="23915080" y="6437909"/>
                  <a:pt x="23915080" y="6437909"/>
                  <a:pt x="23915080" y="6476430"/>
                </a:cubicBezTo>
                <a:cubicBezTo>
                  <a:pt x="23838028" y="6437909"/>
                  <a:pt x="23952000" y="6400992"/>
                  <a:pt x="23990526" y="6362471"/>
                </a:cubicBezTo>
                <a:cubicBezTo>
                  <a:pt x="23915080" y="6362471"/>
                  <a:pt x="23876554" y="6248511"/>
                  <a:pt x="23915080" y="6171468"/>
                </a:cubicBezTo>
                <a:cubicBezTo>
                  <a:pt x="23876554" y="6171468"/>
                  <a:pt x="23838430" y="6171468"/>
                  <a:pt x="23805120" y="6171468"/>
                </a:cubicBezTo>
                <a:lnTo>
                  <a:pt x="23762582" y="6171468"/>
                </a:lnTo>
                <a:cubicBezTo>
                  <a:pt x="23762582" y="6209989"/>
                  <a:pt x="23685530" y="6209989"/>
                  <a:pt x="23685530" y="6248511"/>
                </a:cubicBezTo>
                <a:cubicBezTo>
                  <a:pt x="23647006" y="6248511"/>
                  <a:pt x="23647006" y="6248511"/>
                  <a:pt x="23647006" y="6248511"/>
                </a:cubicBezTo>
                <a:cubicBezTo>
                  <a:pt x="23571560" y="6285427"/>
                  <a:pt x="23647006" y="6323949"/>
                  <a:pt x="23647006" y="6323949"/>
                </a:cubicBezTo>
                <a:cubicBezTo>
                  <a:pt x="23610084" y="6323949"/>
                  <a:pt x="23533034" y="6285427"/>
                  <a:pt x="23571560" y="6323949"/>
                </a:cubicBezTo>
                <a:cubicBezTo>
                  <a:pt x="23419062" y="6362471"/>
                  <a:pt x="23342010" y="6285427"/>
                  <a:pt x="23228040" y="6323949"/>
                </a:cubicBezTo>
                <a:cubicBezTo>
                  <a:pt x="23266564" y="6285427"/>
                  <a:pt x="23228040" y="6248511"/>
                  <a:pt x="23152594" y="6285427"/>
                </a:cubicBezTo>
                <a:cubicBezTo>
                  <a:pt x="23189514" y="6248511"/>
                  <a:pt x="23189514" y="6248511"/>
                  <a:pt x="23152594" y="6209989"/>
                </a:cubicBezTo>
                <a:cubicBezTo>
                  <a:pt x="23228040" y="6209989"/>
                  <a:pt x="23266564" y="6248511"/>
                  <a:pt x="23305090" y="6209989"/>
                </a:cubicBezTo>
                <a:cubicBezTo>
                  <a:pt x="23266564" y="6171468"/>
                  <a:pt x="23152594" y="6209989"/>
                  <a:pt x="23189514" y="6171468"/>
                </a:cubicBezTo>
                <a:cubicBezTo>
                  <a:pt x="23114068" y="6171468"/>
                  <a:pt x="23075542" y="6209989"/>
                  <a:pt x="23000096" y="6209989"/>
                </a:cubicBezTo>
                <a:cubicBezTo>
                  <a:pt x="23037016" y="6248511"/>
                  <a:pt x="23075542" y="6248511"/>
                  <a:pt x="23114068" y="6285427"/>
                </a:cubicBezTo>
                <a:cubicBezTo>
                  <a:pt x="23075542" y="6285427"/>
                  <a:pt x="22961570" y="6248511"/>
                  <a:pt x="22923044" y="6285427"/>
                </a:cubicBezTo>
                <a:cubicBezTo>
                  <a:pt x="22961570" y="6323949"/>
                  <a:pt x="22961570" y="6285427"/>
                  <a:pt x="23037016" y="6285427"/>
                </a:cubicBezTo>
                <a:cubicBezTo>
                  <a:pt x="23037016" y="6323949"/>
                  <a:pt x="23000096" y="6323949"/>
                  <a:pt x="23075542" y="6362471"/>
                </a:cubicBezTo>
                <a:cubicBezTo>
                  <a:pt x="23037016" y="6400992"/>
                  <a:pt x="23037016" y="6323949"/>
                  <a:pt x="23000096" y="6323949"/>
                </a:cubicBezTo>
                <a:cubicBezTo>
                  <a:pt x="22923044" y="6323949"/>
                  <a:pt x="23000096" y="6362471"/>
                  <a:pt x="22961570" y="6362471"/>
                </a:cubicBezTo>
                <a:cubicBezTo>
                  <a:pt x="23000096" y="6400992"/>
                  <a:pt x="23037016" y="6400992"/>
                  <a:pt x="23075542" y="6437909"/>
                </a:cubicBezTo>
                <a:cubicBezTo>
                  <a:pt x="23037016" y="6437909"/>
                  <a:pt x="23000096" y="6514951"/>
                  <a:pt x="22961570" y="6476430"/>
                </a:cubicBezTo>
                <a:cubicBezTo>
                  <a:pt x="22923044" y="6476430"/>
                  <a:pt x="22961570" y="6476430"/>
                  <a:pt x="22961570" y="6514951"/>
                </a:cubicBezTo>
                <a:cubicBezTo>
                  <a:pt x="23000096" y="6514951"/>
                  <a:pt x="23037016" y="6514951"/>
                  <a:pt x="23037016" y="6514951"/>
                </a:cubicBezTo>
                <a:cubicBezTo>
                  <a:pt x="23000096" y="6590389"/>
                  <a:pt x="22923044" y="6476430"/>
                  <a:pt x="22847598" y="6514951"/>
                </a:cubicBezTo>
                <a:cubicBezTo>
                  <a:pt x="22847598" y="6553473"/>
                  <a:pt x="22884520" y="6553473"/>
                  <a:pt x="22923044" y="6553473"/>
                </a:cubicBezTo>
                <a:cubicBezTo>
                  <a:pt x="22884520" y="6590389"/>
                  <a:pt x="22961570" y="6590389"/>
                  <a:pt x="22923044" y="6590389"/>
                </a:cubicBezTo>
                <a:cubicBezTo>
                  <a:pt x="22884520" y="6590389"/>
                  <a:pt x="22923044" y="6590389"/>
                  <a:pt x="22884520" y="6553473"/>
                </a:cubicBezTo>
                <a:cubicBezTo>
                  <a:pt x="22809074" y="6553473"/>
                  <a:pt x="22847598" y="6590389"/>
                  <a:pt x="22770548" y="6590389"/>
                </a:cubicBezTo>
                <a:cubicBezTo>
                  <a:pt x="22770548" y="6590389"/>
                  <a:pt x="22732022" y="6553473"/>
                  <a:pt x="22770548" y="6553473"/>
                </a:cubicBezTo>
                <a:cubicBezTo>
                  <a:pt x="22656576" y="6553473"/>
                  <a:pt x="22656576" y="6476430"/>
                  <a:pt x="22542604" y="6514951"/>
                </a:cubicBezTo>
                <a:cubicBezTo>
                  <a:pt x="22542604" y="6553473"/>
                  <a:pt x="22618050" y="6590389"/>
                  <a:pt x="22656576" y="6628911"/>
                </a:cubicBezTo>
                <a:cubicBezTo>
                  <a:pt x="22732022" y="6590389"/>
                  <a:pt x="22695102" y="6667433"/>
                  <a:pt x="22770548" y="6667433"/>
                </a:cubicBezTo>
                <a:cubicBezTo>
                  <a:pt x="22732022" y="6742871"/>
                  <a:pt x="22732022" y="6742871"/>
                  <a:pt x="22770548" y="6781392"/>
                </a:cubicBezTo>
                <a:cubicBezTo>
                  <a:pt x="22732022" y="6781392"/>
                  <a:pt x="22695102" y="6781392"/>
                  <a:pt x="22656576" y="6742871"/>
                </a:cubicBezTo>
                <a:cubicBezTo>
                  <a:pt x="22656576" y="6704349"/>
                  <a:pt x="22732022" y="6742871"/>
                  <a:pt x="22732022" y="6704349"/>
                </a:cubicBezTo>
                <a:cubicBezTo>
                  <a:pt x="22695102" y="6667433"/>
                  <a:pt x="22656576" y="6667433"/>
                  <a:pt x="22695102" y="6667433"/>
                </a:cubicBezTo>
                <a:cubicBezTo>
                  <a:pt x="22656576" y="6628911"/>
                  <a:pt x="22542604" y="6667433"/>
                  <a:pt x="22618050" y="6628911"/>
                </a:cubicBezTo>
                <a:cubicBezTo>
                  <a:pt x="22542604" y="6628911"/>
                  <a:pt x="22504078" y="6628911"/>
                  <a:pt x="22465554" y="6590389"/>
                </a:cubicBezTo>
                <a:cubicBezTo>
                  <a:pt x="22465554" y="6553473"/>
                  <a:pt x="22465554" y="6476430"/>
                  <a:pt x="22390108" y="6437909"/>
                </a:cubicBezTo>
                <a:cubicBezTo>
                  <a:pt x="22427028" y="6437909"/>
                  <a:pt x="22504078" y="6400992"/>
                  <a:pt x="22504078" y="6362471"/>
                </a:cubicBezTo>
                <a:lnTo>
                  <a:pt x="22465554" y="6362471"/>
                </a:lnTo>
                <a:cubicBezTo>
                  <a:pt x="22427028" y="6323949"/>
                  <a:pt x="22465554" y="6323949"/>
                  <a:pt x="22465554" y="6285427"/>
                </a:cubicBezTo>
                <a:cubicBezTo>
                  <a:pt x="22542604" y="6323949"/>
                  <a:pt x="22542604" y="6285427"/>
                  <a:pt x="22618050" y="6285427"/>
                </a:cubicBezTo>
                <a:cubicBezTo>
                  <a:pt x="22618050" y="6323949"/>
                  <a:pt x="22579524" y="6323949"/>
                  <a:pt x="22579524" y="6362471"/>
                </a:cubicBezTo>
                <a:cubicBezTo>
                  <a:pt x="22656576" y="6400992"/>
                  <a:pt x="22770548" y="6323949"/>
                  <a:pt x="22847598" y="6285427"/>
                </a:cubicBezTo>
                <a:cubicBezTo>
                  <a:pt x="22770548" y="6285427"/>
                  <a:pt x="22732022" y="6248511"/>
                  <a:pt x="22618050" y="6248511"/>
                </a:cubicBezTo>
                <a:cubicBezTo>
                  <a:pt x="22618050" y="6209989"/>
                  <a:pt x="22656576" y="6248511"/>
                  <a:pt x="22695102" y="6248511"/>
                </a:cubicBezTo>
                <a:cubicBezTo>
                  <a:pt x="22695102" y="6209989"/>
                  <a:pt x="22656576" y="6209989"/>
                  <a:pt x="22618050" y="6171468"/>
                </a:cubicBezTo>
                <a:cubicBezTo>
                  <a:pt x="22542604" y="6209989"/>
                  <a:pt x="22618050" y="6209989"/>
                  <a:pt x="22579524" y="6248511"/>
                </a:cubicBezTo>
                <a:cubicBezTo>
                  <a:pt x="22504078" y="6209989"/>
                  <a:pt x="22465554" y="6171468"/>
                  <a:pt x="22427028" y="6096030"/>
                </a:cubicBezTo>
                <a:cubicBezTo>
                  <a:pt x="22351582" y="6132947"/>
                  <a:pt x="22351582" y="6096030"/>
                  <a:pt x="22274530" y="6096030"/>
                </a:cubicBezTo>
                <a:cubicBezTo>
                  <a:pt x="22313056" y="6057509"/>
                  <a:pt x="22274530" y="6018987"/>
                  <a:pt x="22274530" y="5980465"/>
                </a:cubicBezTo>
                <a:cubicBezTo>
                  <a:pt x="22217946" y="5980465"/>
                  <a:pt x="22225470" y="6002134"/>
                  <a:pt x="22200262" y="6012968"/>
                </a:cubicBezTo>
                <a:lnTo>
                  <a:pt x="22199084" y="6013147"/>
                </a:lnTo>
                <a:lnTo>
                  <a:pt x="22199084" y="5996717"/>
                </a:lnTo>
                <a:cubicBezTo>
                  <a:pt x="22199084" y="5980465"/>
                  <a:pt x="22199084" y="5980465"/>
                  <a:pt x="22199084" y="5980465"/>
                </a:cubicBezTo>
                <a:cubicBezTo>
                  <a:pt x="22160558" y="5980465"/>
                  <a:pt x="22123638" y="5980465"/>
                  <a:pt x="22085112" y="5980465"/>
                </a:cubicBezTo>
                <a:cubicBezTo>
                  <a:pt x="22046588" y="5943549"/>
                  <a:pt x="22046588" y="5905027"/>
                  <a:pt x="22008062" y="5905027"/>
                </a:cubicBezTo>
                <a:cubicBezTo>
                  <a:pt x="21932616" y="5905027"/>
                  <a:pt x="22008062" y="5943549"/>
                  <a:pt x="22008062" y="5980465"/>
                </a:cubicBezTo>
                <a:cubicBezTo>
                  <a:pt x="22065850" y="5980465"/>
                  <a:pt x="22101968" y="6002134"/>
                  <a:pt x="22148244" y="6012968"/>
                </a:cubicBezTo>
                <a:lnTo>
                  <a:pt x="22177452" y="6016426"/>
                </a:lnTo>
                <a:lnTo>
                  <a:pt x="22160558" y="6018987"/>
                </a:lnTo>
                <a:cubicBezTo>
                  <a:pt x="22199084" y="6096030"/>
                  <a:pt x="22123638" y="6132947"/>
                  <a:pt x="22199084" y="6132947"/>
                </a:cubicBezTo>
                <a:cubicBezTo>
                  <a:pt x="22160558" y="6132947"/>
                  <a:pt x="22160558" y="6171468"/>
                  <a:pt x="22123638" y="6171468"/>
                </a:cubicBezTo>
                <a:cubicBezTo>
                  <a:pt x="22123638" y="6132947"/>
                  <a:pt x="22085112" y="6096030"/>
                  <a:pt x="22085112" y="6057509"/>
                </a:cubicBezTo>
                <a:cubicBezTo>
                  <a:pt x="22008062" y="6096030"/>
                  <a:pt x="21932616" y="6096030"/>
                  <a:pt x="21855564" y="6096030"/>
                </a:cubicBezTo>
                <a:cubicBezTo>
                  <a:pt x="21855564" y="6132947"/>
                  <a:pt x="21932616" y="6132947"/>
                  <a:pt x="21971142" y="6132947"/>
                </a:cubicBezTo>
                <a:cubicBezTo>
                  <a:pt x="21932616" y="6132947"/>
                  <a:pt x="21894090" y="6171468"/>
                  <a:pt x="21971142" y="6171468"/>
                </a:cubicBezTo>
                <a:cubicBezTo>
                  <a:pt x="21894090" y="6171468"/>
                  <a:pt x="21780118" y="6209989"/>
                  <a:pt x="21741594" y="6171468"/>
                </a:cubicBezTo>
                <a:cubicBezTo>
                  <a:pt x="21741594" y="6171468"/>
                  <a:pt x="21741594" y="6248511"/>
                  <a:pt x="21780118" y="6248511"/>
                </a:cubicBezTo>
                <a:cubicBezTo>
                  <a:pt x="21741594" y="6248511"/>
                  <a:pt x="21666148" y="6285427"/>
                  <a:pt x="21627622" y="6285427"/>
                </a:cubicBezTo>
                <a:cubicBezTo>
                  <a:pt x="21627622" y="6323949"/>
                  <a:pt x="21666148" y="6285427"/>
                  <a:pt x="21666148" y="6323949"/>
                </a:cubicBezTo>
                <a:cubicBezTo>
                  <a:pt x="21589096" y="6323949"/>
                  <a:pt x="21550570" y="6362471"/>
                  <a:pt x="21513650" y="6323949"/>
                </a:cubicBezTo>
                <a:cubicBezTo>
                  <a:pt x="21436598" y="6362471"/>
                  <a:pt x="21550570" y="6400992"/>
                  <a:pt x="21589096" y="6437909"/>
                </a:cubicBezTo>
                <a:cubicBezTo>
                  <a:pt x="21627622" y="6437909"/>
                  <a:pt x="21627622" y="6437909"/>
                  <a:pt x="21666148" y="6400992"/>
                </a:cubicBezTo>
                <a:cubicBezTo>
                  <a:pt x="21741594" y="6437909"/>
                  <a:pt x="21589096" y="6437909"/>
                  <a:pt x="21666148" y="6476430"/>
                </a:cubicBezTo>
                <a:cubicBezTo>
                  <a:pt x="21627622" y="6476430"/>
                  <a:pt x="21627622" y="6514951"/>
                  <a:pt x="21589096" y="6514951"/>
                </a:cubicBezTo>
                <a:cubicBezTo>
                  <a:pt x="21627622" y="6514951"/>
                  <a:pt x="21627622" y="6553473"/>
                  <a:pt x="21666148" y="6553473"/>
                </a:cubicBezTo>
                <a:cubicBezTo>
                  <a:pt x="21703068" y="6590389"/>
                  <a:pt x="21666148" y="6590389"/>
                  <a:pt x="21627622" y="6628911"/>
                </a:cubicBezTo>
                <a:cubicBezTo>
                  <a:pt x="21741594" y="6667433"/>
                  <a:pt x="21703068" y="6590389"/>
                  <a:pt x="21780118" y="6553473"/>
                </a:cubicBezTo>
                <a:cubicBezTo>
                  <a:pt x="21780118" y="6553473"/>
                  <a:pt x="21822556" y="6617575"/>
                  <a:pt x="21795694" y="6633375"/>
                </a:cubicBezTo>
                <a:lnTo>
                  <a:pt x="21795112" y="6633474"/>
                </a:lnTo>
                <a:lnTo>
                  <a:pt x="21741594" y="6628911"/>
                </a:lnTo>
                <a:cubicBezTo>
                  <a:pt x="21755840" y="6633726"/>
                  <a:pt x="21767126" y="6636159"/>
                  <a:pt x="21775972" y="6636730"/>
                </a:cubicBezTo>
                <a:lnTo>
                  <a:pt x="21795112" y="6633474"/>
                </a:lnTo>
                <a:lnTo>
                  <a:pt x="21805126" y="6634328"/>
                </a:lnTo>
                <a:cubicBezTo>
                  <a:pt x="21873222" y="6643357"/>
                  <a:pt x="21951478" y="6657802"/>
                  <a:pt x="22008062" y="6628911"/>
                </a:cubicBezTo>
                <a:cubicBezTo>
                  <a:pt x="22008062" y="6667433"/>
                  <a:pt x="22046588" y="6667433"/>
                  <a:pt x="22123638" y="6704349"/>
                </a:cubicBezTo>
                <a:cubicBezTo>
                  <a:pt x="22065850" y="6704349"/>
                  <a:pt x="22051404" y="6683584"/>
                  <a:pt x="22015962" y="6688775"/>
                </a:cubicBezTo>
                <a:lnTo>
                  <a:pt x="21979770" y="6701351"/>
                </a:lnTo>
                <a:lnTo>
                  <a:pt x="21971142" y="6701105"/>
                </a:lnTo>
                <a:lnTo>
                  <a:pt x="21971142" y="6699734"/>
                </a:lnTo>
                <a:cubicBezTo>
                  <a:pt x="21971142" y="6695120"/>
                  <a:pt x="21971142" y="6685891"/>
                  <a:pt x="21971142" y="6667433"/>
                </a:cubicBezTo>
                <a:cubicBezTo>
                  <a:pt x="21855564" y="6667433"/>
                  <a:pt x="21894090" y="6704349"/>
                  <a:pt x="21818644" y="6667433"/>
                </a:cubicBezTo>
                <a:cubicBezTo>
                  <a:pt x="21837104" y="6685891"/>
                  <a:pt x="21875228" y="6695120"/>
                  <a:pt x="21922984" y="6699734"/>
                </a:cubicBezTo>
                <a:lnTo>
                  <a:pt x="21971142" y="6701105"/>
                </a:lnTo>
                <a:lnTo>
                  <a:pt x="21971142" y="6704349"/>
                </a:lnTo>
                <a:lnTo>
                  <a:pt x="21979770" y="6701351"/>
                </a:lnTo>
                <a:lnTo>
                  <a:pt x="22085112" y="6704349"/>
                </a:lnTo>
                <a:cubicBezTo>
                  <a:pt x="22085112" y="6704349"/>
                  <a:pt x="22085112" y="6704349"/>
                  <a:pt x="22085112" y="6742871"/>
                </a:cubicBezTo>
                <a:cubicBezTo>
                  <a:pt x="22046588" y="6742871"/>
                  <a:pt x="22046588" y="6742871"/>
                  <a:pt x="22046588" y="6742871"/>
                </a:cubicBezTo>
                <a:cubicBezTo>
                  <a:pt x="22046588" y="6781392"/>
                  <a:pt x="22085112" y="6781392"/>
                  <a:pt x="22085112" y="6781392"/>
                </a:cubicBezTo>
                <a:cubicBezTo>
                  <a:pt x="22085112" y="6819913"/>
                  <a:pt x="22085112" y="6819913"/>
                  <a:pt x="22046588" y="6819913"/>
                </a:cubicBezTo>
                <a:cubicBezTo>
                  <a:pt x="21971142" y="6781392"/>
                  <a:pt x="21932616" y="6819913"/>
                  <a:pt x="21894090" y="6781392"/>
                </a:cubicBezTo>
                <a:cubicBezTo>
                  <a:pt x="21855564" y="6742871"/>
                  <a:pt x="21971142" y="6781392"/>
                  <a:pt x="21971142" y="6742871"/>
                </a:cubicBezTo>
                <a:cubicBezTo>
                  <a:pt x="21932616" y="6742871"/>
                  <a:pt x="21818644" y="6781392"/>
                  <a:pt x="21780118" y="6781392"/>
                </a:cubicBezTo>
                <a:lnTo>
                  <a:pt x="21780118" y="6819913"/>
                </a:lnTo>
                <a:cubicBezTo>
                  <a:pt x="21780118" y="6856830"/>
                  <a:pt x="21894090" y="6856830"/>
                  <a:pt x="21780118" y="6895351"/>
                </a:cubicBezTo>
                <a:cubicBezTo>
                  <a:pt x="21818644" y="6933873"/>
                  <a:pt x="21818644" y="6895351"/>
                  <a:pt x="21894090" y="6895351"/>
                </a:cubicBezTo>
                <a:lnTo>
                  <a:pt x="21894090" y="6933873"/>
                </a:lnTo>
                <a:cubicBezTo>
                  <a:pt x="21932616" y="6972395"/>
                  <a:pt x="22046588" y="6895351"/>
                  <a:pt x="22046588" y="6856830"/>
                </a:cubicBezTo>
                <a:cubicBezTo>
                  <a:pt x="22085112" y="6895351"/>
                  <a:pt x="22046588" y="6856830"/>
                  <a:pt x="22123638" y="6895351"/>
                </a:cubicBezTo>
                <a:cubicBezTo>
                  <a:pt x="22160558" y="6933873"/>
                  <a:pt x="22085112" y="6895351"/>
                  <a:pt x="22046588" y="6895351"/>
                </a:cubicBezTo>
                <a:cubicBezTo>
                  <a:pt x="22046588" y="6933873"/>
                  <a:pt x="22046588" y="6972395"/>
                  <a:pt x="22085112" y="6972395"/>
                </a:cubicBezTo>
                <a:cubicBezTo>
                  <a:pt x="22046588" y="7009311"/>
                  <a:pt x="22046588" y="7086354"/>
                  <a:pt x="22123638" y="7161792"/>
                </a:cubicBezTo>
                <a:cubicBezTo>
                  <a:pt x="22085112" y="7124875"/>
                  <a:pt x="22046588" y="7086354"/>
                  <a:pt x="22008062" y="7086354"/>
                </a:cubicBezTo>
                <a:cubicBezTo>
                  <a:pt x="21932616" y="7086354"/>
                  <a:pt x="21971142" y="7124875"/>
                  <a:pt x="22008062" y="7161792"/>
                </a:cubicBezTo>
                <a:cubicBezTo>
                  <a:pt x="21932616" y="7161792"/>
                  <a:pt x="21894090" y="7124875"/>
                  <a:pt x="21855564" y="7124875"/>
                </a:cubicBezTo>
                <a:cubicBezTo>
                  <a:pt x="21855564" y="7086354"/>
                  <a:pt x="21932616" y="7124875"/>
                  <a:pt x="21932616" y="7086354"/>
                </a:cubicBezTo>
                <a:cubicBezTo>
                  <a:pt x="21932616" y="7086354"/>
                  <a:pt x="21932616" y="7047833"/>
                  <a:pt x="21894090" y="7047833"/>
                </a:cubicBezTo>
                <a:cubicBezTo>
                  <a:pt x="21855564" y="7047833"/>
                  <a:pt x="21855564" y="7086354"/>
                  <a:pt x="21818644" y="7124875"/>
                </a:cubicBezTo>
                <a:cubicBezTo>
                  <a:pt x="21780118" y="7124875"/>
                  <a:pt x="21855564" y="7086354"/>
                  <a:pt x="21818644" y="7047833"/>
                </a:cubicBezTo>
                <a:cubicBezTo>
                  <a:pt x="21741594" y="7009311"/>
                  <a:pt x="21780118" y="7047833"/>
                  <a:pt x="21741594" y="7047833"/>
                </a:cubicBezTo>
                <a:cubicBezTo>
                  <a:pt x="21741594" y="7009311"/>
                  <a:pt x="21627622" y="6972395"/>
                  <a:pt x="21550570" y="6933873"/>
                </a:cubicBezTo>
                <a:cubicBezTo>
                  <a:pt x="21550570" y="6933873"/>
                  <a:pt x="21627622" y="6933873"/>
                  <a:pt x="21589096" y="6895351"/>
                </a:cubicBezTo>
                <a:cubicBezTo>
                  <a:pt x="21589096" y="6856830"/>
                  <a:pt x="21513650" y="6856830"/>
                  <a:pt x="21436598" y="6819913"/>
                </a:cubicBezTo>
                <a:cubicBezTo>
                  <a:pt x="21436598" y="6781392"/>
                  <a:pt x="21513650" y="6819913"/>
                  <a:pt x="21550570" y="6781392"/>
                </a:cubicBezTo>
                <a:cubicBezTo>
                  <a:pt x="21550570" y="6819913"/>
                  <a:pt x="21589096" y="6856830"/>
                  <a:pt x="21666148" y="6819913"/>
                </a:cubicBezTo>
                <a:cubicBezTo>
                  <a:pt x="21550570" y="6781392"/>
                  <a:pt x="21475124" y="6742871"/>
                  <a:pt x="21398074" y="6667433"/>
                </a:cubicBezTo>
                <a:cubicBezTo>
                  <a:pt x="21398074" y="6648172"/>
                  <a:pt x="21417336" y="6638541"/>
                  <a:pt x="21450846" y="6633726"/>
                </a:cubicBezTo>
                <a:lnTo>
                  <a:pt x="21475124" y="6632030"/>
                </a:lnTo>
                <a:lnTo>
                  <a:pt x="21475124" y="6651758"/>
                </a:lnTo>
                <a:cubicBezTo>
                  <a:pt x="21475124" y="6669740"/>
                  <a:pt x="21475124" y="6676662"/>
                  <a:pt x="21475124" y="6704349"/>
                </a:cubicBezTo>
                <a:cubicBezTo>
                  <a:pt x="21550570" y="6704349"/>
                  <a:pt x="21627622" y="6704349"/>
                  <a:pt x="21627622" y="6667433"/>
                </a:cubicBezTo>
                <a:cubicBezTo>
                  <a:pt x="21569834" y="6667433"/>
                  <a:pt x="21555386" y="6645764"/>
                  <a:pt x="21519946" y="6634930"/>
                </a:cubicBezTo>
                <a:lnTo>
                  <a:pt x="21490406" y="6630963"/>
                </a:lnTo>
                <a:lnTo>
                  <a:pt x="21511168" y="6629513"/>
                </a:lnTo>
                <a:cubicBezTo>
                  <a:pt x="21534418" y="6628911"/>
                  <a:pt x="21560604" y="6628911"/>
                  <a:pt x="21589096" y="6628911"/>
                </a:cubicBezTo>
                <a:cubicBezTo>
                  <a:pt x="21627622" y="6628911"/>
                  <a:pt x="21589096" y="6590389"/>
                  <a:pt x="21627622" y="6590389"/>
                </a:cubicBezTo>
                <a:cubicBezTo>
                  <a:pt x="21627622" y="6553473"/>
                  <a:pt x="21513650" y="6590389"/>
                  <a:pt x="21550570" y="6590389"/>
                </a:cubicBezTo>
                <a:cubicBezTo>
                  <a:pt x="21513650" y="6553473"/>
                  <a:pt x="21436598" y="6553473"/>
                  <a:pt x="21398074" y="6553473"/>
                </a:cubicBezTo>
                <a:cubicBezTo>
                  <a:pt x="21407704" y="6553473"/>
                  <a:pt x="21410212" y="6551065"/>
                  <a:pt x="21409134" y="6547454"/>
                </a:cubicBezTo>
                <a:lnTo>
                  <a:pt x="21406910" y="6544638"/>
                </a:lnTo>
                <a:lnTo>
                  <a:pt x="21436598" y="6514951"/>
                </a:lnTo>
                <a:cubicBezTo>
                  <a:pt x="21436598" y="6514951"/>
                  <a:pt x="21436598" y="6514951"/>
                  <a:pt x="21398074" y="6514951"/>
                </a:cubicBezTo>
                <a:cubicBezTo>
                  <a:pt x="21379612" y="6514951"/>
                  <a:pt x="21389244" y="6524581"/>
                  <a:pt x="21398674" y="6534212"/>
                </a:cubicBezTo>
                <a:lnTo>
                  <a:pt x="21406910" y="6544638"/>
                </a:lnTo>
                <a:lnTo>
                  <a:pt x="21398074" y="6553473"/>
                </a:lnTo>
                <a:cubicBezTo>
                  <a:pt x="21285706" y="6514951"/>
                  <a:pt x="21208656" y="6553473"/>
                  <a:pt x="21093078" y="6553473"/>
                </a:cubicBezTo>
                <a:cubicBezTo>
                  <a:pt x="21133210" y="6553473"/>
                  <a:pt x="21093078" y="6514951"/>
                  <a:pt x="21056158" y="6514951"/>
                </a:cubicBezTo>
                <a:cubicBezTo>
                  <a:pt x="20940582" y="6514951"/>
                  <a:pt x="20865136" y="6590389"/>
                  <a:pt x="20828216" y="6514951"/>
                </a:cubicBezTo>
                <a:cubicBezTo>
                  <a:pt x="20865136" y="6476430"/>
                  <a:pt x="21170130" y="6476430"/>
                  <a:pt x="21093078" y="6400992"/>
                </a:cubicBezTo>
                <a:cubicBezTo>
                  <a:pt x="21133210" y="6400992"/>
                  <a:pt x="21208656" y="6437909"/>
                  <a:pt x="21245576" y="6362471"/>
                </a:cubicBezTo>
                <a:cubicBezTo>
                  <a:pt x="21245576" y="6362471"/>
                  <a:pt x="21170130" y="6362471"/>
                  <a:pt x="21208656" y="6323949"/>
                </a:cubicBezTo>
                <a:cubicBezTo>
                  <a:pt x="21133210" y="6323949"/>
                  <a:pt x="21093078" y="6362471"/>
                  <a:pt x="21017632" y="6362471"/>
                </a:cubicBezTo>
                <a:cubicBezTo>
                  <a:pt x="21093078" y="6362471"/>
                  <a:pt x="21056158" y="6285427"/>
                  <a:pt x="20940582" y="6323949"/>
                </a:cubicBezTo>
                <a:cubicBezTo>
                  <a:pt x="20940582" y="6285427"/>
                  <a:pt x="20980712" y="6285427"/>
                  <a:pt x="20980712" y="6285427"/>
                </a:cubicBezTo>
                <a:cubicBezTo>
                  <a:pt x="20980712" y="6248511"/>
                  <a:pt x="20940582" y="6248511"/>
                  <a:pt x="20903662" y="6209989"/>
                </a:cubicBezTo>
                <a:cubicBezTo>
                  <a:pt x="20828216" y="6248511"/>
                  <a:pt x="20751164" y="6285427"/>
                  <a:pt x="20712638" y="6362471"/>
                </a:cubicBezTo>
                <a:cubicBezTo>
                  <a:pt x="20712638" y="6362471"/>
                  <a:pt x="20712638" y="6323949"/>
                  <a:pt x="20675718" y="6323949"/>
                </a:cubicBezTo>
                <a:cubicBezTo>
                  <a:pt x="20523220" y="6323949"/>
                  <a:pt x="20560142" y="6400992"/>
                  <a:pt x="20446170" y="6400992"/>
                </a:cubicBezTo>
                <a:cubicBezTo>
                  <a:pt x="20446170" y="6437909"/>
                  <a:pt x="20483090" y="6437909"/>
                  <a:pt x="20483090" y="6437909"/>
                </a:cubicBezTo>
                <a:cubicBezTo>
                  <a:pt x="20446170" y="6476430"/>
                  <a:pt x="20370724" y="6553473"/>
                  <a:pt x="20407644" y="6590389"/>
                </a:cubicBezTo>
                <a:cubicBezTo>
                  <a:pt x="20330592" y="6590389"/>
                  <a:pt x="20407644" y="6476430"/>
                  <a:pt x="20293672" y="6476430"/>
                </a:cubicBezTo>
                <a:cubicBezTo>
                  <a:pt x="20293672" y="6476430"/>
                  <a:pt x="20330592" y="6476430"/>
                  <a:pt x="20370724" y="6476430"/>
                </a:cubicBezTo>
                <a:cubicBezTo>
                  <a:pt x="20370724" y="6437909"/>
                  <a:pt x="20330592" y="6400992"/>
                  <a:pt x="20293672" y="6400992"/>
                </a:cubicBezTo>
                <a:lnTo>
                  <a:pt x="20370724" y="6400992"/>
                </a:lnTo>
                <a:cubicBezTo>
                  <a:pt x="20293672" y="6323949"/>
                  <a:pt x="20330592" y="6400992"/>
                  <a:pt x="20370724" y="6285427"/>
                </a:cubicBezTo>
                <a:cubicBezTo>
                  <a:pt x="20293672" y="6285427"/>
                  <a:pt x="20218226" y="6285427"/>
                  <a:pt x="20255146" y="6209989"/>
                </a:cubicBezTo>
                <a:cubicBezTo>
                  <a:pt x="20141176" y="6209989"/>
                  <a:pt x="20102650" y="6209989"/>
                  <a:pt x="19950152" y="6209989"/>
                </a:cubicBezTo>
                <a:cubicBezTo>
                  <a:pt x="19950152" y="6248511"/>
                  <a:pt x="19988678" y="6248511"/>
                  <a:pt x="19988678" y="6285427"/>
                </a:cubicBezTo>
                <a:cubicBezTo>
                  <a:pt x="19913232" y="6248511"/>
                  <a:pt x="19950152" y="6209989"/>
                  <a:pt x="19873102" y="6171468"/>
                </a:cubicBezTo>
                <a:lnTo>
                  <a:pt x="19873102" y="6209989"/>
                </a:lnTo>
                <a:cubicBezTo>
                  <a:pt x="19836180" y="6209989"/>
                  <a:pt x="19797656" y="6209989"/>
                  <a:pt x="19797656" y="6171468"/>
                </a:cubicBezTo>
                <a:cubicBezTo>
                  <a:pt x="19760734" y="6171468"/>
                  <a:pt x="19797656" y="6209989"/>
                  <a:pt x="19797656" y="6209989"/>
                </a:cubicBezTo>
                <a:cubicBezTo>
                  <a:pt x="19720604" y="6209989"/>
                  <a:pt x="19720604" y="6248511"/>
                  <a:pt x="19683684" y="6209989"/>
                </a:cubicBezTo>
                <a:cubicBezTo>
                  <a:pt x="19568106" y="6285427"/>
                  <a:pt x="19531186" y="6362471"/>
                  <a:pt x="19492660" y="6476430"/>
                </a:cubicBezTo>
                <a:cubicBezTo>
                  <a:pt x="19455740" y="6476430"/>
                  <a:pt x="19417214" y="6437909"/>
                  <a:pt x="19417214" y="6476430"/>
                </a:cubicBezTo>
                <a:cubicBezTo>
                  <a:pt x="19378690" y="6476430"/>
                  <a:pt x="19264718" y="6514951"/>
                  <a:pt x="19340164" y="6476430"/>
                </a:cubicBezTo>
                <a:cubicBezTo>
                  <a:pt x="19264718" y="6476430"/>
                  <a:pt x="19340164" y="6476430"/>
                  <a:pt x="19303244" y="6514951"/>
                </a:cubicBezTo>
                <a:cubicBezTo>
                  <a:pt x="19264718" y="6514951"/>
                  <a:pt x="19264718" y="6476430"/>
                  <a:pt x="19187666" y="6476430"/>
                </a:cubicBezTo>
                <a:cubicBezTo>
                  <a:pt x="19150746" y="6476430"/>
                  <a:pt x="19187666" y="6514951"/>
                  <a:pt x="19226192" y="6514951"/>
                </a:cubicBezTo>
                <a:cubicBezTo>
                  <a:pt x="19206930" y="6514951"/>
                  <a:pt x="19188068" y="6514951"/>
                  <a:pt x="19164390" y="6514951"/>
                </a:cubicBezTo>
                <a:lnTo>
                  <a:pt x="19105598" y="6514951"/>
                </a:lnTo>
                <a:lnTo>
                  <a:pt x="19097772" y="6514951"/>
                </a:lnTo>
                <a:lnTo>
                  <a:pt x="19073694" y="6514951"/>
                </a:lnTo>
                <a:lnTo>
                  <a:pt x="19068278" y="6514951"/>
                </a:lnTo>
                <a:cubicBezTo>
                  <a:pt x="19056840" y="6514951"/>
                  <a:pt x="19044802" y="6514951"/>
                  <a:pt x="19035170" y="6514951"/>
                </a:cubicBezTo>
                <a:cubicBezTo>
                  <a:pt x="19035170" y="6514951"/>
                  <a:pt x="18998250" y="6553473"/>
                  <a:pt x="18959724" y="6514951"/>
                </a:cubicBezTo>
                <a:cubicBezTo>
                  <a:pt x="18998250" y="6553473"/>
                  <a:pt x="19035170" y="6553473"/>
                  <a:pt x="19112220" y="6553473"/>
                </a:cubicBezTo>
                <a:cubicBezTo>
                  <a:pt x="19073694" y="6553473"/>
                  <a:pt x="19112220" y="6553473"/>
                  <a:pt x="19150746" y="6590389"/>
                </a:cubicBezTo>
                <a:cubicBezTo>
                  <a:pt x="19150746" y="6590389"/>
                  <a:pt x="19112220" y="6590389"/>
                  <a:pt x="19112220" y="6628911"/>
                </a:cubicBezTo>
                <a:cubicBezTo>
                  <a:pt x="19073694" y="6553473"/>
                  <a:pt x="19073694" y="6628911"/>
                  <a:pt x="18998250" y="6590389"/>
                </a:cubicBezTo>
                <a:cubicBezTo>
                  <a:pt x="18998250" y="6628911"/>
                  <a:pt x="18959724" y="6590389"/>
                  <a:pt x="18959724" y="6667433"/>
                </a:cubicBezTo>
                <a:cubicBezTo>
                  <a:pt x="19035170" y="6628911"/>
                  <a:pt x="19150746" y="6628911"/>
                  <a:pt x="19226192" y="6628911"/>
                </a:cubicBezTo>
                <a:cubicBezTo>
                  <a:pt x="19340164" y="6667433"/>
                  <a:pt x="19378690" y="6590389"/>
                  <a:pt x="19492660" y="6590389"/>
                </a:cubicBezTo>
                <a:cubicBezTo>
                  <a:pt x="19492660" y="6628911"/>
                  <a:pt x="19531186" y="6628911"/>
                  <a:pt x="19608238" y="6628911"/>
                </a:cubicBezTo>
                <a:cubicBezTo>
                  <a:pt x="19608238" y="6667433"/>
                  <a:pt x="19531186" y="6628911"/>
                  <a:pt x="19568106" y="6667433"/>
                </a:cubicBezTo>
                <a:cubicBezTo>
                  <a:pt x="19492660" y="6667433"/>
                  <a:pt x="19492660" y="6667433"/>
                  <a:pt x="19455740" y="6667433"/>
                </a:cubicBezTo>
                <a:cubicBezTo>
                  <a:pt x="19492660" y="6704349"/>
                  <a:pt x="19568106" y="6667433"/>
                  <a:pt x="19608238" y="6667433"/>
                </a:cubicBezTo>
                <a:cubicBezTo>
                  <a:pt x="19608238" y="6704349"/>
                  <a:pt x="19608238" y="6704349"/>
                  <a:pt x="19608238" y="6704349"/>
                </a:cubicBezTo>
                <a:cubicBezTo>
                  <a:pt x="19531186" y="6704349"/>
                  <a:pt x="19492660" y="6781392"/>
                  <a:pt x="19531186" y="6856830"/>
                </a:cubicBezTo>
                <a:cubicBezTo>
                  <a:pt x="19455740" y="6895351"/>
                  <a:pt x="19455740" y="6895351"/>
                  <a:pt x="19492660" y="6933873"/>
                </a:cubicBezTo>
                <a:cubicBezTo>
                  <a:pt x="19417214" y="6933873"/>
                  <a:pt x="19378690" y="6933873"/>
                  <a:pt x="19340164" y="6933873"/>
                </a:cubicBezTo>
                <a:cubicBezTo>
                  <a:pt x="19303244" y="6972395"/>
                  <a:pt x="19112220" y="6972395"/>
                  <a:pt x="19187666" y="7047833"/>
                </a:cubicBezTo>
                <a:cubicBezTo>
                  <a:pt x="19187666" y="7047833"/>
                  <a:pt x="19150746" y="7047833"/>
                  <a:pt x="19073694" y="7086354"/>
                </a:cubicBezTo>
                <a:cubicBezTo>
                  <a:pt x="19073694" y="7047833"/>
                  <a:pt x="19112220" y="7047833"/>
                  <a:pt x="19150746" y="7047833"/>
                </a:cubicBezTo>
                <a:cubicBezTo>
                  <a:pt x="19150746" y="7009311"/>
                  <a:pt x="19112220" y="7009311"/>
                  <a:pt x="19073694" y="7009311"/>
                </a:cubicBezTo>
                <a:cubicBezTo>
                  <a:pt x="19073694" y="6972395"/>
                  <a:pt x="19187666" y="7009311"/>
                  <a:pt x="19150746" y="6972395"/>
                </a:cubicBezTo>
                <a:cubicBezTo>
                  <a:pt x="19112220" y="6933873"/>
                  <a:pt x="18959724" y="6933873"/>
                  <a:pt x="18959724" y="6933873"/>
                </a:cubicBezTo>
                <a:cubicBezTo>
                  <a:pt x="18921198" y="6933873"/>
                  <a:pt x="18882672" y="6895351"/>
                  <a:pt x="18845752" y="6933873"/>
                </a:cubicBezTo>
                <a:cubicBezTo>
                  <a:pt x="18845752" y="6924243"/>
                  <a:pt x="18843344" y="6917020"/>
                  <a:pt x="18839732" y="6911603"/>
                </a:cubicBezTo>
                <a:lnTo>
                  <a:pt x="18832052" y="6904970"/>
                </a:lnTo>
                <a:lnTo>
                  <a:pt x="18833036" y="6904831"/>
                </a:lnTo>
                <a:cubicBezTo>
                  <a:pt x="18836722" y="6903176"/>
                  <a:pt x="18840936" y="6900166"/>
                  <a:pt x="18845752" y="6895351"/>
                </a:cubicBezTo>
                <a:cubicBezTo>
                  <a:pt x="18882672" y="6895351"/>
                  <a:pt x="18807226" y="6856830"/>
                  <a:pt x="18730176" y="6856830"/>
                </a:cubicBezTo>
                <a:cubicBezTo>
                  <a:pt x="18768700" y="6856830"/>
                  <a:pt x="18768700" y="6819913"/>
                  <a:pt x="18768700" y="6819913"/>
                </a:cubicBezTo>
                <a:cubicBezTo>
                  <a:pt x="18654730" y="6819913"/>
                  <a:pt x="18579284" y="6742871"/>
                  <a:pt x="18463706" y="6781392"/>
                </a:cubicBezTo>
                <a:cubicBezTo>
                  <a:pt x="18444844" y="6781392"/>
                  <a:pt x="18437822" y="6783800"/>
                  <a:pt x="18436718" y="6786809"/>
                </a:cubicBezTo>
                <a:lnTo>
                  <a:pt x="18436784" y="6786879"/>
                </a:lnTo>
                <a:lnTo>
                  <a:pt x="18426786" y="6781392"/>
                </a:lnTo>
                <a:cubicBezTo>
                  <a:pt x="18388260" y="6781392"/>
                  <a:pt x="18426786" y="6742871"/>
                  <a:pt x="18274288" y="6742871"/>
                </a:cubicBezTo>
                <a:cubicBezTo>
                  <a:pt x="18311210" y="6704349"/>
                  <a:pt x="18235764" y="6704349"/>
                  <a:pt x="18235764" y="6667433"/>
                </a:cubicBezTo>
                <a:cubicBezTo>
                  <a:pt x="18197238" y="6667433"/>
                  <a:pt x="18158712" y="6704349"/>
                  <a:pt x="18158712" y="6742871"/>
                </a:cubicBezTo>
                <a:cubicBezTo>
                  <a:pt x="18158712" y="6713980"/>
                  <a:pt x="18094602" y="6685991"/>
                  <a:pt x="18046294" y="6689377"/>
                </a:cubicBezTo>
                <a:lnTo>
                  <a:pt x="18034462" y="6693797"/>
                </a:lnTo>
                <a:lnTo>
                  <a:pt x="18044138" y="6678618"/>
                </a:lnTo>
                <a:cubicBezTo>
                  <a:pt x="18051964" y="6672148"/>
                  <a:pt x="18064004" y="6667433"/>
                  <a:pt x="18083266" y="6667433"/>
                </a:cubicBezTo>
                <a:cubicBezTo>
                  <a:pt x="17969294" y="6590389"/>
                  <a:pt x="17778272" y="6667433"/>
                  <a:pt x="17739746" y="6553473"/>
                </a:cubicBezTo>
                <a:cubicBezTo>
                  <a:pt x="17664300" y="6628911"/>
                  <a:pt x="17664300" y="6590389"/>
                  <a:pt x="17625774" y="6590389"/>
                </a:cubicBezTo>
                <a:cubicBezTo>
                  <a:pt x="17625774" y="6590389"/>
                  <a:pt x="17625774" y="6628911"/>
                  <a:pt x="17664300" y="6628911"/>
                </a:cubicBezTo>
                <a:cubicBezTo>
                  <a:pt x="17625774" y="6628911"/>
                  <a:pt x="17511802" y="6628911"/>
                  <a:pt x="17434752" y="6628911"/>
                </a:cubicBezTo>
                <a:cubicBezTo>
                  <a:pt x="17434752" y="6628911"/>
                  <a:pt x="17434752" y="6628911"/>
                  <a:pt x="17434752" y="6667433"/>
                </a:cubicBezTo>
                <a:cubicBezTo>
                  <a:pt x="17473278" y="6704349"/>
                  <a:pt x="17473278" y="6667433"/>
                  <a:pt x="17473278" y="6667433"/>
                </a:cubicBezTo>
                <a:cubicBezTo>
                  <a:pt x="17511802" y="6628911"/>
                  <a:pt x="17511802" y="6704349"/>
                  <a:pt x="17587248" y="6667433"/>
                </a:cubicBezTo>
                <a:cubicBezTo>
                  <a:pt x="17548724" y="6667433"/>
                  <a:pt x="17548724" y="6742871"/>
                  <a:pt x="17587248" y="6742871"/>
                </a:cubicBezTo>
                <a:cubicBezTo>
                  <a:pt x="17664300" y="6781392"/>
                  <a:pt x="17853718" y="6704349"/>
                  <a:pt x="17930768" y="6704349"/>
                </a:cubicBezTo>
                <a:cubicBezTo>
                  <a:pt x="17816798" y="6742871"/>
                  <a:pt x="17664300" y="6819913"/>
                  <a:pt x="17548724" y="6819913"/>
                </a:cubicBezTo>
                <a:cubicBezTo>
                  <a:pt x="17511802" y="6819913"/>
                  <a:pt x="17548724" y="6856830"/>
                  <a:pt x="17548724" y="6856830"/>
                </a:cubicBezTo>
                <a:cubicBezTo>
                  <a:pt x="17548724" y="6856830"/>
                  <a:pt x="17434752" y="6856830"/>
                  <a:pt x="17511802" y="6895351"/>
                </a:cubicBezTo>
                <a:cubicBezTo>
                  <a:pt x="17511802" y="6933873"/>
                  <a:pt x="17473278" y="6895351"/>
                  <a:pt x="17434752" y="6895351"/>
                </a:cubicBezTo>
                <a:cubicBezTo>
                  <a:pt x="17473278" y="6933873"/>
                  <a:pt x="17587248" y="6933873"/>
                  <a:pt x="17587248" y="6972395"/>
                </a:cubicBezTo>
                <a:cubicBezTo>
                  <a:pt x="17664300" y="6972395"/>
                  <a:pt x="17664300" y="7009311"/>
                  <a:pt x="17739746" y="7009311"/>
                </a:cubicBezTo>
                <a:cubicBezTo>
                  <a:pt x="17778272" y="6933873"/>
                  <a:pt x="17548724" y="6933873"/>
                  <a:pt x="17548724" y="6895351"/>
                </a:cubicBezTo>
                <a:cubicBezTo>
                  <a:pt x="17625774" y="6895351"/>
                  <a:pt x="17625774" y="6933873"/>
                  <a:pt x="17664300" y="6933873"/>
                </a:cubicBezTo>
                <a:cubicBezTo>
                  <a:pt x="17701220" y="6895351"/>
                  <a:pt x="17625774" y="6856830"/>
                  <a:pt x="17625774" y="6819913"/>
                </a:cubicBezTo>
                <a:cubicBezTo>
                  <a:pt x="17701220" y="6856830"/>
                  <a:pt x="17739746" y="6895351"/>
                  <a:pt x="17778272" y="6933873"/>
                </a:cubicBezTo>
                <a:cubicBezTo>
                  <a:pt x="17816798" y="6933873"/>
                  <a:pt x="17816798" y="6933873"/>
                  <a:pt x="17853718" y="6933873"/>
                </a:cubicBezTo>
                <a:cubicBezTo>
                  <a:pt x="17853718" y="6933873"/>
                  <a:pt x="17853718" y="6972395"/>
                  <a:pt x="17892244" y="6972395"/>
                </a:cubicBezTo>
                <a:cubicBezTo>
                  <a:pt x="17892244" y="6972395"/>
                  <a:pt x="17930768" y="7009311"/>
                  <a:pt x="17892244" y="7047833"/>
                </a:cubicBezTo>
                <a:cubicBezTo>
                  <a:pt x="17930768" y="7009311"/>
                  <a:pt x="17892244" y="7124875"/>
                  <a:pt x="17969294" y="7124875"/>
                </a:cubicBezTo>
                <a:cubicBezTo>
                  <a:pt x="18044740" y="7086354"/>
                  <a:pt x="18121792" y="7086354"/>
                  <a:pt x="18197238" y="7124875"/>
                </a:cubicBezTo>
                <a:cubicBezTo>
                  <a:pt x="18235764" y="7086354"/>
                  <a:pt x="18158712" y="7086354"/>
                  <a:pt x="18158712" y="7047833"/>
                </a:cubicBezTo>
                <a:cubicBezTo>
                  <a:pt x="18197238" y="7086354"/>
                  <a:pt x="18274288" y="7086354"/>
                  <a:pt x="18274288" y="7124875"/>
                </a:cubicBezTo>
                <a:cubicBezTo>
                  <a:pt x="18216500" y="7152563"/>
                  <a:pt x="18137944" y="7181153"/>
                  <a:pt x="18069772" y="7193717"/>
                </a:cubicBezTo>
                <a:lnTo>
                  <a:pt x="18010608" y="7199857"/>
                </a:lnTo>
                <a:lnTo>
                  <a:pt x="17987704" y="7189253"/>
                </a:lnTo>
                <a:cubicBezTo>
                  <a:pt x="17976418" y="7180952"/>
                  <a:pt x="17969294" y="7171422"/>
                  <a:pt x="17969294" y="7161792"/>
                </a:cubicBezTo>
                <a:cubicBezTo>
                  <a:pt x="17892244" y="7200313"/>
                  <a:pt x="17853718" y="7161792"/>
                  <a:pt x="17778272" y="7200313"/>
                </a:cubicBezTo>
                <a:cubicBezTo>
                  <a:pt x="17778272" y="7200313"/>
                  <a:pt x="17778272" y="7200313"/>
                  <a:pt x="17739746" y="7200313"/>
                </a:cubicBezTo>
                <a:cubicBezTo>
                  <a:pt x="17701220" y="7200313"/>
                  <a:pt x="17816798" y="7237230"/>
                  <a:pt x="17739746" y="7237230"/>
                </a:cubicBezTo>
                <a:cubicBezTo>
                  <a:pt x="17739746" y="7237230"/>
                  <a:pt x="17739746" y="7200313"/>
                  <a:pt x="17701220" y="7161792"/>
                </a:cubicBezTo>
                <a:cubicBezTo>
                  <a:pt x="17664300" y="7200313"/>
                  <a:pt x="17587248" y="7237230"/>
                  <a:pt x="17511802" y="7200313"/>
                </a:cubicBezTo>
                <a:cubicBezTo>
                  <a:pt x="17587248" y="7200313"/>
                  <a:pt x="17664300" y="7200313"/>
                  <a:pt x="17664300" y="7161792"/>
                </a:cubicBezTo>
                <a:cubicBezTo>
                  <a:pt x="17587248" y="7161792"/>
                  <a:pt x="17473278" y="7086354"/>
                  <a:pt x="17359306" y="7124875"/>
                </a:cubicBezTo>
                <a:cubicBezTo>
                  <a:pt x="17396226" y="7124875"/>
                  <a:pt x="17434752" y="7124875"/>
                  <a:pt x="17473278" y="7161792"/>
                </a:cubicBezTo>
                <a:cubicBezTo>
                  <a:pt x="17434752" y="7237230"/>
                  <a:pt x="17243728" y="7200313"/>
                  <a:pt x="17129758" y="7237230"/>
                </a:cubicBezTo>
                <a:cubicBezTo>
                  <a:pt x="17168282" y="7237230"/>
                  <a:pt x="17168282" y="7277357"/>
                  <a:pt x="17168282" y="7277357"/>
                </a:cubicBezTo>
                <a:cubicBezTo>
                  <a:pt x="17091232" y="7277357"/>
                  <a:pt x="17091232" y="7314273"/>
                  <a:pt x="17015786" y="7277357"/>
                </a:cubicBezTo>
                <a:cubicBezTo>
                  <a:pt x="17015786" y="7314273"/>
                  <a:pt x="17091232" y="7314273"/>
                  <a:pt x="17091232" y="7352795"/>
                </a:cubicBezTo>
                <a:cubicBezTo>
                  <a:pt x="17054312" y="7352795"/>
                  <a:pt x="16938734" y="7277357"/>
                  <a:pt x="16901814" y="7352795"/>
                </a:cubicBezTo>
                <a:cubicBezTo>
                  <a:pt x="16938734" y="7389711"/>
                  <a:pt x="16938734" y="7314273"/>
                  <a:pt x="16977260" y="7352795"/>
                </a:cubicBezTo>
                <a:cubicBezTo>
                  <a:pt x="16938734" y="7389711"/>
                  <a:pt x="16901814" y="7389711"/>
                  <a:pt x="16824762" y="7389711"/>
                </a:cubicBezTo>
                <a:cubicBezTo>
                  <a:pt x="16901814" y="7352795"/>
                  <a:pt x="16863288" y="7352795"/>
                  <a:pt x="16824762" y="7314273"/>
                </a:cubicBezTo>
                <a:cubicBezTo>
                  <a:pt x="16786238" y="7314273"/>
                  <a:pt x="16786238" y="7352795"/>
                  <a:pt x="16749316" y="7352795"/>
                </a:cubicBezTo>
                <a:cubicBezTo>
                  <a:pt x="16710792" y="7314273"/>
                  <a:pt x="16596820" y="7314273"/>
                  <a:pt x="16558294" y="7277357"/>
                </a:cubicBezTo>
                <a:cubicBezTo>
                  <a:pt x="16672266" y="7314273"/>
                  <a:pt x="16901814" y="7314273"/>
                  <a:pt x="17054312" y="7237230"/>
                </a:cubicBezTo>
                <a:cubicBezTo>
                  <a:pt x="17015786" y="7237230"/>
                  <a:pt x="16901814" y="7237230"/>
                  <a:pt x="16824762" y="7277357"/>
                </a:cubicBezTo>
                <a:cubicBezTo>
                  <a:pt x="16824762" y="7237230"/>
                  <a:pt x="16749316" y="7277357"/>
                  <a:pt x="16749316" y="7237230"/>
                </a:cubicBezTo>
                <a:cubicBezTo>
                  <a:pt x="16558294" y="7237230"/>
                  <a:pt x="16444322" y="7237230"/>
                  <a:pt x="16367272" y="7277357"/>
                </a:cubicBezTo>
                <a:cubicBezTo>
                  <a:pt x="16328746" y="7277357"/>
                  <a:pt x="16328746" y="7237230"/>
                  <a:pt x="16328746" y="7237230"/>
                </a:cubicBezTo>
                <a:cubicBezTo>
                  <a:pt x="16253300" y="7277357"/>
                  <a:pt x="16176248" y="7237230"/>
                  <a:pt x="16100802" y="7277357"/>
                </a:cubicBezTo>
                <a:cubicBezTo>
                  <a:pt x="16100802" y="7314273"/>
                  <a:pt x="16214774" y="7277357"/>
                  <a:pt x="16176248" y="7314273"/>
                </a:cubicBezTo>
                <a:cubicBezTo>
                  <a:pt x="16139328" y="7352795"/>
                  <a:pt x="16139328" y="7314273"/>
                  <a:pt x="16062278" y="7314273"/>
                </a:cubicBezTo>
                <a:cubicBezTo>
                  <a:pt x="16023752" y="7314273"/>
                  <a:pt x="16100802" y="7352795"/>
                  <a:pt x="16062278" y="7352795"/>
                </a:cubicBezTo>
                <a:cubicBezTo>
                  <a:pt x="15986832" y="7389711"/>
                  <a:pt x="15986832" y="7389711"/>
                  <a:pt x="15909780" y="7352795"/>
                </a:cubicBezTo>
                <a:cubicBezTo>
                  <a:pt x="15720362" y="7389711"/>
                  <a:pt x="15643312" y="7389711"/>
                  <a:pt x="15757282" y="7505275"/>
                </a:cubicBezTo>
                <a:cubicBezTo>
                  <a:pt x="15795808" y="7466754"/>
                  <a:pt x="15834334" y="7466754"/>
                  <a:pt x="15872860" y="7429838"/>
                </a:cubicBezTo>
                <a:cubicBezTo>
                  <a:pt x="15872860" y="7466754"/>
                  <a:pt x="15872860" y="7466754"/>
                  <a:pt x="15834334" y="7466754"/>
                </a:cubicBezTo>
                <a:cubicBezTo>
                  <a:pt x="15872860" y="7505275"/>
                  <a:pt x="15948306" y="7505275"/>
                  <a:pt x="15986832" y="7429838"/>
                </a:cubicBezTo>
                <a:cubicBezTo>
                  <a:pt x="15986832" y="7466754"/>
                  <a:pt x="16100802" y="7466754"/>
                  <a:pt x="16100802" y="7429838"/>
                </a:cubicBezTo>
                <a:cubicBezTo>
                  <a:pt x="16139328" y="7466754"/>
                  <a:pt x="16214774" y="7505275"/>
                  <a:pt x="16291826" y="7466754"/>
                </a:cubicBezTo>
                <a:cubicBezTo>
                  <a:pt x="16291826" y="7429838"/>
                  <a:pt x="16214774" y="7466754"/>
                  <a:pt x="16214774" y="7429838"/>
                </a:cubicBezTo>
                <a:cubicBezTo>
                  <a:pt x="16328746" y="7389711"/>
                  <a:pt x="16405796" y="7429838"/>
                  <a:pt x="16481242" y="7429838"/>
                </a:cubicBezTo>
                <a:cubicBezTo>
                  <a:pt x="16481242" y="7582319"/>
                  <a:pt x="16938734" y="7542192"/>
                  <a:pt x="17129758" y="7542192"/>
                </a:cubicBezTo>
                <a:cubicBezTo>
                  <a:pt x="17091232" y="7582319"/>
                  <a:pt x="17054312" y="7582319"/>
                  <a:pt x="17054312" y="7619235"/>
                </a:cubicBezTo>
                <a:cubicBezTo>
                  <a:pt x="17129758" y="7582319"/>
                  <a:pt x="17168282" y="7582319"/>
                  <a:pt x="17282254" y="7542192"/>
                </a:cubicBezTo>
                <a:cubicBezTo>
                  <a:pt x="17282254" y="7582319"/>
                  <a:pt x="17282254" y="7582319"/>
                  <a:pt x="17282254" y="7619235"/>
                </a:cubicBezTo>
                <a:cubicBezTo>
                  <a:pt x="17206808" y="7582319"/>
                  <a:pt x="17091232" y="7582319"/>
                  <a:pt x="17091232" y="7657757"/>
                </a:cubicBezTo>
                <a:cubicBezTo>
                  <a:pt x="17168282" y="7657757"/>
                  <a:pt x="17206808" y="7619235"/>
                  <a:pt x="17168282" y="7694673"/>
                </a:cubicBezTo>
                <a:cubicBezTo>
                  <a:pt x="17129758" y="7734800"/>
                  <a:pt x="17091232" y="7734800"/>
                  <a:pt x="17091232" y="7771717"/>
                </a:cubicBezTo>
                <a:cubicBezTo>
                  <a:pt x="17129758" y="7771717"/>
                  <a:pt x="17168282" y="7734800"/>
                  <a:pt x="17168282" y="7694673"/>
                </a:cubicBezTo>
                <a:cubicBezTo>
                  <a:pt x="17243728" y="7694673"/>
                  <a:pt x="17206808" y="7657757"/>
                  <a:pt x="17206808" y="7619235"/>
                </a:cubicBezTo>
                <a:cubicBezTo>
                  <a:pt x="17282254" y="7657757"/>
                  <a:pt x="17320780" y="7657757"/>
                  <a:pt x="17359306" y="7619235"/>
                </a:cubicBezTo>
                <a:cubicBezTo>
                  <a:pt x="17396226" y="7619235"/>
                  <a:pt x="17396226" y="7694673"/>
                  <a:pt x="17434752" y="7694673"/>
                </a:cubicBezTo>
                <a:cubicBezTo>
                  <a:pt x="17396226" y="7734800"/>
                  <a:pt x="17396226" y="7771717"/>
                  <a:pt x="17282254" y="7771717"/>
                </a:cubicBezTo>
                <a:cubicBezTo>
                  <a:pt x="17282254" y="7771717"/>
                  <a:pt x="17282254" y="7771717"/>
                  <a:pt x="17320780" y="7847155"/>
                </a:cubicBezTo>
                <a:cubicBezTo>
                  <a:pt x="17243728" y="7847155"/>
                  <a:pt x="17243728" y="7847155"/>
                  <a:pt x="17206808" y="7847155"/>
                </a:cubicBezTo>
                <a:cubicBezTo>
                  <a:pt x="17282254" y="7887281"/>
                  <a:pt x="17206808" y="7924197"/>
                  <a:pt x="17129758" y="7962719"/>
                </a:cubicBezTo>
                <a:cubicBezTo>
                  <a:pt x="17129758" y="7924197"/>
                  <a:pt x="17168282" y="7924197"/>
                  <a:pt x="17168282" y="7887281"/>
                </a:cubicBezTo>
                <a:cubicBezTo>
                  <a:pt x="16824762" y="7962719"/>
                  <a:pt x="16519768" y="7887281"/>
                  <a:pt x="16291826" y="7847155"/>
                </a:cubicBezTo>
                <a:cubicBezTo>
                  <a:pt x="16253300" y="7847155"/>
                  <a:pt x="16214774" y="7887281"/>
                  <a:pt x="16100802" y="7887281"/>
                </a:cubicBezTo>
                <a:cubicBezTo>
                  <a:pt x="16100802" y="7847155"/>
                  <a:pt x="16100802" y="7847155"/>
                  <a:pt x="16062278" y="7847155"/>
                </a:cubicBezTo>
                <a:cubicBezTo>
                  <a:pt x="16062278" y="7847155"/>
                  <a:pt x="16100802" y="7847155"/>
                  <a:pt x="16139328" y="7847155"/>
                </a:cubicBezTo>
                <a:cubicBezTo>
                  <a:pt x="16023752" y="7771717"/>
                  <a:pt x="15986832" y="7771717"/>
                  <a:pt x="15757282" y="7771717"/>
                </a:cubicBezTo>
                <a:cubicBezTo>
                  <a:pt x="15757282" y="7810238"/>
                  <a:pt x="15834334" y="7810238"/>
                  <a:pt x="15834334" y="7847155"/>
                </a:cubicBezTo>
                <a:cubicBezTo>
                  <a:pt x="15795808" y="7810238"/>
                  <a:pt x="15795808" y="7810238"/>
                  <a:pt x="15720362" y="7847155"/>
                </a:cubicBezTo>
                <a:cubicBezTo>
                  <a:pt x="15720362" y="7837926"/>
                  <a:pt x="15722670" y="7831004"/>
                  <a:pt x="15726131" y="7825812"/>
                </a:cubicBezTo>
                <a:lnTo>
                  <a:pt x="15737865" y="7815679"/>
                </a:lnTo>
                <a:lnTo>
                  <a:pt x="15757282" y="7810238"/>
                </a:lnTo>
                <a:cubicBezTo>
                  <a:pt x="15757282" y="7810238"/>
                  <a:pt x="15748052" y="7810238"/>
                  <a:pt x="15738822" y="7814852"/>
                </a:cubicBezTo>
                <a:lnTo>
                  <a:pt x="15737865" y="7815679"/>
                </a:lnTo>
                <a:lnTo>
                  <a:pt x="15730501" y="7817743"/>
                </a:lnTo>
                <a:cubicBezTo>
                  <a:pt x="15671026" y="7822001"/>
                  <a:pt x="15629065" y="7744230"/>
                  <a:pt x="15529340" y="7810238"/>
                </a:cubicBezTo>
                <a:cubicBezTo>
                  <a:pt x="15452288" y="7810238"/>
                  <a:pt x="15604786" y="7771717"/>
                  <a:pt x="15529340" y="7734800"/>
                </a:cubicBezTo>
                <a:cubicBezTo>
                  <a:pt x="15529340" y="7734800"/>
                  <a:pt x="15643312" y="7734800"/>
                  <a:pt x="15681836" y="7734800"/>
                </a:cubicBezTo>
                <a:cubicBezTo>
                  <a:pt x="15720362" y="7734800"/>
                  <a:pt x="15795808" y="7734800"/>
                  <a:pt x="15795808" y="7694673"/>
                </a:cubicBezTo>
                <a:cubicBezTo>
                  <a:pt x="15757282" y="7694673"/>
                  <a:pt x="15681836" y="7694673"/>
                  <a:pt x="15681836" y="7734800"/>
                </a:cubicBezTo>
                <a:cubicBezTo>
                  <a:pt x="15643312" y="7657757"/>
                  <a:pt x="15529340" y="7734800"/>
                  <a:pt x="15490814" y="7694673"/>
                </a:cubicBezTo>
                <a:cubicBezTo>
                  <a:pt x="15576293" y="7666986"/>
                  <a:pt x="15511882" y="7660064"/>
                  <a:pt x="15490588" y="7658334"/>
                </a:cubicBezTo>
                <a:lnTo>
                  <a:pt x="15486854" y="7658028"/>
                </a:lnTo>
                <a:lnTo>
                  <a:pt x="15490814" y="7657757"/>
                </a:lnTo>
                <a:cubicBezTo>
                  <a:pt x="15485998" y="7657757"/>
                  <a:pt x="15484167" y="7657757"/>
                  <a:pt x="15484428" y="7657829"/>
                </a:cubicBezTo>
                <a:lnTo>
                  <a:pt x="15486854" y="7658028"/>
                </a:lnTo>
                <a:lnTo>
                  <a:pt x="15423720" y="7662346"/>
                </a:lnTo>
                <a:cubicBezTo>
                  <a:pt x="15372026" y="7669193"/>
                  <a:pt x="15357580" y="7675814"/>
                  <a:pt x="15299792" y="7619235"/>
                </a:cubicBezTo>
                <a:cubicBezTo>
                  <a:pt x="15262870" y="7619235"/>
                  <a:pt x="15224346" y="7657757"/>
                  <a:pt x="15224346" y="7657757"/>
                </a:cubicBezTo>
                <a:cubicBezTo>
                  <a:pt x="15224346" y="7694673"/>
                  <a:pt x="15299792" y="7694673"/>
                  <a:pt x="15338316" y="7694673"/>
                </a:cubicBezTo>
                <a:cubicBezTo>
                  <a:pt x="15262870" y="7771717"/>
                  <a:pt x="15147294" y="7619235"/>
                  <a:pt x="14994796" y="7619235"/>
                </a:cubicBezTo>
                <a:cubicBezTo>
                  <a:pt x="15071848" y="7542192"/>
                  <a:pt x="15224346" y="7657757"/>
                  <a:pt x="15376842" y="7582319"/>
                </a:cubicBezTo>
                <a:cubicBezTo>
                  <a:pt x="15490814" y="7619235"/>
                  <a:pt x="15490814" y="7542192"/>
                  <a:pt x="15604786" y="7582319"/>
                </a:cubicBezTo>
                <a:cubicBezTo>
                  <a:pt x="15567866" y="7582319"/>
                  <a:pt x="15529340" y="7582319"/>
                  <a:pt x="15490814" y="7619235"/>
                </a:cubicBezTo>
                <a:cubicBezTo>
                  <a:pt x="15567866" y="7657757"/>
                  <a:pt x="15643312" y="7582319"/>
                  <a:pt x="15757282" y="7619235"/>
                </a:cubicBezTo>
                <a:cubicBezTo>
                  <a:pt x="15681836" y="7582319"/>
                  <a:pt x="15604786" y="7542192"/>
                  <a:pt x="15490814" y="7505275"/>
                </a:cubicBezTo>
                <a:cubicBezTo>
                  <a:pt x="15452288" y="7505275"/>
                  <a:pt x="15490814" y="7542192"/>
                  <a:pt x="15415368" y="7542192"/>
                </a:cubicBezTo>
                <a:cubicBezTo>
                  <a:pt x="15415368" y="7542192"/>
                  <a:pt x="15415368" y="7542192"/>
                  <a:pt x="15415368" y="7505275"/>
                </a:cubicBezTo>
                <a:cubicBezTo>
                  <a:pt x="15338316" y="7505275"/>
                  <a:pt x="15338316" y="7542192"/>
                  <a:pt x="15262870" y="7542192"/>
                </a:cubicBezTo>
                <a:cubicBezTo>
                  <a:pt x="15338316" y="7505275"/>
                  <a:pt x="15262870" y="7505275"/>
                  <a:pt x="15262870" y="7466754"/>
                </a:cubicBezTo>
                <a:cubicBezTo>
                  <a:pt x="15147294" y="7466754"/>
                  <a:pt x="15224346" y="7466754"/>
                  <a:pt x="15187424" y="7505275"/>
                </a:cubicBezTo>
                <a:cubicBezTo>
                  <a:pt x="15034928" y="7542192"/>
                  <a:pt x="14957876" y="7505275"/>
                  <a:pt x="14842300" y="7505275"/>
                </a:cubicBezTo>
                <a:cubicBezTo>
                  <a:pt x="14805380" y="7505275"/>
                  <a:pt x="14805380" y="7542192"/>
                  <a:pt x="14805380" y="7542192"/>
                </a:cubicBezTo>
                <a:cubicBezTo>
                  <a:pt x="14882430" y="7542192"/>
                  <a:pt x="14957876" y="7505275"/>
                  <a:pt x="14994796" y="7542192"/>
                </a:cubicBezTo>
                <a:cubicBezTo>
                  <a:pt x="14994796" y="7542192"/>
                  <a:pt x="14805380" y="7582319"/>
                  <a:pt x="14882430" y="7619235"/>
                </a:cubicBezTo>
                <a:cubicBezTo>
                  <a:pt x="14842300" y="7619235"/>
                  <a:pt x="14842300" y="7619235"/>
                  <a:pt x="14766854" y="7657757"/>
                </a:cubicBezTo>
                <a:cubicBezTo>
                  <a:pt x="14766854" y="7657757"/>
                  <a:pt x="14766854" y="7657757"/>
                  <a:pt x="14766854" y="7619235"/>
                </a:cubicBezTo>
                <a:cubicBezTo>
                  <a:pt x="14729934" y="7619235"/>
                  <a:pt x="14729934" y="7619235"/>
                  <a:pt x="14729934" y="7657757"/>
                </a:cubicBezTo>
                <a:cubicBezTo>
                  <a:pt x="14729934" y="7685444"/>
                  <a:pt x="14729934" y="7692366"/>
                  <a:pt x="14745509" y="7711025"/>
                </a:cubicBezTo>
                <a:lnTo>
                  <a:pt x="14757792" y="7724707"/>
                </a:lnTo>
                <a:lnTo>
                  <a:pt x="14743378" y="7733596"/>
                </a:lnTo>
                <a:cubicBezTo>
                  <a:pt x="14729131" y="7743227"/>
                  <a:pt x="14709868" y="7753259"/>
                  <a:pt x="14689802" y="7734800"/>
                </a:cubicBezTo>
                <a:cubicBezTo>
                  <a:pt x="14575830" y="7847155"/>
                  <a:pt x="14424938" y="7924197"/>
                  <a:pt x="14195390" y="7924197"/>
                </a:cubicBezTo>
                <a:cubicBezTo>
                  <a:pt x="14119944" y="7999635"/>
                  <a:pt x="13890396" y="8039762"/>
                  <a:pt x="13814950" y="8115200"/>
                </a:cubicBezTo>
                <a:cubicBezTo>
                  <a:pt x="13737898" y="8115200"/>
                  <a:pt x="13662452" y="8115200"/>
                  <a:pt x="13662452" y="8152117"/>
                </a:cubicBezTo>
                <a:cubicBezTo>
                  <a:pt x="13622322" y="8152117"/>
                  <a:pt x="13585402" y="8152117"/>
                  <a:pt x="13585402" y="8152117"/>
                </a:cubicBezTo>
                <a:cubicBezTo>
                  <a:pt x="13508350" y="8152117"/>
                  <a:pt x="13662452" y="8152117"/>
                  <a:pt x="13585402" y="8192243"/>
                </a:cubicBezTo>
                <a:cubicBezTo>
                  <a:pt x="13508350" y="8192243"/>
                  <a:pt x="13585402" y="8152117"/>
                  <a:pt x="13546876" y="8152117"/>
                </a:cubicBezTo>
                <a:cubicBezTo>
                  <a:pt x="13546876" y="8192243"/>
                  <a:pt x="13508350" y="8229159"/>
                  <a:pt x="13469824" y="8229159"/>
                </a:cubicBezTo>
                <a:cubicBezTo>
                  <a:pt x="13357458" y="8267681"/>
                  <a:pt x="13089384" y="8267681"/>
                  <a:pt x="12975414" y="8304597"/>
                </a:cubicBezTo>
                <a:cubicBezTo>
                  <a:pt x="12936888" y="8304597"/>
                  <a:pt x="12899968" y="8267681"/>
                  <a:pt x="12899968" y="8267681"/>
                </a:cubicBezTo>
                <a:cubicBezTo>
                  <a:pt x="12556448" y="8344724"/>
                  <a:pt x="12289978" y="8229159"/>
                  <a:pt x="11984984" y="8267681"/>
                </a:cubicBezTo>
                <a:cubicBezTo>
                  <a:pt x="11946458" y="8229159"/>
                  <a:pt x="11871012" y="8267681"/>
                  <a:pt x="11755436" y="8267681"/>
                </a:cubicBezTo>
                <a:cubicBezTo>
                  <a:pt x="11755436" y="8229159"/>
                  <a:pt x="11755436" y="8229159"/>
                  <a:pt x="11755436" y="8192243"/>
                </a:cubicBezTo>
                <a:cubicBezTo>
                  <a:pt x="11566018" y="8267681"/>
                  <a:pt x="11413521" y="8152117"/>
                  <a:pt x="11183972" y="8192243"/>
                </a:cubicBezTo>
                <a:cubicBezTo>
                  <a:pt x="11183972" y="8152117"/>
                  <a:pt x="11183972" y="8152117"/>
                  <a:pt x="11183972" y="8152117"/>
                </a:cubicBezTo>
                <a:cubicBezTo>
                  <a:pt x="11070001" y="8192243"/>
                  <a:pt x="11070001" y="8115200"/>
                  <a:pt x="10956029" y="8152117"/>
                </a:cubicBezTo>
                <a:cubicBezTo>
                  <a:pt x="10956029" y="8115200"/>
                  <a:pt x="10878978" y="8115200"/>
                  <a:pt x="10803532" y="8152117"/>
                </a:cubicBezTo>
                <a:cubicBezTo>
                  <a:pt x="10840453" y="8115200"/>
                  <a:pt x="10803532" y="8115200"/>
                  <a:pt x="10803532" y="8076679"/>
                </a:cubicBezTo>
                <a:cubicBezTo>
                  <a:pt x="10728086" y="8076679"/>
                  <a:pt x="10766612" y="8115200"/>
                  <a:pt x="10689562" y="8115200"/>
                </a:cubicBezTo>
                <a:cubicBezTo>
                  <a:pt x="10575589" y="8039762"/>
                  <a:pt x="10347646" y="7999635"/>
                  <a:pt x="10118098" y="7999635"/>
                </a:cubicBezTo>
                <a:cubicBezTo>
                  <a:pt x="10079573" y="7962719"/>
                  <a:pt x="9965601" y="7924197"/>
                  <a:pt x="9851630" y="7887281"/>
                </a:cubicBezTo>
                <a:cubicBezTo>
                  <a:pt x="9890154" y="7887281"/>
                  <a:pt x="9890154" y="7847155"/>
                  <a:pt x="9890154" y="7810238"/>
                </a:cubicBezTo>
                <a:cubicBezTo>
                  <a:pt x="9737657" y="7734800"/>
                  <a:pt x="9432664" y="7847155"/>
                  <a:pt x="9318691" y="7771717"/>
                </a:cubicBezTo>
                <a:cubicBezTo>
                  <a:pt x="9585161" y="7771717"/>
                  <a:pt x="9965601" y="7771717"/>
                  <a:pt x="10195149" y="7734800"/>
                </a:cubicBezTo>
                <a:cubicBezTo>
                  <a:pt x="10575589" y="7619235"/>
                  <a:pt x="11031475" y="7694673"/>
                  <a:pt x="11450441" y="7657757"/>
                </a:cubicBezTo>
                <a:cubicBezTo>
                  <a:pt x="11830882" y="7734800"/>
                  <a:pt x="12212928" y="7657757"/>
                  <a:pt x="12631894" y="7582319"/>
                </a:cubicBezTo>
                <a:cubicBezTo>
                  <a:pt x="12631894" y="7542192"/>
                  <a:pt x="12517922" y="7542192"/>
                  <a:pt x="12517922" y="7466754"/>
                </a:cubicBezTo>
                <a:cubicBezTo>
                  <a:pt x="12690083" y="7466754"/>
                  <a:pt x="12818903" y="7488422"/>
                  <a:pt x="12968717" y="7467431"/>
                </a:cubicBezTo>
                <a:lnTo>
                  <a:pt x="13032753" y="7455491"/>
                </a:lnTo>
                <a:lnTo>
                  <a:pt x="13038192" y="7456020"/>
                </a:lnTo>
                <a:cubicBezTo>
                  <a:pt x="13049743" y="7455820"/>
                  <a:pt x="13060233" y="7453989"/>
                  <a:pt x="13068990" y="7449851"/>
                </a:cubicBezTo>
                <a:lnTo>
                  <a:pt x="13073798" y="7445133"/>
                </a:lnTo>
                <a:lnTo>
                  <a:pt x="13127910" y="7429838"/>
                </a:lnTo>
                <a:lnTo>
                  <a:pt x="13089384" y="7429838"/>
                </a:lnTo>
                <a:lnTo>
                  <a:pt x="13073798" y="7445133"/>
                </a:lnTo>
                <a:lnTo>
                  <a:pt x="13045670" y="7453083"/>
                </a:lnTo>
                <a:lnTo>
                  <a:pt x="13032753" y="7455491"/>
                </a:lnTo>
                <a:lnTo>
                  <a:pt x="13001037" y="7452409"/>
                </a:lnTo>
                <a:cubicBezTo>
                  <a:pt x="12936060" y="7440496"/>
                  <a:pt x="12861442" y="7404759"/>
                  <a:pt x="12861442" y="7429838"/>
                </a:cubicBezTo>
                <a:cubicBezTo>
                  <a:pt x="12670418" y="7352795"/>
                  <a:pt x="12440870" y="7466754"/>
                  <a:pt x="12251452" y="7352795"/>
                </a:cubicBezTo>
                <a:cubicBezTo>
                  <a:pt x="12212928" y="7352795"/>
                  <a:pt x="12251452" y="7389711"/>
                  <a:pt x="12212928" y="7429838"/>
                </a:cubicBezTo>
                <a:cubicBezTo>
                  <a:pt x="12212928" y="7352795"/>
                  <a:pt x="12060430" y="7389711"/>
                  <a:pt x="11984984" y="7429838"/>
                </a:cubicBezTo>
                <a:cubicBezTo>
                  <a:pt x="12060430" y="7314273"/>
                  <a:pt x="11793961" y="7352795"/>
                  <a:pt x="11718515" y="7352795"/>
                </a:cubicBezTo>
                <a:cubicBezTo>
                  <a:pt x="11718515" y="7314273"/>
                  <a:pt x="11755436" y="7352795"/>
                  <a:pt x="11755436" y="7314273"/>
                </a:cubicBezTo>
                <a:cubicBezTo>
                  <a:pt x="11679990" y="7314273"/>
                  <a:pt x="11641464" y="7314273"/>
                  <a:pt x="11602938" y="7352795"/>
                </a:cubicBezTo>
                <a:cubicBezTo>
                  <a:pt x="11566018" y="7352795"/>
                  <a:pt x="11602938" y="7314273"/>
                  <a:pt x="11566018" y="7277357"/>
                </a:cubicBezTo>
                <a:cubicBezTo>
                  <a:pt x="11413521" y="7314273"/>
                  <a:pt x="11261024" y="7237230"/>
                  <a:pt x="11070001" y="7277357"/>
                </a:cubicBezTo>
                <a:cubicBezTo>
                  <a:pt x="11108527" y="7237230"/>
                  <a:pt x="11070001" y="7237230"/>
                  <a:pt x="11070001" y="7200313"/>
                </a:cubicBezTo>
                <a:cubicBezTo>
                  <a:pt x="11031475" y="7200313"/>
                  <a:pt x="10956029" y="7200313"/>
                  <a:pt x="10956029" y="7200313"/>
                </a:cubicBezTo>
                <a:cubicBezTo>
                  <a:pt x="10917504" y="7161792"/>
                  <a:pt x="10878978" y="7200313"/>
                  <a:pt x="10917504" y="7200313"/>
                </a:cubicBezTo>
                <a:cubicBezTo>
                  <a:pt x="10917504" y="7237230"/>
                  <a:pt x="10878978" y="7200313"/>
                  <a:pt x="10840453" y="7200313"/>
                </a:cubicBezTo>
                <a:cubicBezTo>
                  <a:pt x="10803532" y="7200313"/>
                  <a:pt x="10840453" y="7200313"/>
                  <a:pt x="10803532" y="7161792"/>
                </a:cubicBezTo>
                <a:cubicBezTo>
                  <a:pt x="10766612" y="7200313"/>
                  <a:pt x="10614115" y="7161792"/>
                  <a:pt x="10614115" y="7200313"/>
                </a:cubicBezTo>
                <a:cubicBezTo>
                  <a:pt x="10575589" y="7124875"/>
                  <a:pt x="10500143" y="7161792"/>
                  <a:pt x="10384567" y="7124875"/>
                </a:cubicBezTo>
                <a:cubicBezTo>
                  <a:pt x="10423092" y="7124875"/>
                  <a:pt x="10500143" y="7124875"/>
                  <a:pt x="10537064" y="7124875"/>
                </a:cubicBezTo>
                <a:cubicBezTo>
                  <a:pt x="10575589" y="7086354"/>
                  <a:pt x="10500143" y="7047833"/>
                  <a:pt x="10461617" y="7047833"/>
                </a:cubicBezTo>
                <a:cubicBezTo>
                  <a:pt x="10500143" y="7009311"/>
                  <a:pt x="10575589" y="7086354"/>
                  <a:pt x="10652641" y="7047833"/>
                </a:cubicBezTo>
                <a:cubicBezTo>
                  <a:pt x="10614115" y="7009311"/>
                  <a:pt x="10500143" y="7047833"/>
                  <a:pt x="10500143" y="7009311"/>
                </a:cubicBezTo>
                <a:cubicBezTo>
                  <a:pt x="10461617" y="7009311"/>
                  <a:pt x="10461617" y="7047833"/>
                  <a:pt x="10384567" y="7009311"/>
                </a:cubicBezTo>
                <a:cubicBezTo>
                  <a:pt x="10347646" y="7047833"/>
                  <a:pt x="10423092" y="7047833"/>
                  <a:pt x="10423092" y="7086354"/>
                </a:cubicBezTo>
                <a:cubicBezTo>
                  <a:pt x="10347646" y="7047833"/>
                  <a:pt x="10309120" y="7047833"/>
                  <a:pt x="10270596" y="6972395"/>
                </a:cubicBezTo>
                <a:cubicBezTo>
                  <a:pt x="10309120" y="6972395"/>
                  <a:pt x="10309120" y="6972395"/>
                  <a:pt x="10309120" y="6972395"/>
                </a:cubicBezTo>
                <a:cubicBezTo>
                  <a:pt x="10347646" y="6933873"/>
                  <a:pt x="10309120" y="6933873"/>
                  <a:pt x="10309120" y="6933873"/>
                </a:cubicBezTo>
                <a:cubicBezTo>
                  <a:pt x="10232070" y="6972395"/>
                  <a:pt x="10232070" y="6933873"/>
                  <a:pt x="10156623" y="6933873"/>
                </a:cubicBezTo>
                <a:cubicBezTo>
                  <a:pt x="10195149" y="6933873"/>
                  <a:pt x="10195149" y="6856830"/>
                  <a:pt x="10079573" y="6895351"/>
                </a:cubicBezTo>
                <a:cubicBezTo>
                  <a:pt x="10004126" y="6856830"/>
                  <a:pt x="10156623" y="6856830"/>
                  <a:pt x="10195149" y="6856830"/>
                </a:cubicBezTo>
                <a:cubicBezTo>
                  <a:pt x="10118098" y="6819913"/>
                  <a:pt x="10004126" y="6856830"/>
                  <a:pt x="9890154" y="6856830"/>
                </a:cubicBezTo>
                <a:cubicBezTo>
                  <a:pt x="9890154" y="6819913"/>
                  <a:pt x="9851630" y="6781392"/>
                  <a:pt x="9927076" y="6781392"/>
                </a:cubicBezTo>
                <a:cubicBezTo>
                  <a:pt x="9813104" y="6781392"/>
                  <a:pt x="9737657" y="6781392"/>
                  <a:pt x="9737657" y="6856830"/>
                </a:cubicBezTo>
                <a:cubicBezTo>
                  <a:pt x="9660607" y="6856830"/>
                  <a:pt x="9585161" y="6819913"/>
                  <a:pt x="9546635" y="6856830"/>
                </a:cubicBezTo>
                <a:lnTo>
                  <a:pt x="9543709" y="6868532"/>
                </a:lnTo>
                <a:lnTo>
                  <a:pt x="9516010" y="6837117"/>
                </a:lnTo>
                <a:cubicBezTo>
                  <a:pt x="9504196" y="6827036"/>
                  <a:pt x="9490050" y="6819913"/>
                  <a:pt x="9471188" y="6819913"/>
                </a:cubicBezTo>
                <a:cubicBezTo>
                  <a:pt x="9432664" y="6819913"/>
                  <a:pt x="9394138" y="6856830"/>
                  <a:pt x="9432664" y="6856830"/>
                </a:cubicBezTo>
                <a:cubicBezTo>
                  <a:pt x="9394138" y="6895351"/>
                  <a:pt x="9355612" y="6819913"/>
                  <a:pt x="9432664" y="6819913"/>
                </a:cubicBezTo>
                <a:cubicBezTo>
                  <a:pt x="9355612" y="6781392"/>
                  <a:pt x="9280167" y="6856830"/>
                  <a:pt x="9280167" y="6781392"/>
                </a:cubicBezTo>
                <a:cubicBezTo>
                  <a:pt x="9241641" y="6781392"/>
                  <a:pt x="9241641" y="6819913"/>
                  <a:pt x="9241641" y="6856830"/>
                </a:cubicBezTo>
                <a:cubicBezTo>
                  <a:pt x="9203114" y="6856830"/>
                  <a:pt x="9089143" y="6819913"/>
                  <a:pt x="9013698" y="6819913"/>
                </a:cubicBezTo>
                <a:cubicBezTo>
                  <a:pt x="9050617" y="6781392"/>
                  <a:pt x="9127669" y="6856830"/>
                  <a:pt x="9166195" y="6819913"/>
                </a:cubicBezTo>
                <a:cubicBezTo>
                  <a:pt x="9166195" y="6819913"/>
                  <a:pt x="9166195" y="6781392"/>
                  <a:pt x="9127669" y="6781392"/>
                </a:cubicBezTo>
                <a:cubicBezTo>
                  <a:pt x="9166195" y="6742871"/>
                  <a:pt x="9203114" y="6781392"/>
                  <a:pt x="9203114" y="6781392"/>
                </a:cubicBezTo>
                <a:cubicBezTo>
                  <a:pt x="9241641" y="6819913"/>
                  <a:pt x="9241641" y="6781392"/>
                  <a:pt x="9241641" y="6742871"/>
                </a:cubicBezTo>
                <a:cubicBezTo>
                  <a:pt x="8938251" y="6742871"/>
                  <a:pt x="8440628" y="6667433"/>
                  <a:pt x="8098715" y="6704349"/>
                </a:cubicBezTo>
                <a:cubicBezTo>
                  <a:pt x="8135635" y="6628911"/>
                  <a:pt x="7793720" y="6628911"/>
                  <a:pt x="7755194" y="6667433"/>
                </a:cubicBezTo>
                <a:cubicBezTo>
                  <a:pt x="7755194" y="6667433"/>
                  <a:pt x="7755194" y="6628911"/>
                  <a:pt x="7718274" y="6628911"/>
                </a:cubicBezTo>
                <a:cubicBezTo>
                  <a:pt x="7678144" y="6667433"/>
                  <a:pt x="7641223" y="6628911"/>
                  <a:pt x="7565777" y="6628911"/>
                </a:cubicBezTo>
                <a:cubicBezTo>
                  <a:pt x="7488726" y="6628911"/>
                  <a:pt x="7641223" y="6628911"/>
                  <a:pt x="7602698" y="6590389"/>
                </a:cubicBezTo>
                <a:cubicBezTo>
                  <a:pt x="7565777" y="6553473"/>
                  <a:pt x="7525646" y="6667433"/>
                  <a:pt x="7450200" y="6628911"/>
                </a:cubicBezTo>
                <a:cubicBezTo>
                  <a:pt x="7450200" y="6590389"/>
                  <a:pt x="7488726" y="6590389"/>
                  <a:pt x="7488726" y="6590389"/>
                </a:cubicBezTo>
                <a:cubicBezTo>
                  <a:pt x="7450200" y="6553473"/>
                  <a:pt x="7297703" y="6553473"/>
                  <a:pt x="7297703" y="6628911"/>
                </a:cubicBezTo>
                <a:cubicBezTo>
                  <a:pt x="7260783" y="6553473"/>
                  <a:pt x="7260783" y="6514951"/>
                  <a:pt x="7145206" y="6476430"/>
                </a:cubicBezTo>
                <a:cubicBezTo>
                  <a:pt x="7108286" y="6476430"/>
                  <a:pt x="7108286" y="6514951"/>
                  <a:pt x="7069760" y="6514951"/>
                </a:cubicBezTo>
                <a:cubicBezTo>
                  <a:pt x="7031235" y="6476430"/>
                  <a:pt x="6955789" y="6476430"/>
                  <a:pt x="6878737" y="6476430"/>
                </a:cubicBezTo>
                <a:cubicBezTo>
                  <a:pt x="6878737" y="6362471"/>
                  <a:pt x="6650794" y="6437909"/>
                  <a:pt x="6535217" y="6400992"/>
                </a:cubicBezTo>
                <a:cubicBezTo>
                  <a:pt x="6459771" y="6437909"/>
                  <a:pt x="6116251" y="6437909"/>
                  <a:pt x="6079331" y="6400992"/>
                </a:cubicBezTo>
                <a:cubicBezTo>
                  <a:pt x="6116251" y="6362471"/>
                  <a:pt x="6116251" y="6362471"/>
                  <a:pt x="6154777" y="6400992"/>
                </a:cubicBezTo>
                <a:cubicBezTo>
                  <a:pt x="6193303" y="6400992"/>
                  <a:pt x="6116251" y="6362471"/>
                  <a:pt x="6231828" y="6362471"/>
                </a:cubicBezTo>
                <a:cubicBezTo>
                  <a:pt x="6193303" y="6362471"/>
                  <a:pt x="6193303" y="6400992"/>
                  <a:pt x="6231828" y="6400992"/>
                </a:cubicBezTo>
                <a:cubicBezTo>
                  <a:pt x="6231828" y="6362471"/>
                  <a:pt x="6307274" y="6400992"/>
                  <a:pt x="6382720" y="6400992"/>
                </a:cubicBezTo>
                <a:cubicBezTo>
                  <a:pt x="6421246" y="6400992"/>
                  <a:pt x="6421246" y="6400992"/>
                  <a:pt x="6421246" y="6362471"/>
                </a:cubicBezTo>
                <a:cubicBezTo>
                  <a:pt x="6382720" y="6323949"/>
                  <a:pt x="6193303" y="6323949"/>
                  <a:pt x="6154777" y="6362471"/>
                </a:cubicBezTo>
                <a:cubicBezTo>
                  <a:pt x="6116251" y="6323949"/>
                  <a:pt x="6040805" y="6323949"/>
                  <a:pt x="6002280" y="6362471"/>
                </a:cubicBezTo>
                <a:cubicBezTo>
                  <a:pt x="5926834" y="6323949"/>
                  <a:pt x="6079331" y="6323949"/>
                  <a:pt x="6116251" y="6323949"/>
                </a:cubicBezTo>
                <a:cubicBezTo>
                  <a:pt x="6116251" y="6323949"/>
                  <a:pt x="6116251" y="6323949"/>
                  <a:pt x="6116251" y="6285427"/>
                </a:cubicBezTo>
                <a:cubicBezTo>
                  <a:pt x="6079331" y="6285427"/>
                  <a:pt x="6079331" y="6323949"/>
                  <a:pt x="6040805" y="6323949"/>
                </a:cubicBezTo>
                <a:cubicBezTo>
                  <a:pt x="6116251" y="6248511"/>
                  <a:pt x="5963754" y="6285427"/>
                  <a:pt x="5888308" y="6285427"/>
                </a:cubicBezTo>
                <a:cubicBezTo>
                  <a:pt x="5888308" y="6248511"/>
                  <a:pt x="6040805" y="6248511"/>
                  <a:pt x="6079331" y="6248511"/>
                </a:cubicBezTo>
                <a:cubicBezTo>
                  <a:pt x="6079331" y="6209989"/>
                  <a:pt x="6079331" y="6209989"/>
                  <a:pt x="6040805" y="6209989"/>
                </a:cubicBezTo>
                <a:cubicBezTo>
                  <a:pt x="6040805" y="6248511"/>
                  <a:pt x="5697285" y="6248511"/>
                  <a:pt x="5658760" y="6209989"/>
                </a:cubicBezTo>
                <a:cubicBezTo>
                  <a:pt x="5506262" y="6248511"/>
                  <a:pt x="5278320" y="6209989"/>
                  <a:pt x="5164348" y="6248511"/>
                </a:cubicBezTo>
                <a:cubicBezTo>
                  <a:pt x="5201268" y="6285427"/>
                  <a:pt x="5239794" y="6248511"/>
                  <a:pt x="5278320" y="6248511"/>
                </a:cubicBezTo>
                <a:cubicBezTo>
                  <a:pt x="5316845" y="6285427"/>
                  <a:pt x="5239794" y="6285427"/>
                  <a:pt x="5201268" y="6285427"/>
                </a:cubicBezTo>
                <a:cubicBezTo>
                  <a:pt x="5201268" y="6323949"/>
                  <a:pt x="5239794" y="6323949"/>
                  <a:pt x="5278320" y="6323949"/>
                </a:cubicBezTo>
                <a:cubicBezTo>
                  <a:pt x="5278320" y="6362471"/>
                  <a:pt x="5392291" y="6323949"/>
                  <a:pt x="5392291" y="6362471"/>
                </a:cubicBezTo>
                <a:cubicBezTo>
                  <a:pt x="5164348" y="6362471"/>
                  <a:pt x="5201268" y="6362471"/>
                  <a:pt x="4973325" y="6362471"/>
                </a:cubicBezTo>
                <a:cubicBezTo>
                  <a:pt x="5011851" y="6323949"/>
                  <a:pt x="5048771" y="6323949"/>
                  <a:pt x="5011851" y="6285427"/>
                </a:cubicBezTo>
                <a:cubicBezTo>
                  <a:pt x="5087296" y="6285427"/>
                  <a:pt x="5087296" y="6285427"/>
                  <a:pt x="5125822" y="6285427"/>
                </a:cubicBezTo>
                <a:cubicBezTo>
                  <a:pt x="5125822" y="6248511"/>
                  <a:pt x="5087296" y="6248511"/>
                  <a:pt x="5087296" y="6209989"/>
                </a:cubicBezTo>
                <a:cubicBezTo>
                  <a:pt x="5048771" y="6248511"/>
                  <a:pt x="4934800" y="6209989"/>
                  <a:pt x="4934800" y="6248511"/>
                </a:cubicBezTo>
                <a:cubicBezTo>
                  <a:pt x="4896274" y="6209989"/>
                  <a:pt x="4896274" y="6209989"/>
                  <a:pt x="4820828" y="6248511"/>
                </a:cubicBezTo>
                <a:cubicBezTo>
                  <a:pt x="4859354" y="6209989"/>
                  <a:pt x="4743777" y="6209989"/>
                  <a:pt x="4820828" y="6209989"/>
                </a:cubicBezTo>
                <a:cubicBezTo>
                  <a:pt x="4743777" y="6171468"/>
                  <a:pt x="4591280" y="6209989"/>
                  <a:pt x="4477308" y="6209989"/>
                </a:cubicBezTo>
                <a:cubicBezTo>
                  <a:pt x="4706856" y="6132947"/>
                  <a:pt x="4058342" y="6132947"/>
                  <a:pt x="3944371" y="6171468"/>
                </a:cubicBezTo>
                <a:cubicBezTo>
                  <a:pt x="3905845" y="6171468"/>
                  <a:pt x="3791873" y="6171468"/>
                  <a:pt x="3714822" y="6171468"/>
                </a:cubicBezTo>
                <a:cubicBezTo>
                  <a:pt x="3639376" y="6171468"/>
                  <a:pt x="3600851" y="6171468"/>
                  <a:pt x="3562324" y="6171468"/>
                </a:cubicBezTo>
                <a:cubicBezTo>
                  <a:pt x="3525405" y="6171468"/>
                  <a:pt x="3525405" y="6209989"/>
                  <a:pt x="3486879" y="6209989"/>
                </a:cubicBezTo>
                <a:lnTo>
                  <a:pt x="3486879" y="6171468"/>
                </a:lnTo>
                <a:cubicBezTo>
                  <a:pt x="3486879" y="6171468"/>
                  <a:pt x="3409827" y="6171468"/>
                  <a:pt x="3372907" y="6132947"/>
                </a:cubicBezTo>
                <a:cubicBezTo>
                  <a:pt x="3334381" y="6152208"/>
                  <a:pt x="3353243" y="6161838"/>
                  <a:pt x="3372305" y="6171468"/>
                </a:cubicBezTo>
                <a:lnTo>
                  <a:pt x="3372907" y="6171904"/>
                </a:lnTo>
                <a:lnTo>
                  <a:pt x="3372907" y="6209989"/>
                </a:lnTo>
                <a:cubicBezTo>
                  <a:pt x="3372907" y="6171468"/>
                  <a:pt x="3334382" y="6171468"/>
                  <a:pt x="3257330" y="6171468"/>
                </a:cubicBezTo>
                <a:cubicBezTo>
                  <a:pt x="3295856" y="6171468"/>
                  <a:pt x="3295856" y="6132947"/>
                  <a:pt x="3295856" y="6132947"/>
                </a:cubicBezTo>
                <a:cubicBezTo>
                  <a:pt x="3220410" y="6171468"/>
                  <a:pt x="3104833" y="6171468"/>
                  <a:pt x="3067913" y="6132947"/>
                </a:cubicBezTo>
                <a:cubicBezTo>
                  <a:pt x="2876890" y="6171468"/>
                  <a:pt x="2724392" y="6132947"/>
                  <a:pt x="2534975" y="6132947"/>
                </a:cubicBezTo>
                <a:cubicBezTo>
                  <a:pt x="2571895" y="6096030"/>
                  <a:pt x="2457924" y="6096030"/>
                  <a:pt x="2457924" y="6171468"/>
                </a:cubicBezTo>
                <a:cubicBezTo>
                  <a:pt x="2419399" y="6132947"/>
                  <a:pt x="2382478" y="6132947"/>
                  <a:pt x="2419399" y="6096030"/>
                </a:cubicBezTo>
                <a:cubicBezTo>
                  <a:pt x="2362413" y="6096030"/>
                  <a:pt x="2315058" y="6096030"/>
                  <a:pt x="2267503" y="6096030"/>
                </a:cubicBezTo>
                <a:lnTo>
                  <a:pt x="2266901" y="6096030"/>
                </a:lnTo>
                <a:lnTo>
                  <a:pt x="2114404" y="6096030"/>
                </a:lnTo>
                <a:cubicBezTo>
                  <a:pt x="2114404" y="6132947"/>
                  <a:pt x="2229981" y="6132947"/>
                  <a:pt x="2266901" y="6096030"/>
                </a:cubicBezTo>
                <a:cubicBezTo>
                  <a:pt x="2342347" y="6132947"/>
                  <a:pt x="2152929" y="6132947"/>
                  <a:pt x="2152929" y="6171468"/>
                </a:cubicBezTo>
                <a:cubicBezTo>
                  <a:pt x="2152929" y="6171468"/>
                  <a:pt x="2152929" y="6171468"/>
                  <a:pt x="2152929" y="6132947"/>
                </a:cubicBezTo>
                <a:cubicBezTo>
                  <a:pt x="2077483" y="6132947"/>
                  <a:pt x="2000433" y="6132947"/>
                  <a:pt x="1884855" y="6171468"/>
                </a:cubicBezTo>
                <a:cubicBezTo>
                  <a:pt x="1732358" y="6132947"/>
                  <a:pt x="1619992" y="6057509"/>
                  <a:pt x="1467495" y="6132947"/>
                </a:cubicBezTo>
                <a:cubicBezTo>
                  <a:pt x="1467495" y="6171468"/>
                  <a:pt x="1504415" y="6171468"/>
                  <a:pt x="1504415" y="6209989"/>
                </a:cubicBezTo>
                <a:cubicBezTo>
                  <a:pt x="1579861" y="6171468"/>
                  <a:pt x="1504415" y="6132947"/>
                  <a:pt x="1579861" y="6132947"/>
                </a:cubicBezTo>
                <a:cubicBezTo>
                  <a:pt x="1504415" y="6209989"/>
                  <a:pt x="1732358" y="6248511"/>
                  <a:pt x="1732358" y="6171468"/>
                </a:cubicBezTo>
                <a:cubicBezTo>
                  <a:pt x="1772489" y="6248511"/>
                  <a:pt x="1961907" y="6209989"/>
                  <a:pt x="2037353" y="6171468"/>
                </a:cubicBezTo>
                <a:cubicBezTo>
                  <a:pt x="2077483" y="6209989"/>
                  <a:pt x="2037353" y="6209989"/>
                  <a:pt x="2037353" y="6248511"/>
                </a:cubicBezTo>
                <a:cubicBezTo>
                  <a:pt x="2037353" y="6248511"/>
                  <a:pt x="2189850" y="6171468"/>
                  <a:pt x="2152929" y="6248511"/>
                </a:cubicBezTo>
                <a:lnTo>
                  <a:pt x="2189850" y="6248511"/>
                </a:lnTo>
                <a:cubicBezTo>
                  <a:pt x="2229981" y="6285427"/>
                  <a:pt x="2266901" y="6248511"/>
                  <a:pt x="2382478" y="6285427"/>
                </a:cubicBezTo>
                <a:cubicBezTo>
                  <a:pt x="2342347" y="6285427"/>
                  <a:pt x="2305426" y="6285427"/>
                  <a:pt x="2305426" y="6323949"/>
                </a:cubicBezTo>
                <a:cubicBezTo>
                  <a:pt x="2189850" y="6285427"/>
                  <a:pt x="2077483" y="6323949"/>
                  <a:pt x="2077483" y="6323949"/>
                </a:cubicBezTo>
                <a:cubicBezTo>
                  <a:pt x="2037353" y="6323949"/>
                  <a:pt x="2037353" y="6285427"/>
                  <a:pt x="2000433" y="6285427"/>
                </a:cubicBezTo>
                <a:cubicBezTo>
                  <a:pt x="1924986" y="6285427"/>
                  <a:pt x="1924986" y="6323949"/>
                  <a:pt x="1884855" y="6362471"/>
                </a:cubicBezTo>
                <a:cubicBezTo>
                  <a:pt x="1847935" y="6323949"/>
                  <a:pt x="1809410" y="6323949"/>
                  <a:pt x="1772489" y="6362471"/>
                </a:cubicBezTo>
                <a:cubicBezTo>
                  <a:pt x="1732358" y="6323949"/>
                  <a:pt x="1809410" y="6323949"/>
                  <a:pt x="1809410" y="6285427"/>
                </a:cubicBezTo>
                <a:cubicBezTo>
                  <a:pt x="1809410" y="6285427"/>
                  <a:pt x="1772489" y="6248511"/>
                  <a:pt x="1732358" y="6248511"/>
                </a:cubicBezTo>
                <a:lnTo>
                  <a:pt x="1695438" y="6285427"/>
                </a:lnTo>
                <a:cubicBezTo>
                  <a:pt x="1619992" y="6285427"/>
                  <a:pt x="1619992" y="6248511"/>
                  <a:pt x="1504415" y="6248511"/>
                </a:cubicBezTo>
                <a:cubicBezTo>
                  <a:pt x="1504415" y="6248511"/>
                  <a:pt x="1504415" y="6248511"/>
                  <a:pt x="1467495" y="6285427"/>
                </a:cubicBezTo>
                <a:lnTo>
                  <a:pt x="1459665" y="6286266"/>
                </a:lnTo>
                <a:lnTo>
                  <a:pt x="1437251" y="6277786"/>
                </a:lnTo>
                <a:lnTo>
                  <a:pt x="1455756" y="6263483"/>
                </a:lnTo>
                <a:cubicBezTo>
                  <a:pt x="1481340" y="6246103"/>
                  <a:pt x="1495185" y="6238881"/>
                  <a:pt x="1467495" y="6209989"/>
                </a:cubicBezTo>
                <a:lnTo>
                  <a:pt x="1351918" y="6209989"/>
                </a:lnTo>
                <a:cubicBezTo>
                  <a:pt x="1314997" y="6209989"/>
                  <a:pt x="1390444" y="6171468"/>
                  <a:pt x="1351918" y="6132947"/>
                </a:cubicBezTo>
                <a:cubicBezTo>
                  <a:pt x="1314997" y="6171468"/>
                  <a:pt x="1314997" y="6171468"/>
                  <a:pt x="1274867" y="6132947"/>
                </a:cubicBezTo>
                <a:cubicBezTo>
                  <a:pt x="1162501" y="6132947"/>
                  <a:pt x="1274867" y="6209989"/>
                  <a:pt x="1162501" y="6209989"/>
                </a:cubicBezTo>
                <a:cubicBezTo>
                  <a:pt x="1199421" y="6171468"/>
                  <a:pt x="1199421" y="6171468"/>
                  <a:pt x="1199421" y="6132947"/>
                </a:cubicBezTo>
                <a:cubicBezTo>
                  <a:pt x="1162501" y="6132947"/>
                  <a:pt x="1162501" y="6132947"/>
                  <a:pt x="1122370" y="6132947"/>
                </a:cubicBezTo>
                <a:cubicBezTo>
                  <a:pt x="1085449" y="6209989"/>
                  <a:pt x="969873" y="6171468"/>
                  <a:pt x="857506" y="6171468"/>
                </a:cubicBezTo>
                <a:cubicBezTo>
                  <a:pt x="857506" y="6209989"/>
                  <a:pt x="969873" y="6171468"/>
                  <a:pt x="932952" y="6248511"/>
                </a:cubicBezTo>
                <a:cubicBezTo>
                  <a:pt x="1010004" y="6248511"/>
                  <a:pt x="969873" y="6209989"/>
                  <a:pt x="1046923" y="6209989"/>
                </a:cubicBezTo>
                <a:cubicBezTo>
                  <a:pt x="1010004" y="6248511"/>
                  <a:pt x="1046923" y="6248511"/>
                  <a:pt x="1046923" y="6285427"/>
                </a:cubicBezTo>
                <a:cubicBezTo>
                  <a:pt x="1046923" y="6285427"/>
                  <a:pt x="969873" y="6285427"/>
                  <a:pt x="1010004" y="6323949"/>
                </a:cubicBezTo>
                <a:cubicBezTo>
                  <a:pt x="857506" y="6323949"/>
                  <a:pt x="741929" y="6285427"/>
                  <a:pt x="627957" y="6248511"/>
                </a:cubicBezTo>
                <a:cubicBezTo>
                  <a:pt x="552512" y="6285427"/>
                  <a:pt x="284438" y="6285427"/>
                  <a:pt x="208992" y="6209989"/>
                </a:cubicBezTo>
                <a:cubicBezTo>
                  <a:pt x="247517" y="6248511"/>
                  <a:pt x="475460" y="6248511"/>
                  <a:pt x="513986" y="6209989"/>
                </a:cubicBezTo>
                <a:cubicBezTo>
                  <a:pt x="627957" y="6209989"/>
                  <a:pt x="705009" y="6248511"/>
                  <a:pt x="780455" y="6209989"/>
                </a:cubicBezTo>
                <a:cubicBezTo>
                  <a:pt x="780455" y="6171468"/>
                  <a:pt x="705009" y="6209989"/>
                  <a:pt x="741929" y="6132947"/>
                </a:cubicBezTo>
                <a:cubicBezTo>
                  <a:pt x="705009" y="6132947"/>
                  <a:pt x="666483" y="6171468"/>
                  <a:pt x="705009" y="6171468"/>
                </a:cubicBezTo>
                <a:cubicBezTo>
                  <a:pt x="705009" y="6171468"/>
                  <a:pt x="705009" y="6171468"/>
                  <a:pt x="589432" y="6209989"/>
                </a:cubicBezTo>
                <a:cubicBezTo>
                  <a:pt x="627957" y="6171468"/>
                  <a:pt x="627957" y="6171468"/>
                  <a:pt x="627957" y="6132947"/>
                </a:cubicBezTo>
                <a:cubicBezTo>
                  <a:pt x="475460" y="6209989"/>
                  <a:pt x="208992" y="6171468"/>
                  <a:pt x="17969" y="6171468"/>
                </a:cubicBezTo>
                <a:lnTo>
                  <a:pt x="0" y="6174682"/>
                </a:lnTo>
                <a:lnTo>
                  <a:pt x="0" y="5785312"/>
                </a:lnTo>
                <a:lnTo>
                  <a:pt x="12727" y="5781447"/>
                </a:lnTo>
                <a:cubicBezTo>
                  <a:pt x="94017" y="5769049"/>
                  <a:pt x="223238" y="5818555"/>
                  <a:pt x="322963" y="5752547"/>
                </a:cubicBezTo>
                <a:cubicBezTo>
                  <a:pt x="237485" y="5752547"/>
                  <a:pt x="130335" y="5752547"/>
                  <a:pt x="34021" y="5720044"/>
                </a:cubicBezTo>
                <a:lnTo>
                  <a:pt x="0" y="5703483"/>
                </a:lnTo>
                <a:lnTo>
                  <a:pt x="0" y="5647681"/>
                </a:lnTo>
                <a:lnTo>
                  <a:pt x="103849" y="5633170"/>
                </a:lnTo>
                <a:cubicBezTo>
                  <a:pt x="180097" y="5618925"/>
                  <a:pt x="265977" y="5600065"/>
                  <a:pt x="361489" y="5600065"/>
                </a:cubicBezTo>
                <a:cubicBezTo>
                  <a:pt x="400015" y="5600065"/>
                  <a:pt x="475460" y="5600065"/>
                  <a:pt x="475460" y="5561544"/>
                </a:cubicBezTo>
                <a:cubicBezTo>
                  <a:pt x="436935" y="5561544"/>
                  <a:pt x="361489" y="5561544"/>
                  <a:pt x="361489" y="5600065"/>
                </a:cubicBezTo>
                <a:cubicBezTo>
                  <a:pt x="322963" y="5600065"/>
                  <a:pt x="322963" y="5561544"/>
                  <a:pt x="322963" y="5561544"/>
                </a:cubicBezTo>
                <a:cubicBezTo>
                  <a:pt x="400015" y="5523023"/>
                  <a:pt x="513986" y="5486106"/>
                  <a:pt x="589432" y="5447585"/>
                </a:cubicBezTo>
                <a:cubicBezTo>
                  <a:pt x="627957" y="5447585"/>
                  <a:pt x="552512" y="5447585"/>
                  <a:pt x="552512" y="5486106"/>
                </a:cubicBezTo>
                <a:cubicBezTo>
                  <a:pt x="589432" y="5523023"/>
                  <a:pt x="627957" y="5447585"/>
                  <a:pt x="705009" y="5447585"/>
                </a:cubicBezTo>
                <a:cubicBezTo>
                  <a:pt x="705009" y="5486106"/>
                  <a:pt x="627957" y="5486106"/>
                  <a:pt x="666483" y="5486106"/>
                </a:cubicBezTo>
                <a:cubicBezTo>
                  <a:pt x="741929" y="5486106"/>
                  <a:pt x="818981" y="5447585"/>
                  <a:pt x="818981" y="5409063"/>
                </a:cubicBezTo>
                <a:cubicBezTo>
                  <a:pt x="857506" y="5409063"/>
                  <a:pt x="932952" y="5409063"/>
                  <a:pt x="969873" y="5370541"/>
                </a:cubicBezTo>
                <a:cubicBezTo>
                  <a:pt x="857506" y="5333625"/>
                  <a:pt x="666483" y="5409063"/>
                  <a:pt x="627957" y="5370541"/>
                </a:cubicBezTo>
                <a:cubicBezTo>
                  <a:pt x="599063" y="5399432"/>
                  <a:pt x="549401" y="5428324"/>
                  <a:pt x="510123" y="5408461"/>
                </a:cubicBezTo>
                <a:lnTo>
                  <a:pt x="509517" y="5407998"/>
                </a:lnTo>
                <a:lnTo>
                  <a:pt x="513986" y="5409063"/>
                </a:lnTo>
                <a:cubicBezTo>
                  <a:pt x="552512" y="5370541"/>
                  <a:pt x="552512" y="5333625"/>
                  <a:pt x="513986" y="5333625"/>
                </a:cubicBezTo>
                <a:cubicBezTo>
                  <a:pt x="513986" y="5295103"/>
                  <a:pt x="666483" y="5295103"/>
                  <a:pt x="589432" y="5295103"/>
                </a:cubicBezTo>
                <a:cubicBezTo>
                  <a:pt x="666483" y="5256582"/>
                  <a:pt x="780455" y="5295103"/>
                  <a:pt x="818981" y="5218061"/>
                </a:cubicBezTo>
                <a:cubicBezTo>
                  <a:pt x="627957" y="5181144"/>
                  <a:pt x="475460" y="5181144"/>
                  <a:pt x="322963" y="5218061"/>
                </a:cubicBezTo>
                <a:cubicBezTo>
                  <a:pt x="247517" y="5181144"/>
                  <a:pt x="284438" y="5181144"/>
                  <a:pt x="284438" y="5142623"/>
                </a:cubicBezTo>
                <a:cubicBezTo>
                  <a:pt x="208992" y="5181144"/>
                  <a:pt x="170466" y="5142623"/>
                  <a:pt x="133546" y="5142623"/>
                </a:cubicBezTo>
                <a:cubicBezTo>
                  <a:pt x="170466" y="5142623"/>
                  <a:pt x="170466" y="5104101"/>
                  <a:pt x="247517" y="5104101"/>
                </a:cubicBezTo>
                <a:cubicBezTo>
                  <a:pt x="208992" y="5065579"/>
                  <a:pt x="95020" y="5104101"/>
                  <a:pt x="56494" y="5104101"/>
                </a:cubicBezTo>
                <a:cubicBezTo>
                  <a:pt x="66126" y="5085241"/>
                  <a:pt x="61410" y="5071097"/>
                  <a:pt x="48920" y="5059285"/>
                </a:cubicBezTo>
                <a:lnTo>
                  <a:pt x="0" y="5031479"/>
                </a:lnTo>
                <a:lnTo>
                  <a:pt x="0" y="4915963"/>
                </a:lnTo>
                <a:lnTo>
                  <a:pt x="17969" y="4913099"/>
                </a:lnTo>
                <a:lnTo>
                  <a:pt x="0" y="4899884"/>
                </a:lnTo>
                <a:lnTo>
                  <a:pt x="0" y="4795698"/>
                </a:lnTo>
                <a:lnTo>
                  <a:pt x="54964" y="4803700"/>
                </a:lnTo>
                <a:cubicBezTo>
                  <a:pt x="115085" y="4809597"/>
                  <a:pt x="175884" y="4803954"/>
                  <a:pt x="247517" y="4760617"/>
                </a:cubicBezTo>
                <a:cubicBezTo>
                  <a:pt x="247517" y="4760617"/>
                  <a:pt x="247517" y="4799139"/>
                  <a:pt x="247517" y="4837661"/>
                </a:cubicBezTo>
                <a:cubicBezTo>
                  <a:pt x="284438" y="4837661"/>
                  <a:pt x="322963" y="4799139"/>
                  <a:pt x="322963" y="4799139"/>
                </a:cubicBezTo>
                <a:cubicBezTo>
                  <a:pt x="361489" y="4799139"/>
                  <a:pt x="322963" y="4837661"/>
                  <a:pt x="361489" y="4799139"/>
                </a:cubicBezTo>
                <a:cubicBezTo>
                  <a:pt x="400015" y="4837661"/>
                  <a:pt x="361489" y="4837661"/>
                  <a:pt x="436935" y="4876182"/>
                </a:cubicBezTo>
                <a:cubicBezTo>
                  <a:pt x="436935" y="4837661"/>
                  <a:pt x="436935" y="4837661"/>
                  <a:pt x="475460" y="4837661"/>
                </a:cubicBezTo>
                <a:cubicBezTo>
                  <a:pt x="475460" y="4837661"/>
                  <a:pt x="436935" y="4799139"/>
                  <a:pt x="400015" y="4799139"/>
                </a:cubicBezTo>
                <a:cubicBezTo>
                  <a:pt x="475460" y="4799139"/>
                  <a:pt x="627957" y="4799139"/>
                  <a:pt x="627957" y="4876182"/>
                </a:cubicBezTo>
                <a:cubicBezTo>
                  <a:pt x="627957" y="4913099"/>
                  <a:pt x="627957" y="4913099"/>
                  <a:pt x="627957" y="4951620"/>
                </a:cubicBezTo>
                <a:cubicBezTo>
                  <a:pt x="666483" y="4951620"/>
                  <a:pt x="705009" y="4913099"/>
                  <a:pt x="705009" y="4913099"/>
                </a:cubicBezTo>
                <a:cubicBezTo>
                  <a:pt x="705009" y="4913099"/>
                  <a:pt x="741929" y="4913099"/>
                  <a:pt x="741929" y="4951620"/>
                </a:cubicBezTo>
                <a:cubicBezTo>
                  <a:pt x="627957" y="4951620"/>
                  <a:pt x="436935" y="4951620"/>
                  <a:pt x="361489" y="4990141"/>
                </a:cubicBezTo>
                <a:cubicBezTo>
                  <a:pt x="361489" y="5028663"/>
                  <a:pt x="322963" y="5028663"/>
                  <a:pt x="322963" y="5065579"/>
                </a:cubicBezTo>
                <a:cubicBezTo>
                  <a:pt x="400015" y="5104101"/>
                  <a:pt x="513986" y="5065579"/>
                  <a:pt x="589432" y="5104101"/>
                </a:cubicBezTo>
                <a:cubicBezTo>
                  <a:pt x="552512" y="5065579"/>
                  <a:pt x="589432" y="5065579"/>
                  <a:pt x="627957" y="5065579"/>
                </a:cubicBezTo>
                <a:cubicBezTo>
                  <a:pt x="666483" y="5065579"/>
                  <a:pt x="705009" y="5028663"/>
                  <a:pt x="666483" y="5028663"/>
                </a:cubicBezTo>
                <a:cubicBezTo>
                  <a:pt x="705009" y="5028663"/>
                  <a:pt x="705009" y="4990141"/>
                  <a:pt x="741929" y="4951620"/>
                </a:cubicBezTo>
                <a:cubicBezTo>
                  <a:pt x="894426" y="4951620"/>
                  <a:pt x="818981" y="5028663"/>
                  <a:pt x="969873" y="5028663"/>
                </a:cubicBezTo>
                <a:cubicBezTo>
                  <a:pt x="969873" y="5065579"/>
                  <a:pt x="932952" y="5065579"/>
                  <a:pt x="932952" y="5065579"/>
                </a:cubicBezTo>
                <a:cubicBezTo>
                  <a:pt x="1046923" y="5028663"/>
                  <a:pt x="1046923" y="5065579"/>
                  <a:pt x="1122370" y="5065579"/>
                </a:cubicBezTo>
                <a:cubicBezTo>
                  <a:pt x="1162501" y="5065579"/>
                  <a:pt x="1085449" y="5028663"/>
                  <a:pt x="1085449" y="4990141"/>
                </a:cubicBezTo>
                <a:cubicBezTo>
                  <a:pt x="1010004" y="5028663"/>
                  <a:pt x="857506" y="4951620"/>
                  <a:pt x="741929" y="4913099"/>
                </a:cubicBezTo>
                <a:cubicBezTo>
                  <a:pt x="818981" y="4913099"/>
                  <a:pt x="894426" y="4876182"/>
                  <a:pt x="932952" y="4837661"/>
                </a:cubicBezTo>
                <a:cubicBezTo>
                  <a:pt x="932952" y="4837661"/>
                  <a:pt x="932952" y="4837661"/>
                  <a:pt x="932952" y="4913099"/>
                </a:cubicBezTo>
                <a:cubicBezTo>
                  <a:pt x="1010004" y="4913099"/>
                  <a:pt x="1010004" y="4876182"/>
                  <a:pt x="1046923" y="4876182"/>
                </a:cubicBezTo>
                <a:cubicBezTo>
                  <a:pt x="1046923" y="4876182"/>
                  <a:pt x="1046923" y="4876182"/>
                  <a:pt x="1046923" y="4913099"/>
                </a:cubicBezTo>
                <a:cubicBezTo>
                  <a:pt x="1122370" y="4876182"/>
                  <a:pt x="1085449" y="4913099"/>
                  <a:pt x="1162501" y="4913099"/>
                </a:cubicBezTo>
                <a:lnTo>
                  <a:pt x="1202128" y="4907858"/>
                </a:lnTo>
                <a:lnTo>
                  <a:pt x="1162501" y="4951620"/>
                </a:lnTo>
                <a:cubicBezTo>
                  <a:pt x="1199421" y="4990141"/>
                  <a:pt x="1274867" y="4951620"/>
                  <a:pt x="1314997" y="4913099"/>
                </a:cubicBezTo>
                <a:cubicBezTo>
                  <a:pt x="1351918" y="4913099"/>
                  <a:pt x="1427364" y="4951620"/>
                  <a:pt x="1467495" y="4951620"/>
                </a:cubicBezTo>
                <a:cubicBezTo>
                  <a:pt x="1467495" y="4876182"/>
                  <a:pt x="1619992" y="4913099"/>
                  <a:pt x="1695438" y="4837661"/>
                </a:cubicBezTo>
                <a:cubicBezTo>
                  <a:pt x="1656913" y="4876182"/>
                  <a:pt x="1695438" y="4913099"/>
                  <a:pt x="1732358" y="4876182"/>
                </a:cubicBezTo>
                <a:cubicBezTo>
                  <a:pt x="1847935" y="4913099"/>
                  <a:pt x="1847935" y="4837661"/>
                  <a:pt x="1732358" y="4837661"/>
                </a:cubicBezTo>
                <a:cubicBezTo>
                  <a:pt x="1732358" y="4837661"/>
                  <a:pt x="1732358" y="4837661"/>
                  <a:pt x="1732358" y="4876182"/>
                </a:cubicBezTo>
                <a:cubicBezTo>
                  <a:pt x="1695438" y="4876182"/>
                  <a:pt x="1732358" y="4876182"/>
                  <a:pt x="1695438" y="4837661"/>
                </a:cubicBezTo>
                <a:cubicBezTo>
                  <a:pt x="1619992" y="4837661"/>
                  <a:pt x="1467495" y="4913099"/>
                  <a:pt x="1390444" y="4876182"/>
                </a:cubicBezTo>
                <a:cubicBezTo>
                  <a:pt x="1467495" y="4876182"/>
                  <a:pt x="1542941" y="4837661"/>
                  <a:pt x="1542941" y="4799139"/>
                </a:cubicBezTo>
                <a:cubicBezTo>
                  <a:pt x="1467495" y="4799139"/>
                  <a:pt x="1504415" y="4760617"/>
                  <a:pt x="1467495" y="4760617"/>
                </a:cubicBezTo>
                <a:cubicBezTo>
                  <a:pt x="1427364" y="4723701"/>
                  <a:pt x="1351918" y="4760617"/>
                  <a:pt x="1351918" y="4723701"/>
                </a:cubicBezTo>
                <a:cubicBezTo>
                  <a:pt x="1390444" y="4723701"/>
                  <a:pt x="1351918" y="4723701"/>
                  <a:pt x="1390444" y="4685179"/>
                </a:cubicBezTo>
                <a:cubicBezTo>
                  <a:pt x="1427364" y="4685179"/>
                  <a:pt x="1504415" y="4723701"/>
                  <a:pt x="1504415" y="4685179"/>
                </a:cubicBezTo>
                <a:cubicBezTo>
                  <a:pt x="1436995" y="4651472"/>
                  <a:pt x="1254049" y="4647259"/>
                  <a:pt x="1259909" y="4698346"/>
                </a:cubicBezTo>
                <a:lnTo>
                  <a:pt x="1271720" y="4718367"/>
                </a:lnTo>
                <a:lnTo>
                  <a:pt x="1266289" y="4722533"/>
                </a:lnTo>
                <a:lnTo>
                  <a:pt x="1230673" y="4717682"/>
                </a:lnTo>
                <a:cubicBezTo>
                  <a:pt x="1219486" y="4714071"/>
                  <a:pt x="1211260" y="4709255"/>
                  <a:pt x="1204237" y="4704440"/>
                </a:cubicBezTo>
                <a:lnTo>
                  <a:pt x="1187634" y="4692997"/>
                </a:lnTo>
                <a:lnTo>
                  <a:pt x="1219888" y="4685179"/>
                </a:lnTo>
                <a:cubicBezTo>
                  <a:pt x="1230723" y="4677956"/>
                  <a:pt x="1237947" y="4665918"/>
                  <a:pt x="1237947" y="4646657"/>
                </a:cubicBezTo>
                <a:cubicBezTo>
                  <a:pt x="1314997" y="4646657"/>
                  <a:pt x="1314997" y="4646657"/>
                  <a:pt x="1390444" y="4646657"/>
                </a:cubicBezTo>
                <a:cubicBezTo>
                  <a:pt x="1046923" y="4609741"/>
                  <a:pt x="705009" y="4685179"/>
                  <a:pt x="361489" y="4609741"/>
                </a:cubicBezTo>
                <a:cubicBezTo>
                  <a:pt x="361489" y="4646657"/>
                  <a:pt x="284438" y="4646657"/>
                  <a:pt x="247517" y="4646657"/>
                </a:cubicBezTo>
                <a:cubicBezTo>
                  <a:pt x="208992" y="4646657"/>
                  <a:pt x="247517" y="4685179"/>
                  <a:pt x="208992" y="4723701"/>
                </a:cubicBezTo>
                <a:cubicBezTo>
                  <a:pt x="170466" y="4723701"/>
                  <a:pt x="170466" y="4723701"/>
                  <a:pt x="170466" y="4760617"/>
                </a:cubicBezTo>
                <a:cubicBezTo>
                  <a:pt x="133546" y="4760617"/>
                  <a:pt x="95020" y="4760617"/>
                  <a:pt x="95020" y="4685179"/>
                </a:cubicBezTo>
                <a:cubicBezTo>
                  <a:pt x="265977" y="4685179"/>
                  <a:pt x="158828" y="4621077"/>
                  <a:pt x="46487" y="4605277"/>
                </a:cubicBezTo>
                <a:lnTo>
                  <a:pt x="0" y="4602459"/>
                </a:lnTo>
                <a:lnTo>
                  <a:pt x="0" y="4513602"/>
                </a:lnTo>
                <a:lnTo>
                  <a:pt x="51882" y="4506745"/>
                </a:lnTo>
                <a:cubicBezTo>
                  <a:pt x="70415" y="4503205"/>
                  <a:pt x="85389" y="4498992"/>
                  <a:pt x="95020" y="4494177"/>
                </a:cubicBezTo>
                <a:cubicBezTo>
                  <a:pt x="133546" y="4494177"/>
                  <a:pt x="208992" y="4494177"/>
                  <a:pt x="208992" y="4494177"/>
                </a:cubicBezTo>
                <a:cubicBezTo>
                  <a:pt x="208992" y="4457260"/>
                  <a:pt x="170466" y="4457260"/>
                  <a:pt x="133546" y="4457260"/>
                </a:cubicBezTo>
                <a:cubicBezTo>
                  <a:pt x="133546" y="4494177"/>
                  <a:pt x="95020" y="4494177"/>
                  <a:pt x="95020" y="4494177"/>
                </a:cubicBezTo>
                <a:cubicBezTo>
                  <a:pt x="85389" y="4484948"/>
                  <a:pt x="71042" y="4480333"/>
                  <a:pt x="54337" y="4478603"/>
                </a:cubicBezTo>
                <a:lnTo>
                  <a:pt x="0" y="4480318"/>
                </a:lnTo>
                <a:lnTo>
                  <a:pt x="0" y="4454990"/>
                </a:lnTo>
                <a:lnTo>
                  <a:pt x="31287" y="4451241"/>
                </a:lnTo>
                <a:cubicBezTo>
                  <a:pt x="75757" y="4440407"/>
                  <a:pt x="104651" y="4418739"/>
                  <a:pt x="133546" y="4418739"/>
                </a:cubicBezTo>
                <a:cubicBezTo>
                  <a:pt x="208992" y="4418739"/>
                  <a:pt x="133546" y="4418739"/>
                  <a:pt x="133546" y="4380217"/>
                </a:cubicBezTo>
                <a:cubicBezTo>
                  <a:pt x="400015" y="4380217"/>
                  <a:pt x="475460" y="4418739"/>
                  <a:pt x="666483" y="4418739"/>
                </a:cubicBezTo>
                <a:cubicBezTo>
                  <a:pt x="666483" y="4457260"/>
                  <a:pt x="705009" y="4494177"/>
                  <a:pt x="857506" y="4457260"/>
                </a:cubicBezTo>
                <a:cubicBezTo>
                  <a:pt x="857506" y="4457260"/>
                  <a:pt x="780455" y="4457260"/>
                  <a:pt x="818981" y="4418739"/>
                </a:cubicBezTo>
                <a:cubicBezTo>
                  <a:pt x="741929" y="4418739"/>
                  <a:pt x="705009" y="4457260"/>
                  <a:pt x="705009" y="4418739"/>
                </a:cubicBezTo>
                <a:cubicBezTo>
                  <a:pt x="705009" y="4380217"/>
                  <a:pt x="857506" y="4418739"/>
                  <a:pt x="894426" y="4418739"/>
                </a:cubicBezTo>
                <a:cubicBezTo>
                  <a:pt x="894426" y="4418739"/>
                  <a:pt x="894426" y="4418739"/>
                  <a:pt x="894426" y="4457260"/>
                </a:cubicBezTo>
                <a:cubicBezTo>
                  <a:pt x="1010004" y="4418739"/>
                  <a:pt x="1085449" y="4418739"/>
                  <a:pt x="1122370" y="4457260"/>
                </a:cubicBezTo>
                <a:cubicBezTo>
                  <a:pt x="1274867" y="4494177"/>
                  <a:pt x="1199421" y="4380217"/>
                  <a:pt x="1274867" y="4341695"/>
                </a:cubicBezTo>
                <a:cubicBezTo>
                  <a:pt x="1274867" y="4266257"/>
                  <a:pt x="1237947" y="4341695"/>
                  <a:pt x="1237947" y="4266257"/>
                </a:cubicBezTo>
                <a:cubicBezTo>
                  <a:pt x="1274867" y="4266257"/>
                  <a:pt x="1274867" y="4304779"/>
                  <a:pt x="1351918" y="4266257"/>
                </a:cubicBezTo>
                <a:cubicBezTo>
                  <a:pt x="1351918" y="4266257"/>
                  <a:pt x="1351918" y="4266257"/>
                  <a:pt x="1356734" y="4266257"/>
                </a:cubicBezTo>
                <a:lnTo>
                  <a:pt x="1367821" y="4266257"/>
                </a:lnTo>
                <a:lnTo>
                  <a:pt x="1351918" y="4304779"/>
                </a:lnTo>
                <a:cubicBezTo>
                  <a:pt x="1314997" y="4341695"/>
                  <a:pt x="1314997" y="4304779"/>
                  <a:pt x="1314997" y="4304779"/>
                </a:cubicBezTo>
                <a:cubicBezTo>
                  <a:pt x="1314997" y="4380217"/>
                  <a:pt x="1274867" y="4380217"/>
                  <a:pt x="1314997" y="4457260"/>
                </a:cubicBezTo>
                <a:cubicBezTo>
                  <a:pt x="1351918" y="4457260"/>
                  <a:pt x="1390444" y="4457260"/>
                  <a:pt x="1467495" y="4457260"/>
                </a:cubicBezTo>
                <a:cubicBezTo>
                  <a:pt x="1467495" y="4447630"/>
                  <a:pt x="1464987" y="4440407"/>
                  <a:pt x="1461224" y="4434990"/>
                </a:cubicBezTo>
                <a:lnTo>
                  <a:pt x="1447888" y="4423934"/>
                </a:lnTo>
                <a:lnTo>
                  <a:pt x="1451141" y="4424758"/>
                </a:lnTo>
                <a:cubicBezTo>
                  <a:pt x="1469802" y="4435592"/>
                  <a:pt x="1476725" y="4457260"/>
                  <a:pt x="1504415" y="4457260"/>
                </a:cubicBezTo>
                <a:cubicBezTo>
                  <a:pt x="1427364" y="4457260"/>
                  <a:pt x="1427364" y="4494177"/>
                  <a:pt x="1351918" y="4494177"/>
                </a:cubicBezTo>
                <a:cubicBezTo>
                  <a:pt x="1351918" y="4494177"/>
                  <a:pt x="1351918" y="4494177"/>
                  <a:pt x="1351918" y="4532698"/>
                </a:cubicBezTo>
                <a:lnTo>
                  <a:pt x="1324278" y="4532698"/>
                </a:lnTo>
                <a:cubicBezTo>
                  <a:pt x="1287809" y="4532698"/>
                  <a:pt x="1247177" y="4532698"/>
                  <a:pt x="1199421" y="4532698"/>
                </a:cubicBezTo>
                <a:cubicBezTo>
                  <a:pt x="1122370" y="4494177"/>
                  <a:pt x="1046923" y="4532698"/>
                  <a:pt x="1010004" y="4571219"/>
                </a:cubicBezTo>
                <a:cubicBezTo>
                  <a:pt x="1085449" y="4532698"/>
                  <a:pt x="1162501" y="4571219"/>
                  <a:pt x="1199421" y="4532698"/>
                </a:cubicBezTo>
                <a:cubicBezTo>
                  <a:pt x="1237947" y="4609741"/>
                  <a:pt x="1467495" y="4532698"/>
                  <a:pt x="1504415" y="4609741"/>
                </a:cubicBezTo>
                <a:cubicBezTo>
                  <a:pt x="1619992" y="4532698"/>
                  <a:pt x="1695438" y="4571219"/>
                  <a:pt x="1847935" y="4571219"/>
                </a:cubicBezTo>
                <a:cubicBezTo>
                  <a:pt x="1961907" y="4571219"/>
                  <a:pt x="1961907" y="4571219"/>
                  <a:pt x="2077483" y="4571219"/>
                </a:cubicBezTo>
                <a:cubicBezTo>
                  <a:pt x="2057418" y="4532698"/>
                  <a:pt x="2009261" y="4523068"/>
                  <a:pt x="1961505" y="4527883"/>
                </a:cubicBezTo>
                <a:lnTo>
                  <a:pt x="1960709" y="4528074"/>
                </a:lnTo>
                <a:lnTo>
                  <a:pt x="1956138" y="4510428"/>
                </a:lnTo>
                <a:cubicBezTo>
                  <a:pt x="1945754" y="4494177"/>
                  <a:pt x="1924986" y="4494177"/>
                  <a:pt x="1924986" y="4494177"/>
                </a:cubicBezTo>
                <a:cubicBezTo>
                  <a:pt x="1961907" y="4494177"/>
                  <a:pt x="2037353" y="4532698"/>
                  <a:pt x="2077483" y="4532698"/>
                </a:cubicBezTo>
                <a:cubicBezTo>
                  <a:pt x="2077483" y="4609741"/>
                  <a:pt x="2229981" y="4646657"/>
                  <a:pt x="2229981" y="4571219"/>
                </a:cubicBezTo>
                <a:cubicBezTo>
                  <a:pt x="2305426" y="4609741"/>
                  <a:pt x="2419399" y="4609741"/>
                  <a:pt x="2494844" y="4532698"/>
                </a:cubicBezTo>
                <a:cubicBezTo>
                  <a:pt x="2419399" y="4532698"/>
                  <a:pt x="2382478" y="4571219"/>
                  <a:pt x="2382478" y="4571219"/>
                </a:cubicBezTo>
                <a:cubicBezTo>
                  <a:pt x="2382478" y="4532698"/>
                  <a:pt x="2419399" y="4532698"/>
                  <a:pt x="2419399" y="4532698"/>
                </a:cubicBezTo>
                <a:cubicBezTo>
                  <a:pt x="2342347" y="4532698"/>
                  <a:pt x="2342347" y="4532698"/>
                  <a:pt x="2305426" y="4532698"/>
                </a:cubicBezTo>
                <a:cubicBezTo>
                  <a:pt x="2305426" y="4532698"/>
                  <a:pt x="2342347" y="4532698"/>
                  <a:pt x="2305426" y="4571219"/>
                </a:cubicBezTo>
                <a:cubicBezTo>
                  <a:pt x="2305426" y="4571219"/>
                  <a:pt x="2305426" y="4571219"/>
                  <a:pt x="2266901" y="4571219"/>
                </a:cubicBezTo>
                <a:cubicBezTo>
                  <a:pt x="2266901" y="4532698"/>
                  <a:pt x="2266901" y="4494177"/>
                  <a:pt x="2229981" y="4494177"/>
                </a:cubicBezTo>
                <a:cubicBezTo>
                  <a:pt x="2189850" y="4532698"/>
                  <a:pt x="2305426" y="4532698"/>
                  <a:pt x="2229981" y="4571219"/>
                </a:cubicBezTo>
                <a:cubicBezTo>
                  <a:pt x="2152929" y="4571219"/>
                  <a:pt x="2152929" y="4532698"/>
                  <a:pt x="2077483" y="4532698"/>
                </a:cubicBezTo>
                <a:cubicBezTo>
                  <a:pt x="2152929" y="4494177"/>
                  <a:pt x="2077483" y="4457260"/>
                  <a:pt x="2189850" y="4494177"/>
                </a:cubicBezTo>
                <a:cubicBezTo>
                  <a:pt x="2133667" y="4456458"/>
                  <a:pt x="2067451" y="4447229"/>
                  <a:pt x="1996219" y="4452044"/>
                </a:cubicBezTo>
                <a:lnTo>
                  <a:pt x="1963039" y="4456856"/>
                </a:lnTo>
                <a:lnTo>
                  <a:pt x="1978762" y="4451241"/>
                </a:lnTo>
                <a:cubicBezTo>
                  <a:pt x="1985985" y="4440407"/>
                  <a:pt x="1971538" y="4418739"/>
                  <a:pt x="2000433" y="4418739"/>
                </a:cubicBezTo>
                <a:cubicBezTo>
                  <a:pt x="2152929" y="4418739"/>
                  <a:pt x="2229981" y="4457260"/>
                  <a:pt x="2305426" y="4418739"/>
                </a:cubicBezTo>
                <a:cubicBezTo>
                  <a:pt x="2266901" y="4418739"/>
                  <a:pt x="2229981" y="4418739"/>
                  <a:pt x="2189850" y="4380217"/>
                </a:cubicBezTo>
                <a:cubicBezTo>
                  <a:pt x="2305426" y="4380217"/>
                  <a:pt x="2457924" y="4457260"/>
                  <a:pt x="2571895" y="4418739"/>
                </a:cubicBezTo>
                <a:cubicBezTo>
                  <a:pt x="2571895" y="4380217"/>
                  <a:pt x="2494844" y="4380217"/>
                  <a:pt x="2494844" y="4380217"/>
                </a:cubicBezTo>
                <a:cubicBezTo>
                  <a:pt x="2571895" y="4380217"/>
                  <a:pt x="2724392" y="4304779"/>
                  <a:pt x="2799839" y="4341695"/>
                </a:cubicBezTo>
                <a:cubicBezTo>
                  <a:pt x="2839970" y="4304779"/>
                  <a:pt x="2762918" y="4304779"/>
                  <a:pt x="2799839" y="4304779"/>
                </a:cubicBezTo>
                <a:cubicBezTo>
                  <a:pt x="2839970" y="4304779"/>
                  <a:pt x="2915416" y="4304779"/>
                  <a:pt x="2952336" y="4304779"/>
                </a:cubicBezTo>
                <a:cubicBezTo>
                  <a:pt x="2990861" y="4341695"/>
                  <a:pt x="2915416" y="4418739"/>
                  <a:pt x="2839970" y="4380217"/>
                </a:cubicBezTo>
                <a:cubicBezTo>
                  <a:pt x="2876890" y="4457260"/>
                  <a:pt x="2915416" y="4418739"/>
                  <a:pt x="2990861" y="4418739"/>
                </a:cubicBezTo>
                <a:cubicBezTo>
                  <a:pt x="2990861" y="4380217"/>
                  <a:pt x="2990861" y="4380217"/>
                  <a:pt x="2990861" y="4341695"/>
                </a:cubicBezTo>
                <a:cubicBezTo>
                  <a:pt x="3067913" y="4380217"/>
                  <a:pt x="3104833" y="4304779"/>
                  <a:pt x="3181884" y="4341695"/>
                </a:cubicBezTo>
                <a:cubicBezTo>
                  <a:pt x="3181884" y="4380217"/>
                  <a:pt x="3104833" y="4341695"/>
                  <a:pt x="3104833" y="4380217"/>
                </a:cubicBezTo>
                <a:cubicBezTo>
                  <a:pt x="3104833" y="4418739"/>
                  <a:pt x="3220410" y="4380217"/>
                  <a:pt x="3295856" y="4380217"/>
                </a:cubicBezTo>
                <a:lnTo>
                  <a:pt x="3295856" y="4418739"/>
                </a:lnTo>
                <a:cubicBezTo>
                  <a:pt x="3324750" y="4447630"/>
                  <a:pt x="3353644" y="4411516"/>
                  <a:pt x="3366286" y="4407905"/>
                </a:cubicBezTo>
                <a:lnTo>
                  <a:pt x="3366975" y="4408095"/>
                </a:lnTo>
                <a:lnTo>
                  <a:pt x="3371959" y="4413545"/>
                </a:lnTo>
                <a:lnTo>
                  <a:pt x="3372907" y="4418739"/>
                </a:lnTo>
                <a:cubicBezTo>
                  <a:pt x="3391367" y="4418739"/>
                  <a:pt x="3381736" y="4418739"/>
                  <a:pt x="3372305" y="4413924"/>
                </a:cubicBezTo>
                <a:lnTo>
                  <a:pt x="3371959" y="4413545"/>
                </a:lnTo>
                <a:lnTo>
                  <a:pt x="3371177" y="4409259"/>
                </a:lnTo>
                <a:lnTo>
                  <a:pt x="3366975" y="4408095"/>
                </a:lnTo>
                <a:lnTo>
                  <a:pt x="3361846" y="4402488"/>
                </a:lnTo>
                <a:cubicBezTo>
                  <a:pt x="3360768" y="4397070"/>
                  <a:pt x="3363276" y="4389847"/>
                  <a:pt x="3372907" y="4380217"/>
                </a:cubicBezTo>
                <a:cubicBezTo>
                  <a:pt x="3409827" y="4380217"/>
                  <a:pt x="3448353" y="4380217"/>
                  <a:pt x="3486879" y="4380217"/>
                </a:cubicBezTo>
                <a:cubicBezTo>
                  <a:pt x="3525405" y="4380217"/>
                  <a:pt x="3562324" y="4380217"/>
                  <a:pt x="3600851" y="4380217"/>
                </a:cubicBezTo>
                <a:cubicBezTo>
                  <a:pt x="3600851" y="4418739"/>
                  <a:pt x="3639376" y="4418739"/>
                  <a:pt x="3600851" y="4457260"/>
                </a:cubicBezTo>
                <a:cubicBezTo>
                  <a:pt x="3600851" y="4457260"/>
                  <a:pt x="3639376" y="4457260"/>
                  <a:pt x="3676296" y="4457260"/>
                </a:cubicBezTo>
                <a:cubicBezTo>
                  <a:pt x="3600851" y="4380217"/>
                  <a:pt x="3753348" y="4457260"/>
                  <a:pt x="3828793" y="4418739"/>
                </a:cubicBezTo>
                <a:cubicBezTo>
                  <a:pt x="3828793" y="4418739"/>
                  <a:pt x="3828793" y="4418739"/>
                  <a:pt x="3867319" y="4457260"/>
                </a:cubicBezTo>
                <a:cubicBezTo>
                  <a:pt x="3944371" y="4418739"/>
                  <a:pt x="3867319" y="4418739"/>
                  <a:pt x="3944371" y="4418739"/>
                </a:cubicBezTo>
                <a:cubicBezTo>
                  <a:pt x="4019817" y="4457260"/>
                  <a:pt x="3981290" y="4380217"/>
                  <a:pt x="4019817" y="4380217"/>
                </a:cubicBezTo>
                <a:cubicBezTo>
                  <a:pt x="4019817" y="4457260"/>
                  <a:pt x="4058342" y="4380217"/>
                  <a:pt x="4058342" y="4380217"/>
                </a:cubicBezTo>
                <a:cubicBezTo>
                  <a:pt x="4096868" y="4418739"/>
                  <a:pt x="4133788" y="4418739"/>
                  <a:pt x="4133788" y="4418739"/>
                </a:cubicBezTo>
                <a:cubicBezTo>
                  <a:pt x="4210839" y="4418739"/>
                  <a:pt x="4096868" y="4341695"/>
                  <a:pt x="4172314" y="4341695"/>
                </a:cubicBezTo>
                <a:cubicBezTo>
                  <a:pt x="4249365" y="4341695"/>
                  <a:pt x="4133788" y="4380217"/>
                  <a:pt x="4210839" y="4380217"/>
                </a:cubicBezTo>
                <a:cubicBezTo>
                  <a:pt x="4210839" y="4380217"/>
                  <a:pt x="4172314" y="4418739"/>
                  <a:pt x="4172314" y="4457260"/>
                </a:cubicBezTo>
                <a:cubicBezTo>
                  <a:pt x="4096868" y="4457260"/>
                  <a:pt x="4096868" y="4418739"/>
                  <a:pt x="4058342" y="4418739"/>
                </a:cubicBezTo>
                <a:cubicBezTo>
                  <a:pt x="4058342" y="4457260"/>
                  <a:pt x="4133788" y="4457260"/>
                  <a:pt x="4172314" y="4457260"/>
                </a:cubicBezTo>
                <a:cubicBezTo>
                  <a:pt x="4096868" y="4532698"/>
                  <a:pt x="4249365" y="4457260"/>
                  <a:pt x="4286285" y="4457260"/>
                </a:cubicBezTo>
                <a:cubicBezTo>
                  <a:pt x="4401862" y="4457260"/>
                  <a:pt x="4554359" y="4532698"/>
                  <a:pt x="4629805" y="4457260"/>
                </a:cubicBezTo>
                <a:cubicBezTo>
                  <a:pt x="4629805" y="4418739"/>
                  <a:pt x="4591280" y="4418739"/>
                  <a:pt x="4591280" y="4418739"/>
                </a:cubicBezTo>
                <a:cubicBezTo>
                  <a:pt x="4591280" y="4418739"/>
                  <a:pt x="4591280" y="4418739"/>
                  <a:pt x="4591280" y="4380217"/>
                </a:cubicBezTo>
                <a:cubicBezTo>
                  <a:pt x="4666726" y="4380217"/>
                  <a:pt x="4629805" y="4418739"/>
                  <a:pt x="4666726" y="4418739"/>
                </a:cubicBezTo>
                <a:cubicBezTo>
                  <a:pt x="4666726" y="4418739"/>
                  <a:pt x="4743777" y="4418739"/>
                  <a:pt x="4743777" y="4380217"/>
                </a:cubicBezTo>
                <a:cubicBezTo>
                  <a:pt x="4859354" y="4418739"/>
                  <a:pt x="4934800" y="4380217"/>
                  <a:pt x="5011851" y="4380217"/>
                </a:cubicBezTo>
                <a:cubicBezTo>
                  <a:pt x="5011851" y="4380217"/>
                  <a:pt x="4973325" y="4380217"/>
                  <a:pt x="5011851" y="4341695"/>
                </a:cubicBezTo>
                <a:cubicBezTo>
                  <a:pt x="5087296" y="4341695"/>
                  <a:pt x="5011851" y="4304779"/>
                  <a:pt x="5048771" y="4304779"/>
                </a:cubicBezTo>
                <a:cubicBezTo>
                  <a:pt x="5048771" y="4341695"/>
                  <a:pt x="5048771" y="4341695"/>
                  <a:pt x="5048771" y="4380217"/>
                </a:cubicBezTo>
                <a:cubicBezTo>
                  <a:pt x="5048771" y="4380217"/>
                  <a:pt x="5048771" y="4380217"/>
                  <a:pt x="5087296" y="4380217"/>
                </a:cubicBezTo>
                <a:cubicBezTo>
                  <a:pt x="5125822" y="4380217"/>
                  <a:pt x="5087296" y="4341695"/>
                  <a:pt x="5087296" y="4341695"/>
                </a:cubicBezTo>
                <a:cubicBezTo>
                  <a:pt x="5125822" y="4380217"/>
                  <a:pt x="5201268" y="4304779"/>
                  <a:pt x="5239794" y="4380217"/>
                </a:cubicBezTo>
                <a:cubicBezTo>
                  <a:pt x="5278320" y="4341695"/>
                  <a:pt x="5316845" y="4380217"/>
                  <a:pt x="5353766" y="4380217"/>
                </a:cubicBezTo>
                <a:cubicBezTo>
                  <a:pt x="5353766" y="4341695"/>
                  <a:pt x="5353766" y="4341695"/>
                  <a:pt x="5316845" y="4304779"/>
                </a:cubicBezTo>
                <a:cubicBezTo>
                  <a:pt x="5316845" y="4266257"/>
                  <a:pt x="5392291" y="4341695"/>
                  <a:pt x="5353766" y="4341695"/>
                </a:cubicBezTo>
                <a:cubicBezTo>
                  <a:pt x="5506262" y="4341695"/>
                  <a:pt x="5658760" y="4380217"/>
                  <a:pt x="5735811" y="4341695"/>
                </a:cubicBezTo>
                <a:cubicBezTo>
                  <a:pt x="5774337" y="4341695"/>
                  <a:pt x="5849783" y="4341695"/>
                  <a:pt x="5888308" y="4380217"/>
                </a:cubicBezTo>
                <a:cubicBezTo>
                  <a:pt x="5926834" y="4341695"/>
                  <a:pt x="5849783" y="4341695"/>
                  <a:pt x="5888308" y="4304779"/>
                </a:cubicBezTo>
                <a:cubicBezTo>
                  <a:pt x="5963754" y="4304779"/>
                  <a:pt x="5926834" y="4304779"/>
                  <a:pt x="6002280" y="4304779"/>
                </a:cubicBezTo>
                <a:cubicBezTo>
                  <a:pt x="6040805" y="4341695"/>
                  <a:pt x="5963754" y="4341695"/>
                  <a:pt x="6002280" y="4380217"/>
                </a:cubicBezTo>
                <a:cubicBezTo>
                  <a:pt x="6079331" y="4380217"/>
                  <a:pt x="6116251" y="4341695"/>
                  <a:pt x="6116251" y="4341695"/>
                </a:cubicBezTo>
                <a:cubicBezTo>
                  <a:pt x="6040805" y="4341695"/>
                  <a:pt x="6079331" y="4304779"/>
                  <a:pt x="6079331" y="4304779"/>
                </a:cubicBezTo>
                <a:cubicBezTo>
                  <a:pt x="6040805" y="4304779"/>
                  <a:pt x="6079331" y="4227736"/>
                  <a:pt x="6154777" y="4266257"/>
                </a:cubicBezTo>
                <a:cubicBezTo>
                  <a:pt x="6079331" y="4266257"/>
                  <a:pt x="6154777" y="4304779"/>
                  <a:pt x="6154777" y="4341695"/>
                </a:cubicBezTo>
                <a:cubicBezTo>
                  <a:pt x="6154777" y="4304779"/>
                  <a:pt x="6231828" y="4304779"/>
                  <a:pt x="6268749" y="4266257"/>
                </a:cubicBezTo>
                <a:cubicBezTo>
                  <a:pt x="6402184" y="4232551"/>
                  <a:pt x="6477855" y="4287324"/>
                  <a:pt x="6621583" y="4249931"/>
                </a:cubicBezTo>
                <a:lnTo>
                  <a:pt x="6677351" y="4231214"/>
                </a:lnTo>
                <a:lnTo>
                  <a:pt x="6702362" y="4232551"/>
                </a:lnTo>
                <a:cubicBezTo>
                  <a:pt x="6726240" y="4237366"/>
                  <a:pt x="6745503" y="4246997"/>
                  <a:pt x="6764766" y="4266257"/>
                </a:cubicBezTo>
                <a:cubicBezTo>
                  <a:pt x="6803291" y="4227736"/>
                  <a:pt x="6764766" y="4227736"/>
                  <a:pt x="6803291" y="4266257"/>
                </a:cubicBezTo>
                <a:cubicBezTo>
                  <a:pt x="6840212" y="4227736"/>
                  <a:pt x="6764766" y="4227736"/>
                  <a:pt x="6764766" y="4153903"/>
                </a:cubicBezTo>
                <a:cubicBezTo>
                  <a:pt x="6803291" y="4153903"/>
                  <a:pt x="6803291" y="4153903"/>
                  <a:pt x="6803291" y="4153903"/>
                </a:cubicBezTo>
                <a:cubicBezTo>
                  <a:pt x="6955789" y="4153903"/>
                  <a:pt x="7108286" y="4153903"/>
                  <a:pt x="7145206" y="4115382"/>
                </a:cubicBezTo>
                <a:cubicBezTo>
                  <a:pt x="7108286" y="4078465"/>
                  <a:pt x="7031235" y="4115382"/>
                  <a:pt x="7031235" y="4078465"/>
                </a:cubicBezTo>
                <a:cubicBezTo>
                  <a:pt x="6992709" y="4078465"/>
                  <a:pt x="6992709" y="4115382"/>
                  <a:pt x="6955789" y="4115382"/>
                </a:cubicBezTo>
                <a:cubicBezTo>
                  <a:pt x="6917263" y="4115382"/>
                  <a:pt x="6992709" y="4078465"/>
                  <a:pt x="6955789" y="4078465"/>
                </a:cubicBezTo>
                <a:cubicBezTo>
                  <a:pt x="6955789" y="4078465"/>
                  <a:pt x="6955789" y="4078465"/>
                  <a:pt x="6917263" y="4078465"/>
                </a:cubicBezTo>
                <a:cubicBezTo>
                  <a:pt x="6917263" y="4189215"/>
                  <a:pt x="6687715" y="4038339"/>
                  <a:pt x="6535217" y="4001422"/>
                </a:cubicBezTo>
                <a:cubicBezTo>
                  <a:pt x="6535217" y="4078465"/>
                  <a:pt x="6650794" y="4038339"/>
                  <a:pt x="6650794" y="4115382"/>
                </a:cubicBezTo>
                <a:cubicBezTo>
                  <a:pt x="6650794" y="4115382"/>
                  <a:pt x="6650794" y="4115382"/>
                  <a:pt x="6535217" y="4115382"/>
                </a:cubicBezTo>
                <a:cubicBezTo>
                  <a:pt x="6498297" y="4115382"/>
                  <a:pt x="6612269" y="4115382"/>
                  <a:pt x="6535217" y="4153903"/>
                </a:cubicBezTo>
                <a:cubicBezTo>
                  <a:pt x="6535217" y="4153903"/>
                  <a:pt x="6573743" y="4153903"/>
                  <a:pt x="6612269" y="4153903"/>
                </a:cubicBezTo>
                <a:cubicBezTo>
                  <a:pt x="6535217" y="4227736"/>
                  <a:pt x="6498297" y="4115382"/>
                  <a:pt x="6459771" y="4153903"/>
                </a:cubicBezTo>
                <a:cubicBezTo>
                  <a:pt x="6421246" y="4038339"/>
                  <a:pt x="6154777" y="4078465"/>
                  <a:pt x="5888308" y="4078465"/>
                </a:cubicBezTo>
                <a:cubicBezTo>
                  <a:pt x="5888308" y="4115382"/>
                  <a:pt x="5963754" y="4115382"/>
                  <a:pt x="6002280" y="4115382"/>
                </a:cubicBezTo>
                <a:cubicBezTo>
                  <a:pt x="5926834" y="4153903"/>
                  <a:pt x="5811257" y="4078465"/>
                  <a:pt x="5774337" y="4038339"/>
                </a:cubicBezTo>
                <a:cubicBezTo>
                  <a:pt x="5849783" y="4038339"/>
                  <a:pt x="5888308" y="4038339"/>
                  <a:pt x="5888308" y="4038339"/>
                </a:cubicBezTo>
                <a:cubicBezTo>
                  <a:pt x="5849783" y="4001422"/>
                  <a:pt x="5811257" y="4038339"/>
                  <a:pt x="5774337" y="4038339"/>
                </a:cubicBezTo>
                <a:cubicBezTo>
                  <a:pt x="5735811" y="4038339"/>
                  <a:pt x="5774337" y="4078465"/>
                  <a:pt x="5774337" y="4115382"/>
                </a:cubicBezTo>
                <a:cubicBezTo>
                  <a:pt x="5735811" y="4115382"/>
                  <a:pt x="5735811" y="4038339"/>
                  <a:pt x="5658760" y="4038339"/>
                </a:cubicBezTo>
                <a:cubicBezTo>
                  <a:pt x="5697285" y="4038339"/>
                  <a:pt x="5697285" y="4038339"/>
                  <a:pt x="5697285" y="4001422"/>
                </a:cubicBezTo>
                <a:cubicBezTo>
                  <a:pt x="5774337" y="4001422"/>
                  <a:pt x="5811257" y="4001422"/>
                  <a:pt x="5926834" y="4001422"/>
                </a:cubicBezTo>
                <a:cubicBezTo>
                  <a:pt x="6002280" y="4078465"/>
                  <a:pt x="6268749" y="4038339"/>
                  <a:pt x="6498297" y="4038339"/>
                </a:cubicBezTo>
                <a:cubicBezTo>
                  <a:pt x="6459771" y="4001422"/>
                  <a:pt x="6382720" y="4038339"/>
                  <a:pt x="6421246" y="3962901"/>
                </a:cubicBezTo>
                <a:cubicBezTo>
                  <a:pt x="6345800" y="3962901"/>
                  <a:pt x="6345800" y="4001422"/>
                  <a:pt x="6307274" y="4001422"/>
                </a:cubicBezTo>
                <a:cubicBezTo>
                  <a:pt x="6382720" y="3962901"/>
                  <a:pt x="6079331" y="3962901"/>
                  <a:pt x="6193303" y="3925984"/>
                </a:cubicBezTo>
                <a:cubicBezTo>
                  <a:pt x="6154777" y="3885858"/>
                  <a:pt x="6079331" y="3962901"/>
                  <a:pt x="6079331" y="3962901"/>
                </a:cubicBezTo>
                <a:cubicBezTo>
                  <a:pt x="6079331" y="3962901"/>
                  <a:pt x="6040805" y="3962901"/>
                  <a:pt x="6002280" y="3962901"/>
                </a:cubicBezTo>
                <a:cubicBezTo>
                  <a:pt x="6002280" y="3925984"/>
                  <a:pt x="6079331" y="3925984"/>
                  <a:pt x="6079331" y="3925984"/>
                </a:cubicBezTo>
                <a:cubicBezTo>
                  <a:pt x="6060068" y="3905921"/>
                  <a:pt x="6040805" y="3895889"/>
                  <a:pt x="6016927" y="3890874"/>
                </a:cubicBezTo>
                <a:lnTo>
                  <a:pt x="6001398" y="3889164"/>
                </a:lnTo>
                <a:lnTo>
                  <a:pt x="6002280" y="3885858"/>
                </a:lnTo>
                <a:lnTo>
                  <a:pt x="5998207" y="3888812"/>
                </a:lnTo>
                <a:lnTo>
                  <a:pt x="5977073" y="3886485"/>
                </a:lnTo>
                <a:lnTo>
                  <a:pt x="5963877" y="3886320"/>
                </a:lnTo>
                <a:lnTo>
                  <a:pt x="5963754" y="3885858"/>
                </a:lnTo>
                <a:lnTo>
                  <a:pt x="5963436" y="3886315"/>
                </a:lnTo>
                <a:lnTo>
                  <a:pt x="5926834" y="3885858"/>
                </a:lnTo>
                <a:cubicBezTo>
                  <a:pt x="5907571" y="3885858"/>
                  <a:pt x="5916801" y="3895889"/>
                  <a:pt x="5935662" y="3900905"/>
                </a:cubicBezTo>
                <a:lnTo>
                  <a:pt x="5952607" y="3901866"/>
                </a:lnTo>
                <a:lnTo>
                  <a:pt x="5947601" y="3909056"/>
                </a:lnTo>
                <a:cubicBezTo>
                  <a:pt x="5940679" y="3925984"/>
                  <a:pt x="5954524" y="3925984"/>
                  <a:pt x="5926834" y="3925984"/>
                </a:cubicBezTo>
                <a:cubicBezTo>
                  <a:pt x="5849783" y="3848941"/>
                  <a:pt x="5697285" y="3848941"/>
                  <a:pt x="5621840" y="3810420"/>
                </a:cubicBezTo>
                <a:lnTo>
                  <a:pt x="5626454" y="3810420"/>
                </a:lnTo>
                <a:cubicBezTo>
                  <a:pt x="5640701" y="3810420"/>
                  <a:pt x="5659562" y="3810420"/>
                  <a:pt x="5697285" y="3810420"/>
                </a:cubicBezTo>
                <a:cubicBezTo>
                  <a:pt x="5658760" y="3773503"/>
                  <a:pt x="5658760" y="3773503"/>
                  <a:pt x="5621840" y="3773503"/>
                </a:cubicBezTo>
                <a:cubicBezTo>
                  <a:pt x="5583314" y="3733377"/>
                  <a:pt x="5697285" y="3810420"/>
                  <a:pt x="5697285" y="3773503"/>
                </a:cubicBezTo>
                <a:cubicBezTo>
                  <a:pt x="5735811" y="3773503"/>
                  <a:pt x="5774337" y="3810420"/>
                  <a:pt x="5735811" y="3810420"/>
                </a:cubicBezTo>
                <a:cubicBezTo>
                  <a:pt x="5774337" y="3848941"/>
                  <a:pt x="5849783" y="3810420"/>
                  <a:pt x="5849783" y="3848941"/>
                </a:cubicBezTo>
                <a:cubicBezTo>
                  <a:pt x="5849783" y="3848941"/>
                  <a:pt x="5849783" y="3810420"/>
                  <a:pt x="5926834" y="3810420"/>
                </a:cubicBezTo>
                <a:cubicBezTo>
                  <a:pt x="5963754" y="3848941"/>
                  <a:pt x="6079331" y="3810420"/>
                  <a:pt x="6116251" y="3885858"/>
                </a:cubicBezTo>
                <a:cubicBezTo>
                  <a:pt x="6079331" y="3848941"/>
                  <a:pt x="6193303" y="3885858"/>
                  <a:pt x="6231828" y="3885858"/>
                </a:cubicBezTo>
                <a:cubicBezTo>
                  <a:pt x="6193303" y="3962901"/>
                  <a:pt x="6307274" y="3962901"/>
                  <a:pt x="6345800" y="3962901"/>
                </a:cubicBezTo>
                <a:cubicBezTo>
                  <a:pt x="6268749" y="3962901"/>
                  <a:pt x="6307274" y="3885858"/>
                  <a:pt x="6231828" y="3885858"/>
                </a:cubicBezTo>
                <a:cubicBezTo>
                  <a:pt x="6259518" y="3885858"/>
                  <a:pt x="6266441" y="3843424"/>
                  <a:pt x="6252596" y="3838458"/>
                </a:cubicBezTo>
                <a:lnTo>
                  <a:pt x="6246634" y="3839154"/>
                </a:lnTo>
                <a:lnTo>
                  <a:pt x="6266391" y="3826094"/>
                </a:lnTo>
                <a:cubicBezTo>
                  <a:pt x="6307174" y="3808113"/>
                  <a:pt x="6364661" y="3801191"/>
                  <a:pt x="6421246" y="3773503"/>
                </a:cubicBezTo>
                <a:cubicBezTo>
                  <a:pt x="6459771" y="3773503"/>
                  <a:pt x="6459771" y="3810420"/>
                  <a:pt x="6498297" y="3810420"/>
                </a:cubicBezTo>
                <a:cubicBezTo>
                  <a:pt x="6498297" y="3782732"/>
                  <a:pt x="6454956" y="3775810"/>
                  <a:pt x="6401456" y="3757152"/>
                </a:cubicBezTo>
                <a:lnTo>
                  <a:pt x="6360840" y="3739802"/>
                </a:lnTo>
                <a:lnTo>
                  <a:pt x="6371985" y="3738518"/>
                </a:lnTo>
                <a:cubicBezTo>
                  <a:pt x="6416530" y="3722944"/>
                  <a:pt x="6402384" y="3657939"/>
                  <a:pt x="6345800" y="3657939"/>
                </a:cubicBezTo>
                <a:cubicBezTo>
                  <a:pt x="6345800" y="3696460"/>
                  <a:pt x="6345800" y="3696460"/>
                  <a:pt x="6307274" y="3733377"/>
                </a:cubicBezTo>
                <a:cubicBezTo>
                  <a:pt x="6307274" y="3696460"/>
                  <a:pt x="6231828" y="3696460"/>
                  <a:pt x="6307274" y="3696460"/>
                </a:cubicBezTo>
                <a:cubicBezTo>
                  <a:pt x="6268749" y="3696460"/>
                  <a:pt x="6268749" y="3696460"/>
                  <a:pt x="6307274" y="3657939"/>
                </a:cubicBezTo>
                <a:cubicBezTo>
                  <a:pt x="6231828" y="3696460"/>
                  <a:pt x="6193303" y="3657939"/>
                  <a:pt x="6154777" y="3733377"/>
                </a:cubicBezTo>
                <a:cubicBezTo>
                  <a:pt x="6125882" y="3733377"/>
                  <a:pt x="6162000" y="3690943"/>
                  <a:pt x="6149359" y="3685977"/>
                </a:cubicBezTo>
                <a:lnTo>
                  <a:pt x="6141204" y="3686732"/>
                </a:lnTo>
                <a:lnTo>
                  <a:pt x="6148757" y="3680209"/>
                </a:lnTo>
                <a:cubicBezTo>
                  <a:pt x="6152369" y="3674792"/>
                  <a:pt x="6154777" y="3667569"/>
                  <a:pt x="6154777" y="3657939"/>
                </a:cubicBezTo>
                <a:cubicBezTo>
                  <a:pt x="6154777" y="3657939"/>
                  <a:pt x="6116251" y="3657939"/>
                  <a:pt x="6116251" y="3621022"/>
                </a:cubicBezTo>
                <a:cubicBezTo>
                  <a:pt x="6079331" y="3657939"/>
                  <a:pt x="6040805" y="3696460"/>
                  <a:pt x="6002280" y="3733377"/>
                </a:cubicBezTo>
                <a:cubicBezTo>
                  <a:pt x="5926834" y="3733377"/>
                  <a:pt x="6002280" y="3733377"/>
                  <a:pt x="5963754" y="3696460"/>
                </a:cubicBezTo>
                <a:cubicBezTo>
                  <a:pt x="5926834" y="3696460"/>
                  <a:pt x="5926834" y="3733377"/>
                  <a:pt x="5926834" y="3773503"/>
                </a:cubicBezTo>
                <a:cubicBezTo>
                  <a:pt x="5926834" y="3733377"/>
                  <a:pt x="5888308" y="3773503"/>
                  <a:pt x="5888308" y="3773503"/>
                </a:cubicBezTo>
                <a:lnTo>
                  <a:pt x="5849783" y="3773503"/>
                </a:lnTo>
                <a:lnTo>
                  <a:pt x="5849783" y="3733377"/>
                </a:lnTo>
                <a:cubicBezTo>
                  <a:pt x="5774337" y="3773503"/>
                  <a:pt x="5658760" y="3696460"/>
                  <a:pt x="5658760" y="3733377"/>
                </a:cubicBezTo>
                <a:cubicBezTo>
                  <a:pt x="5621840" y="3773503"/>
                  <a:pt x="5583314" y="3696460"/>
                  <a:pt x="5544788" y="3733377"/>
                </a:cubicBezTo>
                <a:cubicBezTo>
                  <a:pt x="5469342" y="3733377"/>
                  <a:pt x="5583314" y="3733377"/>
                  <a:pt x="5583314" y="3696460"/>
                </a:cubicBezTo>
                <a:cubicBezTo>
                  <a:pt x="5583314" y="3696460"/>
                  <a:pt x="5621840" y="3696460"/>
                  <a:pt x="5621840" y="3733377"/>
                </a:cubicBezTo>
                <a:cubicBezTo>
                  <a:pt x="5697285" y="3696460"/>
                  <a:pt x="5849783" y="3696460"/>
                  <a:pt x="5849783" y="3657939"/>
                </a:cubicBezTo>
                <a:cubicBezTo>
                  <a:pt x="5926834" y="3621022"/>
                  <a:pt x="5888308" y="3696460"/>
                  <a:pt x="5926834" y="3696460"/>
                </a:cubicBezTo>
                <a:lnTo>
                  <a:pt x="5926834" y="3657939"/>
                </a:lnTo>
                <a:cubicBezTo>
                  <a:pt x="5926834" y="3621022"/>
                  <a:pt x="5963754" y="3696460"/>
                  <a:pt x="6002280" y="3657939"/>
                </a:cubicBezTo>
                <a:cubicBezTo>
                  <a:pt x="5888308" y="3621022"/>
                  <a:pt x="5774337" y="3657939"/>
                  <a:pt x="5697285" y="3657939"/>
                </a:cubicBezTo>
                <a:cubicBezTo>
                  <a:pt x="5735811" y="3657939"/>
                  <a:pt x="5621840" y="3621022"/>
                  <a:pt x="5621840" y="3580895"/>
                </a:cubicBezTo>
                <a:cubicBezTo>
                  <a:pt x="5658760" y="3621022"/>
                  <a:pt x="5697285" y="3621022"/>
                  <a:pt x="5774337" y="3621022"/>
                </a:cubicBezTo>
                <a:cubicBezTo>
                  <a:pt x="5774337" y="3580895"/>
                  <a:pt x="5697285" y="3580895"/>
                  <a:pt x="5621840" y="3580895"/>
                </a:cubicBezTo>
                <a:cubicBezTo>
                  <a:pt x="5583314" y="3621022"/>
                  <a:pt x="5544788" y="3621022"/>
                  <a:pt x="5583314" y="3657939"/>
                </a:cubicBezTo>
                <a:cubicBezTo>
                  <a:pt x="5506262" y="3621022"/>
                  <a:pt x="5583314" y="3621022"/>
                  <a:pt x="5544788" y="3580895"/>
                </a:cubicBezTo>
                <a:cubicBezTo>
                  <a:pt x="5573682" y="3580895"/>
                  <a:pt x="5580906" y="3538461"/>
                  <a:pt x="5614540" y="3533496"/>
                </a:cubicBezTo>
                <a:lnTo>
                  <a:pt x="5621077" y="3533839"/>
                </a:lnTo>
                <a:lnTo>
                  <a:pt x="5658760" y="3543979"/>
                </a:lnTo>
                <a:cubicBezTo>
                  <a:pt x="5649329" y="3539164"/>
                  <a:pt x="5641077" y="3536129"/>
                  <a:pt x="5633781" y="3534505"/>
                </a:cubicBezTo>
                <a:lnTo>
                  <a:pt x="5621077" y="3533839"/>
                </a:lnTo>
                <a:lnTo>
                  <a:pt x="5596130" y="3527126"/>
                </a:lnTo>
                <a:cubicBezTo>
                  <a:pt x="5528635" y="3519903"/>
                  <a:pt x="5450079" y="3534348"/>
                  <a:pt x="5392291" y="3505457"/>
                </a:cubicBezTo>
                <a:cubicBezTo>
                  <a:pt x="5392291" y="3505457"/>
                  <a:pt x="5469342" y="3505457"/>
                  <a:pt x="5544788" y="3468541"/>
                </a:cubicBezTo>
                <a:cubicBezTo>
                  <a:pt x="5469342" y="3468541"/>
                  <a:pt x="5430817" y="3468541"/>
                  <a:pt x="5316845" y="3468541"/>
                </a:cubicBezTo>
                <a:cubicBezTo>
                  <a:pt x="5316845" y="3505457"/>
                  <a:pt x="5353766" y="3505457"/>
                  <a:pt x="5392291" y="3543979"/>
                </a:cubicBezTo>
                <a:cubicBezTo>
                  <a:pt x="5353766" y="3580895"/>
                  <a:pt x="5278320" y="3505457"/>
                  <a:pt x="5353766" y="3580895"/>
                </a:cubicBezTo>
                <a:cubicBezTo>
                  <a:pt x="5296780" y="3580895"/>
                  <a:pt x="5277918" y="3571666"/>
                  <a:pt x="5273303" y="3557622"/>
                </a:cubicBezTo>
                <a:lnTo>
                  <a:pt x="5273631" y="3547445"/>
                </a:lnTo>
                <a:lnTo>
                  <a:pt x="5278320" y="3543979"/>
                </a:lnTo>
                <a:lnTo>
                  <a:pt x="5273826" y="3541398"/>
                </a:lnTo>
                <a:lnTo>
                  <a:pt x="5274081" y="3533496"/>
                </a:lnTo>
                <a:cubicBezTo>
                  <a:pt x="5275912" y="3524618"/>
                  <a:pt x="5278320" y="3515087"/>
                  <a:pt x="5278320" y="3505457"/>
                </a:cubicBezTo>
                <a:cubicBezTo>
                  <a:pt x="5278320" y="3468541"/>
                  <a:pt x="5201268" y="3505457"/>
                  <a:pt x="5201268" y="3543979"/>
                </a:cubicBezTo>
                <a:cubicBezTo>
                  <a:pt x="5201268" y="3543979"/>
                  <a:pt x="5222939" y="3522310"/>
                  <a:pt x="5250027" y="3527728"/>
                </a:cubicBezTo>
                <a:lnTo>
                  <a:pt x="5273826" y="3541398"/>
                </a:lnTo>
                <a:lnTo>
                  <a:pt x="5273631" y="3547445"/>
                </a:lnTo>
                <a:lnTo>
                  <a:pt x="5249450" y="3565321"/>
                </a:lnTo>
                <a:cubicBezTo>
                  <a:pt x="5220631" y="3580895"/>
                  <a:pt x="5192038" y="3580895"/>
                  <a:pt x="5164348" y="3580895"/>
                </a:cubicBezTo>
                <a:cubicBezTo>
                  <a:pt x="5164348" y="3543979"/>
                  <a:pt x="5087296" y="3543979"/>
                  <a:pt x="5087296" y="3505457"/>
                </a:cubicBezTo>
                <a:lnTo>
                  <a:pt x="5125822" y="3505457"/>
                </a:lnTo>
                <a:cubicBezTo>
                  <a:pt x="5087296" y="3505457"/>
                  <a:pt x="5087296" y="3468541"/>
                  <a:pt x="5048771" y="3468541"/>
                </a:cubicBezTo>
                <a:cubicBezTo>
                  <a:pt x="5048771" y="3505457"/>
                  <a:pt x="5011851" y="3505457"/>
                  <a:pt x="5048771" y="3505457"/>
                </a:cubicBezTo>
                <a:lnTo>
                  <a:pt x="5087296" y="3505457"/>
                </a:lnTo>
                <a:cubicBezTo>
                  <a:pt x="5048771" y="3505457"/>
                  <a:pt x="5048771" y="3543979"/>
                  <a:pt x="5011851" y="3543979"/>
                </a:cubicBezTo>
                <a:cubicBezTo>
                  <a:pt x="5011851" y="3505457"/>
                  <a:pt x="5011851" y="3505457"/>
                  <a:pt x="4973325" y="3468541"/>
                </a:cubicBezTo>
                <a:cubicBezTo>
                  <a:pt x="4859354" y="3468541"/>
                  <a:pt x="4782302" y="3543979"/>
                  <a:pt x="4859354" y="3543979"/>
                </a:cubicBezTo>
                <a:cubicBezTo>
                  <a:pt x="4859354" y="3580895"/>
                  <a:pt x="4820828" y="3580895"/>
                  <a:pt x="4782302" y="3580895"/>
                </a:cubicBezTo>
                <a:cubicBezTo>
                  <a:pt x="4820828" y="3580895"/>
                  <a:pt x="4820828" y="3543979"/>
                  <a:pt x="4820828" y="3543979"/>
                </a:cubicBezTo>
                <a:cubicBezTo>
                  <a:pt x="4743777" y="3543979"/>
                  <a:pt x="4706856" y="3621022"/>
                  <a:pt x="4666726" y="3543979"/>
                </a:cubicBezTo>
                <a:cubicBezTo>
                  <a:pt x="4743777" y="3543979"/>
                  <a:pt x="4743777" y="3580895"/>
                  <a:pt x="4782302" y="3543979"/>
                </a:cubicBezTo>
                <a:cubicBezTo>
                  <a:pt x="4782302" y="3505457"/>
                  <a:pt x="4706856" y="3543979"/>
                  <a:pt x="4706856" y="3505457"/>
                </a:cubicBezTo>
                <a:cubicBezTo>
                  <a:pt x="4629805" y="3505457"/>
                  <a:pt x="4629805" y="3505457"/>
                  <a:pt x="4554359" y="3468541"/>
                </a:cubicBezTo>
                <a:cubicBezTo>
                  <a:pt x="4515834" y="3505457"/>
                  <a:pt x="4477308" y="3505457"/>
                  <a:pt x="4477308" y="3543979"/>
                </a:cubicBezTo>
                <a:cubicBezTo>
                  <a:pt x="4515834" y="3580895"/>
                  <a:pt x="4515834" y="3505457"/>
                  <a:pt x="4554359" y="3543979"/>
                </a:cubicBezTo>
                <a:cubicBezTo>
                  <a:pt x="4591280" y="3543979"/>
                  <a:pt x="4515834" y="3580895"/>
                  <a:pt x="4438782" y="3580895"/>
                </a:cubicBezTo>
                <a:cubicBezTo>
                  <a:pt x="4477308" y="3505457"/>
                  <a:pt x="4515834" y="3505457"/>
                  <a:pt x="4477308" y="3428415"/>
                </a:cubicBezTo>
                <a:cubicBezTo>
                  <a:pt x="4591280" y="3468541"/>
                  <a:pt x="4591280" y="3468541"/>
                  <a:pt x="4706856" y="3428415"/>
                </a:cubicBezTo>
                <a:cubicBezTo>
                  <a:pt x="4687593" y="3419186"/>
                  <a:pt x="4663615" y="3414571"/>
                  <a:pt x="4637304" y="3412841"/>
                </a:cubicBezTo>
                <a:lnTo>
                  <a:pt x="4595903" y="3413698"/>
                </a:lnTo>
                <a:lnTo>
                  <a:pt x="4590928" y="3406470"/>
                </a:lnTo>
                <a:cubicBezTo>
                  <a:pt x="4567903" y="3389090"/>
                  <a:pt x="4496571" y="3381868"/>
                  <a:pt x="4554359" y="3352977"/>
                </a:cubicBezTo>
                <a:cubicBezTo>
                  <a:pt x="4401862" y="3352977"/>
                  <a:pt x="4324811" y="3352977"/>
                  <a:pt x="4210839" y="3316060"/>
                </a:cubicBezTo>
                <a:cubicBezTo>
                  <a:pt x="4133788" y="3352977"/>
                  <a:pt x="4210839" y="3352977"/>
                  <a:pt x="4210839" y="3391498"/>
                </a:cubicBezTo>
                <a:cubicBezTo>
                  <a:pt x="4133788" y="3391498"/>
                  <a:pt x="4133788" y="3352977"/>
                  <a:pt x="4096868" y="3391498"/>
                </a:cubicBezTo>
                <a:cubicBezTo>
                  <a:pt x="4096868" y="3391498"/>
                  <a:pt x="4133788" y="3428415"/>
                  <a:pt x="4133788" y="3391498"/>
                </a:cubicBezTo>
                <a:cubicBezTo>
                  <a:pt x="4210839" y="3391498"/>
                  <a:pt x="4096868" y="3428415"/>
                  <a:pt x="4058342" y="3428415"/>
                </a:cubicBezTo>
                <a:cubicBezTo>
                  <a:pt x="4058342" y="3468541"/>
                  <a:pt x="4172314" y="3428415"/>
                  <a:pt x="4172314" y="3428415"/>
                </a:cubicBezTo>
                <a:cubicBezTo>
                  <a:pt x="4172314" y="3428415"/>
                  <a:pt x="4150643" y="3471751"/>
                  <a:pt x="4172313" y="3477845"/>
                </a:cubicBezTo>
                <a:lnTo>
                  <a:pt x="4181885" y="3477567"/>
                </a:lnTo>
                <a:lnTo>
                  <a:pt x="4167497" y="3484115"/>
                </a:lnTo>
                <a:cubicBezTo>
                  <a:pt x="4162682" y="3489306"/>
                  <a:pt x="4162682" y="3496228"/>
                  <a:pt x="4172314" y="3505457"/>
                </a:cubicBezTo>
                <a:cubicBezTo>
                  <a:pt x="4172314" y="3505457"/>
                  <a:pt x="4058342" y="3505457"/>
                  <a:pt x="4058342" y="3468541"/>
                </a:cubicBezTo>
                <a:cubicBezTo>
                  <a:pt x="4001356" y="3468541"/>
                  <a:pt x="3963232" y="3468541"/>
                  <a:pt x="3925108" y="3468541"/>
                </a:cubicBezTo>
                <a:lnTo>
                  <a:pt x="3867319" y="3468541"/>
                </a:lnTo>
                <a:cubicBezTo>
                  <a:pt x="3905845" y="3468541"/>
                  <a:pt x="3944371" y="3428415"/>
                  <a:pt x="3981290" y="3428415"/>
                </a:cubicBezTo>
                <a:cubicBezTo>
                  <a:pt x="3944371" y="3428415"/>
                  <a:pt x="3981290" y="3391498"/>
                  <a:pt x="3944371" y="3391498"/>
                </a:cubicBezTo>
                <a:cubicBezTo>
                  <a:pt x="3944371" y="3428415"/>
                  <a:pt x="3867319" y="3428415"/>
                  <a:pt x="3867319" y="3468541"/>
                </a:cubicBezTo>
                <a:lnTo>
                  <a:pt x="3865563" y="3468541"/>
                </a:lnTo>
                <a:lnTo>
                  <a:pt x="3828793" y="3468541"/>
                </a:lnTo>
                <a:cubicBezTo>
                  <a:pt x="3753348" y="3505457"/>
                  <a:pt x="3753348" y="3428415"/>
                  <a:pt x="3676296" y="3468541"/>
                </a:cubicBezTo>
                <a:cubicBezTo>
                  <a:pt x="3639376" y="3468541"/>
                  <a:pt x="3676296" y="3505457"/>
                  <a:pt x="3714822" y="3468541"/>
                </a:cubicBezTo>
                <a:cubicBezTo>
                  <a:pt x="3714822" y="3505457"/>
                  <a:pt x="3600851" y="3505457"/>
                  <a:pt x="3600851" y="3505457"/>
                </a:cubicBezTo>
                <a:cubicBezTo>
                  <a:pt x="3562324" y="3505457"/>
                  <a:pt x="3639376" y="3468541"/>
                  <a:pt x="3639376" y="3468541"/>
                </a:cubicBezTo>
                <a:lnTo>
                  <a:pt x="3600851" y="3428415"/>
                </a:lnTo>
                <a:cubicBezTo>
                  <a:pt x="3562324" y="3428415"/>
                  <a:pt x="3562324" y="3428415"/>
                  <a:pt x="3562324" y="3468541"/>
                </a:cubicBezTo>
                <a:cubicBezTo>
                  <a:pt x="3525405" y="3468541"/>
                  <a:pt x="3525405" y="3468541"/>
                  <a:pt x="3525405" y="3468541"/>
                </a:cubicBezTo>
                <a:cubicBezTo>
                  <a:pt x="3525405" y="3468541"/>
                  <a:pt x="3525405" y="3468541"/>
                  <a:pt x="3486879" y="3468541"/>
                </a:cubicBezTo>
                <a:lnTo>
                  <a:pt x="3486879" y="3428415"/>
                </a:lnTo>
                <a:cubicBezTo>
                  <a:pt x="3486879" y="3543979"/>
                  <a:pt x="3257330" y="3468541"/>
                  <a:pt x="3295856" y="3543979"/>
                </a:cubicBezTo>
                <a:cubicBezTo>
                  <a:pt x="3276593" y="3543979"/>
                  <a:pt x="3266961" y="3534348"/>
                  <a:pt x="3257531" y="3524718"/>
                </a:cubicBezTo>
                <a:lnTo>
                  <a:pt x="3245370" y="3514106"/>
                </a:lnTo>
                <a:lnTo>
                  <a:pt x="3257330" y="3505457"/>
                </a:lnTo>
                <a:lnTo>
                  <a:pt x="3220410" y="3505457"/>
                </a:lnTo>
                <a:cubicBezTo>
                  <a:pt x="3229640" y="3505457"/>
                  <a:pt x="3236563" y="3507865"/>
                  <a:pt x="3242356" y="3511476"/>
                </a:cubicBezTo>
                <a:lnTo>
                  <a:pt x="3245370" y="3514106"/>
                </a:lnTo>
                <a:lnTo>
                  <a:pt x="3227379" y="3527116"/>
                </a:lnTo>
                <a:cubicBezTo>
                  <a:pt x="3195917" y="3542587"/>
                  <a:pt x="3160364" y="3540819"/>
                  <a:pt x="3124698" y="3533746"/>
                </a:cubicBezTo>
                <a:lnTo>
                  <a:pt x="3117871" y="3532029"/>
                </a:lnTo>
                <a:lnTo>
                  <a:pt x="3108696" y="3527728"/>
                </a:lnTo>
                <a:lnTo>
                  <a:pt x="3101933" y="3528021"/>
                </a:lnTo>
                <a:lnTo>
                  <a:pt x="3054394" y="3516066"/>
                </a:lnTo>
                <a:cubicBezTo>
                  <a:pt x="3031695" y="3510172"/>
                  <a:pt x="3010124" y="3505457"/>
                  <a:pt x="2990861" y="3505457"/>
                </a:cubicBezTo>
                <a:cubicBezTo>
                  <a:pt x="2990861" y="3505457"/>
                  <a:pt x="2990861" y="3505457"/>
                  <a:pt x="2990861" y="3543979"/>
                </a:cubicBezTo>
                <a:cubicBezTo>
                  <a:pt x="3010124" y="3543979"/>
                  <a:pt x="3038617" y="3534348"/>
                  <a:pt x="3067110" y="3529533"/>
                </a:cubicBezTo>
                <a:lnTo>
                  <a:pt x="3101933" y="3528021"/>
                </a:lnTo>
                <a:lnTo>
                  <a:pt x="3117871" y="3532029"/>
                </a:lnTo>
                <a:lnTo>
                  <a:pt x="3143358" y="3543979"/>
                </a:lnTo>
                <a:cubicBezTo>
                  <a:pt x="3067913" y="3580895"/>
                  <a:pt x="3181884" y="3543979"/>
                  <a:pt x="3220410" y="3543979"/>
                </a:cubicBezTo>
                <a:cubicBezTo>
                  <a:pt x="3257330" y="3621022"/>
                  <a:pt x="3143358" y="3543979"/>
                  <a:pt x="3143358" y="3580895"/>
                </a:cubicBezTo>
                <a:cubicBezTo>
                  <a:pt x="3029387" y="3580895"/>
                  <a:pt x="2915416" y="3543979"/>
                  <a:pt x="2876890" y="3505457"/>
                </a:cubicBezTo>
                <a:cubicBezTo>
                  <a:pt x="2876890" y="3505457"/>
                  <a:pt x="2876890" y="3505457"/>
                  <a:pt x="2876890" y="3543979"/>
                </a:cubicBezTo>
                <a:cubicBezTo>
                  <a:pt x="2839970" y="3543979"/>
                  <a:pt x="2839970" y="3505457"/>
                  <a:pt x="2839970" y="3505457"/>
                </a:cubicBezTo>
                <a:cubicBezTo>
                  <a:pt x="2839970" y="3505457"/>
                  <a:pt x="2876890" y="3505457"/>
                  <a:pt x="2876890" y="3468541"/>
                </a:cubicBezTo>
                <a:cubicBezTo>
                  <a:pt x="2876890" y="3468541"/>
                  <a:pt x="2799839" y="3468541"/>
                  <a:pt x="2799839" y="3505457"/>
                </a:cubicBezTo>
                <a:cubicBezTo>
                  <a:pt x="2762918" y="3505457"/>
                  <a:pt x="2762918" y="3468541"/>
                  <a:pt x="2724392" y="3468541"/>
                </a:cubicBezTo>
                <a:cubicBezTo>
                  <a:pt x="2687472" y="3505457"/>
                  <a:pt x="2647342" y="3505457"/>
                  <a:pt x="2571895" y="3543979"/>
                </a:cubicBezTo>
                <a:cubicBezTo>
                  <a:pt x="2534975" y="3468541"/>
                  <a:pt x="2647342" y="3505457"/>
                  <a:pt x="2647342" y="3468541"/>
                </a:cubicBezTo>
                <a:cubicBezTo>
                  <a:pt x="2610421" y="3468541"/>
                  <a:pt x="2494844" y="3468541"/>
                  <a:pt x="2494844" y="3468541"/>
                </a:cubicBezTo>
                <a:cubicBezTo>
                  <a:pt x="2342347" y="3391498"/>
                  <a:pt x="2152929" y="3543979"/>
                  <a:pt x="2037353" y="3468541"/>
                </a:cubicBezTo>
                <a:cubicBezTo>
                  <a:pt x="1961907" y="3543979"/>
                  <a:pt x="1884855" y="3505457"/>
                  <a:pt x="1809410" y="3543979"/>
                </a:cubicBezTo>
                <a:cubicBezTo>
                  <a:pt x="1732358" y="3543979"/>
                  <a:pt x="1847935" y="3505457"/>
                  <a:pt x="1847935" y="3505457"/>
                </a:cubicBezTo>
                <a:cubicBezTo>
                  <a:pt x="1847935" y="3468541"/>
                  <a:pt x="1656913" y="3543979"/>
                  <a:pt x="1695438" y="3468541"/>
                </a:cubicBezTo>
                <a:cubicBezTo>
                  <a:pt x="1619992" y="3505457"/>
                  <a:pt x="1504415" y="3543979"/>
                  <a:pt x="1427364" y="3505457"/>
                </a:cubicBezTo>
                <a:cubicBezTo>
                  <a:pt x="1467495" y="3468541"/>
                  <a:pt x="1619992" y="3468541"/>
                  <a:pt x="1579861" y="3428415"/>
                </a:cubicBezTo>
                <a:cubicBezTo>
                  <a:pt x="1579861" y="3428415"/>
                  <a:pt x="1504415" y="3468541"/>
                  <a:pt x="1504415" y="3428415"/>
                </a:cubicBezTo>
                <a:cubicBezTo>
                  <a:pt x="1542941" y="3468541"/>
                  <a:pt x="1427364" y="3468541"/>
                  <a:pt x="1427364" y="3428415"/>
                </a:cubicBezTo>
                <a:cubicBezTo>
                  <a:pt x="1390444" y="3428415"/>
                  <a:pt x="1390444" y="3428415"/>
                  <a:pt x="1351918" y="3428415"/>
                </a:cubicBezTo>
                <a:cubicBezTo>
                  <a:pt x="1371181" y="3428415"/>
                  <a:pt x="1371181" y="3409555"/>
                  <a:pt x="1375796" y="3390696"/>
                </a:cubicBezTo>
                <a:lnTo>
                  <a:pt x="1378574" y="3385307"/>
                </a:lnTo>
                <a:lnTo>
                  <a:pt x="1379157" y="3384902"/>
                </a:lnTo>
                <a:lnTo>
                  <a:pt x="1378980" y="3384519"/>
                </a:lnTo>
                <a:lnTo>
                  <a:pt x="1389164" y="3364764"/>
                </a:lnTo>
                <a:cubicBezTo>
                  <a:pt x="1396764" y="3357692"/>
                  <a:pt x="1408502" y="3352977"/>
                  <a:pt x="1427364" y="3352977"/>
                </a:cubicBezTo>
                <a:cubicBezTo>
                  <a:pt x="1427364" y="3391498"/>
                  <a:pt x="1427364" y="3391498"/>
                  <a:pt x="1467495" y="3428415"/>
                </a:cubicBezTo>
                <a:cubicBezTo>
                  <a:pt x="1542941" y="3391498"/>
                  <a:pt x="1542941" y="3391498"/>
                  <a:pt x="1619992" y="3428415"/>
                </a:cubicBezTo>
                <a:cubicBezTo>
                  <a:pt x="1656913" y="3428415"/>
                  <a:pt x="1579861" y="3428415"/>
                  <a:pt x="1579861" y="3468541"/>
                </a:cubicBezTo>
                <a:lnTo>
                  <a:pt x="1619992" y="3468541"/>
                </a:lnTo>
                <a:cubicBezTo>
                  <a:pt x="1732358" y="3468541"/>
                  <a:pt x="1656913" y="3391498"/>
                  <a:pt x="1772489" y="3391498"/>
                </a:cubicBezTo>
                <a:cubicBezTo>
                  <a:pt x="1809410" y="3352977"/>
                  <a:pt x="1656913" y="3352977"/>
                  <a:pt x="1656913" y="3391498"/>
                </a:cubicBezTo>
                <a:cubicBezTo>
                  <a:pt x="1619992" y="3428415"/>
                  <a:pt x="1656913" y="3352977"/>
                  <a:pt x="1656913" y="3352977"/>
                </a:cubicBezTo>
                <a:cubicBezTo>
                  <a:pt x="1619992" y="3352977"/>
                  <a:pt x="1579861" y="3352977"/>
                  <a:pt x="1619992" y="3391498"/>
                </a:cubicBezTo>
                <a:cubicBezTo>
                  <a:pt x="1542941" y="3316060"/>
                  <a:pt x="1427364" y="3391498"/>
                  <a:pt x="1390444" y="3316060"/>
                </a:cubicBezTo>
                <a:cubicBezTo>
                  <a:pt x="1352720" y="3334519"/>
                  <a:pt x="1361951" y="3353378"/>
                  <a:pt x="1371181" y="3367623"/>
                </a:cubicBezTo>
                <a:lnTo>
                  <a:pt x="1378980" y="3384519"/>
                </a:lnTo>
                <a:lnTo>
                  <a:pt x="1378574" y="3385307"/>
                </a:lnTo>
                <a:lnTo>
                  <a:pt x="1372140" y="3389771"/>
                </a:lnTo>
                <a:cubicBezTo>
                  <a:pt x="1367845" y="3390896"/>
                  <a:pt x="1361349" y="3391498"/>
                  <a:pt x="1351918" y="3391498"/>
                </a:cubicBezTo>
                <a:cubicBezTo>
                  <a:pt x="1314997" y="3391498"/>
                  <a:pt x="1314997" y="3352977"/>
                  <a:pt x="1314997" y="3352977"/>
                </a:cubicBezTo>
                <a:cubicBezTo>
                  <a:pt x="1199421" y="3352977"/>
                  <a:pt x="1122370" y="3352977"/>
                  <a:pt x="1085449" y="3391498"/>
                </a:cubicBezTo>
                <a:cubicBezTo>
                  <a:pt x="1046923" y="3391498"/>
                  <a:pt x="1122370" y="3352977"/>
                  <a:pt x="1122370" y="3352977"/>
                </a:cubicBezTo>
                <a:cubicBezTo>
                  <a:pt x="1085449" y="3316060"/>
                  <a:pt x="969873" y="3352977"/>
                  <a:pt x="969873" y="3352977"/>
                </a:cubicBezTo>
                <a:cubicBezTo>
                  <a:pt x="969873" y="3391498"/>
                  <a:pt x="894426" y="3391498"/>
                  <a:pt x="780455" y="3352977"/>
                </a:cubicBezTo>
                <a:lnTo>
                  <a:pt x="818981" y="3352977"/>
                </a:lnTo>
                <a:cubicBezTo>
                  <a:pt x="705009" y="3316060"/>
                  <a:pt x="552512" y="3275933"/>
                  <a:pt x="475460" y="3352977"/>
                </a:cubicBezTo>
                <a:cubicBezTo>
                  <a:pt x="436935" y="3352977"/>
                  <a:pt x="400015" y="3316060"/>
                  <a:pt x="400015" y="3275933"/>
                </a:cubicBezTo>
                <a:cubicBezTo>
                  <a:pt x="322963" y="3316060"/>
                  <a:pt x="284438" y="3316060"/>
                  <a:pt x="284438" y="3275933"/>
                </a:cubicBezTo>
                <a:cubicBezTo>
                  <a:pt x="247517" y="3275933"/>
                  <a:pt x="247517" y="3275933"/>
                  <a:pt x="247517" y="3275933"/>
                </a:cubicBezTo>
                <a:cubicBezTo>
                  <a:pt x="247517" y="3316060"/>
                  <a:pt x="361489" y="3316060"/>
                  <a:pt x="361489" y="3352977"/>
                </a:cubicBezTo>
                <a:cubicBezTo>
                  <a:pt x="265977" y="3334519"/>
                  <a:pt x="180097" y="3315257"/>
                  <a:pt x="89602" y="3305627"/>
                </a:cubicBezTo>
                <a:lnTo>
                  <a:pt x="0" y="3301865"/>
                </a:lnTo>
                <a:lnTo>
                  <a:pt x="0" y="3244393"/>
                </a:lnTo>
                <a:lnTo>
                  <a:pt x="12579" y="3247961"/>
                </a:lnTo>
                <a:cubicBezTo>
                  <a:pt x="92838" y="3258252"/>
                  <a:pt x="213808" y="3200495"/>
                  <a:pt x="247517" y="3200495"/>
                </a:cubicBezTo>
                <a:cubicBezTo>
                  <a:pt x="284438" y="3239017"/>
                  <a:pt x="247517" y="3200495"/>
                  <a:pt x="247517" y="3239017"/>
                </a:cubicBezTo>
                <a:cubicBezTo>
                  <a:pt x="322963" y="3239017"/>
                  <a:pt x="284438" y="3200495"/>
                  <a:pt x="322963" y="3200495"/>
                </a:cubicBezTo>
                <a:lnTo>
                  <a:pt x="284438" y="3200495"/>
                </a:lnTo>
                <a:cubicBezTo>
                  <a:pt x="284438" y="3200495"/>
                  <a:pt x="284438" y="3200495"/>
                  <a:pt x="247517" y="3200495"/>
                </a:cubicBezTo>
                <a:cubicBezTo>
                  <a:pt x="247517" y="3200495"/>
                  <a:pt x="208992" y="3200495"/>
                  <a:pt x="170466" y="3200495"/>
                </a:cubicBezTo>
                <a:cubicBezTo>
                  <a:pt x="247517" y="3123453"/>
                  <a:pt x="361489" y="3200495"/>
                  <a:pt x="475460" y="3239017"/>
                </a:cubicBezTo>
                <a:cubicBezTo>
                  <a:pt x="513986" y="3239017"/>
                  <a:pt x="475460" y="3163579"/>
                  <a:pt x="552512" y="3200495"/>
                </a:cubicBezTo>
                <a:cubicBezTo>
                  <a:pt x="552512" y="3200495"/>
                  <a:pt x="513986" y="3200495"/>
                  <a:pt x="513986" y="3239017"/>
                </a:cubicBezTo>
                <a:cubicBezTo>
                  <a:pt x="705009" y="3200495"/>
                  <a:pt x="932952" y="3123453"/>
                  <a:pt x="1085449" y="3163579"/>
                </a:cubicBezTo>
                <a:cubicBezTo>
                  <a:pt x="1085449" y="3123453"/>
                  <a:pt x="1010004" y="3123453"/>
                  <a:pt x="1010004" y="3086536"/>
                </a:cubicBezTo>
                <a:cubicBezTo>
                  <a:pt x="1046923" y="3086536"/>
                  <a:pt x="1122370" y="3086536"/>
                  <a:pt x="1122370" y="3163579"/>
                </a:cubicBezTo>
                <a:cubicBezTo>
                  <a:pt x="1237947" y="3123453"/>
                  <a:pt x="1390444" y="3239017"/>
                  <a:pt x="1542941" y="3123453"/>
                </a:cubicBezTo>
                <a:cubicBezTo>
                  <a:pt x="1542941" y="3163579"/>
                  <a:pt x="1579861" y="3163579"/>
                  <a:pt x="1619992" y="3163579"/>
                </a:cubicBezTo>
                <a:cubicBezTo>
                  <a:pt x="1695438" y="3163579"/>
                  <a:pt x="1656913" y="3123453"/>
                  <a:pt x="1695438" y="3163579"/>
                </a:cubicBezTo>
                <a:cubicBezTo>
                  <a:pt x="1732358" y="3163579"/>
                  <a:pt x="1656913" y="3123453"/>
                  <a:pt x="1695438" y="3123453"/>
                </a:cubicBezTo>
                <a:cubicBezTo>
                  <a:pt x="1732358" y="3086536"/>
                  <a:pt x="1732358" y="3163579"/>
                  <a:pt x="1772489" y="3163579"/>
                </a:cubicBezTo>
                <a:cubicBezTo>
                  <a:pt x="1809410" y="3123453"/>
                  <a:pt x="2114404" y="3200495"/>
                  <a:pt x="2152929" y="3123453"/>
                </a:cubicBezTo>
                <a:cubicBezTo>
                  <a:pt x="2152929" y="3123453"/>
                  <a:pt x="2152929" y="3123453"/>
                  <a:pt x="2152929" y="3163579"/>
                </a:cubicBezTo>
                <a:cubicBezTo>
                  <a:pt x="2229981" y="3123453"/>
                  <a:pt x="2305426" y="3163579"/>
                  <a:pt x="2382478" y="3163579"/>
                </a:cubicBezTo>
                <a:cubicBezTo>
                  <a:pt x="2457924" y="3163579"/>
                  <a:pt x="2342347" y="3123453"/>
                  <a:pt x="2419399" y="3123453"/>
                </a:cubicBezTo>
                <a:cubicBezTo>
                  <a:pt x="2494844" y="3163579"/>
                  <a:pt x="2724392" y="3200495"/>
                  <a:pt x="2762918" y="3086536"/>
                </a:cubicBezTo>
                <a:cubicBezTo>
                  <a:pt x="2799839" y="3086536"/>
                  <a:pt x="2762918" y="3086536"/>
                  <a:pt x="2762918" y="3123453"/>
                </a:cubicBezTo>
                <a:cubicBezTo>
                  <a:pt x="2799839" y="3163579"/>
                  <a:pt x="2799839" y="3163579"/>
                  <a:pt x="2799839" y="3163579"/>
                </a:cubicBezTo>
                <a:cubicBezTo>
                  <a:pt x="2876890" y="3163579"/>
                  <a:pt x="2839970" y="3123453"/>
                  <a:pt x="2839970" y="3086536"/>
                </a:cubicBezTo>
                <a:cubicBezTo>
                  <a:pt x="2952336" y="3086536"/>
                  <a:pt x="3029387" y="3086536"/>
                  <a:pt x="3067913" y="3009493"/>
                </a:cubicBezTo>
                <a:cubicBezTo>
                  <a:pt x="3067913" y="2970972"/>
                  <a:pt x="3029387" y="2970972"/>
                  <a:pt x="3029387" y="2970972"/>
                </a:cubicBezTo>
                <a:cubicBezTo>
                  <a:pt x="2990861" y="2934055"/>
                  <a:pt x="2990861" y="2858617"/>
                  <a:pt x="2915416" y="2895534"/>
                </a:cubicBezTo>
                <a:cubicBezTo>
                  <a:pt x="2952336" y="2895534"/>
                  <a:pt x="2952336" y="2934055"/>
                  <a:pt x="2915416" y="2934055"/>
                </a:cubicBezTo>
                <a:cubicBezTo>
                  <a:pt x="2990861" y="2934055"/>
                  <a:pt x="2990861" y="2970972"/>
                  <a:pt x="3029387" y="2970972"/>
                </a:cubicBezTo>
                <a:cubicBezTo>
                  <a:pt x="2990861" y="2970972"/>
                  <a:pt x="2990861" y="3009493"/>
                  <a:pt x="2990861" y="3009493"/>
                </a:cubicBezTo>
                <a:cubicBezTo>
                  <a:pt x="2990861" y="2970972"/>
                  <a:pt x="2952336" y="3009493"/>
                  <a:pt x="2915416" y="3009493"/>
                </a:cubicBezTo>
                <a:cubicBezTo>
                  <a:pt x="2876890" y="3009493"/>
                  <a:pt x="2876890" y="3048015"/>
                  <a:pt x="2952336" y="3048015"/>
                </a:cubicBezTo>
                <a:cubicBezTo>
                  <a:pt x="2915416" y="3048015"/>
                  <a:pt x="2876890" y="3086536"/>
                  <a:pt x="2799839" y="3086536"/>
                </a:cubicBezTo>
                <a:cubicBezTo>
                  <a:pt x="2839970" y="3048015"/>
                  <a:pt x="2915416" y="3048015"/>
                  <a:pt x="2839970" y="3009493"/>
                </a:cubicBezTo>
                <a:cubicBezTo>
                  <a:pt x="2915416" y="3009493"/>
                  <a:pt x="2952336" y="2970972"/>
                  <a:pt x="2990861" y="2970972"/>
                </a:cubicBezTo>
                <a:cubicBezTo>
                  <a:pt x="2990861" y="2934055"/>
                  <a:pt x="2915416" y="2970972"/>
                  <a:pt x="2876890" y="2970972"/>
                </a:cubicBezTo>
                <a:cubicBezTo>
                  <a:pt x="2952336" y="2934055"/>
                  <a:pt x="2839970" y="2934055"/>
                  <a:pt x="2839970" y="2895534"/>
                </a:cubicBezTo>
                <a:cubicBezTo>
                  <a:pt x="2799839" y="2934055"/>
                  <a:pt x="2839970" y="2934055"/>
                  <a:pt x="2762918" y="2895534"/>
                </a:cubicBezTo>
                <a:cubicBezTo>
                  <a:pt x="2762918" y="2934055"/>
                  <a:pt x="2839970" y="2934055"/>
                  <a:pt x="2876890" y="2970972"/>
                </a:cubicBezTo>
                <a:cubicBezTo>
                  <a:pt x="2876890" y="2970972"/>
                  <a:pt x="2799839" y="2970972"/>
                  <a:pt x="2762918" y="3009493"/>
                </a:cubicBezTo>
                <a:cubicBezTo>
                  <a:pt x="2799839" y="2970972"/>
                  <a:pt x="2724392" y="2970972"/>
                  <a:pt x="2724392" y="2970972"/>
                </a:cubicBezTo>
                <a:cubicBezTo>
                  <a:pt x="2724392" y="2970972"/>
                  <a:pt x="2762918" y="2970972"/>
                  <a:pt x="2762918" y="2934055"/>
                </a:cubicBezTo>
                <a:cubicBezTo>
                  <a:pt x="2724392" y="2895534"/>
                  <a:pt x="2610421" y="2934055"/>
                  <a:pt x="2534975" y="2934055"/>
                </a:cubicBezTo>
                <a:cubicBezTo>
                  <a:pt x="2571895" y="2895534"/>
                  <a:pt x="2571895" y="2895534"/>
                  <a:pt x="2571895" y="2895534"/>
                </a:cubicBezTo>
                <a:cubicBezTo>
                  <a:pt x="2494844" y="2934055"/>
                  <a:pt x="2419399" y="2895534"/>
                  <a:pt x="2457924" y="2934055"/>
                </a:cubicBezTo>
                <a:cubicBezTo>
                  <a:pt x="2419399" y="2934055"/>
                  <a:pt x="2382478" y="2895534"/>
                  <a:pt x="2342347" y="2895534"/>
                </a:cubicBezTo>
                <a:cubicBezTo>
                  <a:pt x="2305426" y="2895534"/>
                  <a:pt x="2342347" y="2934055"/>
                  <a:pt x="2342347" y="2934055"/>
                </a:cubicBezTo>
                <a:cubicBezTo>
                  <a:pt x="2266901" y="2934055"/>
                  <a:pt x="2229981" y="2895534"/>
                  <a:pt x="2189850" y="2858617"/>
                </a:cubicBezTo>
                <a:cubicBezTo>
                  <a:pt x="2152929" y="2895534"/>
                  <a:pt x="2037353" y="2970972"/>
                  <a:pt x="1961907" y="2895534"/>
                </a:cubicBezTo>
                <a:cubicBezTo>
                  <a:pt x="1924986" y="2895534"/>
                  <a:pt x="1884855" y="2934055"/>
                  <a:pt x="1884855" y="2934055"/>
                </a:cubicBezTo>
                <a:cubicBezTo>
                  <a:pt x="1847935" y="2934055"/>
                  <a:pt x="1809410" y="2934055"/>
                  <a:pt x="1695438" y="2934055"/>
                </a:cubicBezTo>
                <a:cubicBezTo>
                  <a:pt x="1656913" y="2895534"/>
                  <a:pt x="1732358" y="2895534"/>
                  <a:pt x="1809410" y="2895534"/>
                </a:cubicBezTo>
                <a:cubicBezTo>
                  <a:pt x="1772489" y="2858617"/>
                  <a:pt x="1732358" y="2895534"/>
                  <a:pt x="1656913" y="2895534"/>
                </a:cubicBezTo>
                <a:cubicBezTo>
                  <a:pt x="1656913" y="2858617"/>
                  <a:pt x="1619992" y="2895534"/>
                  <a:pt x="1656913" y="2895534"/>
                </a:cubicBezTo>
                <a:cubicBezTo>
                  <a:pt x="1619992" y="2934055"/>
                  <a:pt x="1542941" y="2895534"/>
                  <a:pt x="1542941" y="2858617"/>
                </a:cubicBezTo>
                <a:cubicBezTo>
                  <a:pt x="1467495" y="2858617"/>
                  <a:pt x="1390444" y="2858617"/>
                  <a:pt x="1314997" y="2895534"/>
                </a:cubicBezTo>
                <a:cubicBezTo>
                  <a:pt x="1314997" y="2934055"/>
                  <a:pt x="1390444" y="2858617"/>
                  <a:pt x="1390444" y="2895534"/>
                </a:cubicBezTo>
                <a:cubicBezTo>
                  <a:pt x="1314997" y="2934055"/>
                  <a:pt x="1274867" y="2895534"/>
                  <a:pt x="1162501" y="2895534"/>
                </a:cubicBezTo>
                <a:cubicBezTo>
                  <a:pt x="1162501" y="2895534"/>
                  <a:pt x="1199421" y="2934055"/>
                  <a:pt x="1162501" y="2934055"/>
                </a:cubicBezTo>
                <a:cubicBezTo>
                  <a:pt x="857506" y="2858617"/>
                  <a:pt x="552512" y="2970972"/>
                  <a:pt x="247517" y="2895534"/>
                </a:cubicBezTo>
                <a:cubicBezTo>
                  <a:pt x="190532" y="2933253"/>
                  <a:pt x="104652" y="2933253"/>
                  <a:pt x="13956" y="2928638"/>
                </a:cubicBezTo>
                <a:lnTo>
                  <a:pt x="0" y="2928001"/>
                </a:lnTo>
                <a:lnTo>
                  <a:pt x="0" y="2889285"/>
                </a:lnTo>
                <a:lnTo>
                  <a:pt x="26403" y="2880424"/>
                </a:lnTo>
                <a:cubicBezTo>
                  <a:pt x="37006" y="2875119"/>
                  <a:pt x="47064" y="2868047"/>
                  <a:pt x="56494" y="2858617"/>
                </a:cubicBezTo>
                <a:cubicBezTo>
                  <a:pt x="95020" y="2858617"/>
                  <a:pt x="56494" y="2895534"/>
                  <a:pt x="95020" y="2895534"/>
                </a:cubicBezTo>
                <a:cubicBezTo>
                  <a:pt x="95020" y="2858617"/>
                  <a:pt x="284438" y="2858617"/>
                  <a:pt x="322963" y="2818491"/>
                </a:cubicBezTo>
                <a:cubicBezTo>
                  <a:pt x="361489" y="2858617"/>
                  <a:pt x="284438" y="2895534"/>
                  <a:pt x="322963" y="2895534"/>
                </a:cubicBezTo>
                <a:cubicBezTo>
                  <a:pt x="361489" y="2895534"/>
                  <a:pt x="400015" y="2858617"/>
                  <a:pt x="436935" y="2895534"/>
                </a:cubicBezTo>
                <a:cubicBezTo>
                  <a:pt x="400015" y="2858617"/>
                  <a:pt x="475460" y="2858617"/>
                  <a:pt x="475460" y="2818491"/>
                </a:cubicBezTo>
                <a:cubicBezTo>
                  <a:pt x="513986" y="2818491"/>
                  <a:pt x="513986" y="2858617"/>
                  <a:pt x="513986" y="2858617"/>
                </a:cubicBezTo>
                <a:cubicBezTo>
                  <a:pt x="589432" y="2818491"/>
                  <a:pt x="627957" y="2895534"/>
                  <a:pt x="705009" y="2895534"/>
                </a:cubicBezTo>
                <a:cubicBezTo>
                  <a:pt x="741929" y="2895534"/>
                  <a:pt x="666483" y="2858617"/>
                  <a:pt x="666483" y="2858617"/>
                </a:cubicBezTo>
                <a:cubicBezTo>
                  <a:pt x="666483" y="2818491"/>
                  <a:pt x="741929" y="2858617"/>
                  <a:pt x="741929" y="2818491"/>
                </a:cubicBezTo>
                <a:cubicBezTo>
                  <a:pt x="894426" y="2858617"/>
                  <a:pt x="969873" y="2895534"/>
                  <a:pt x="1122370" y="2818491"/>
                </a:cubicBezTo>
                <a:cubicBezTo>
                  <a:pt x="1122370" y="2818491"/>
                  <a:pt x="1122370" y="2818491"/>
                  <a:pt x="1122370" y="2858617"/>
                </a:cubicBezTo>
                <a:cubicBezTo>
                  <a:pt x="1162501" y="2818491"/>
                  <a:pt x="1162501" y="2858617"/>
                  <a:pt x="1237947" y="2858617"/>
                </a:cubicBezTo>
                <a:cubicBezTo>
                  <a:pt x="1274867" y="2858617"/>
                  <a:pt x="1162501" y="2818491"/>
                  <a:pt x="1162501" y="2781574"/>
                </a:cubicBezTo>
                <a:cubicBezTo>
                  <a:pt x="1199421" y="2781574"/>
                  <a:pt x="1237947" y="2781574"/>
                  <a:pt x="1199421" y="2743053"/>
                </a:cubicBezTo>
                <a:cubicBezTo>
                  <a:pt x="1237947" y="2706136"/>
                  <a:pt x="1314997" y="2781574"/>
                  <a:pt x="1314997" y="2743053"/>
                </a:cubicBezTo>
                <a:cubicBezTo>
                  <a:pt x="1390444" y="2743053"/>
                  <a:pt x="1314997" y="2781574"/>
                  <a:pt x="1314997" y="2818491"/>
                </a:cubicBezTo>
                <a:cubicBezTo>
                  <a:pt x="1390444" y="2818491"/>
                  <a:pt x="1427364" y="2781574"/>
                  <a:pt x="1467495" y="2743053"/>
                </a:cubicBezTo>
                <a:cubicBezTo>
                  <a:pt x="1390444" y="2858617"/>
                  <a:pt x="1695438" y="2858617"/>
                  <a:pt x="1732358" y="2781574"/>
                </a:cubicBezTo>
                <a:cubicBezTo>
                  <a:pt x="1809410" y="2781574"/>
                  <a:pt x="1695438" y="2818491"/>
                  <a:pt x="1809410" y="2818491"/>
                </a:cubicBezTo>
                <a:cubicBezTo>
                  <a:pt x="1809410" y="2818491"/>
                  <a:pt x="1772489" y="2818491"/>
                  <a:pt x="1732358" y="2818491"/>
                </a:cubicBezTo>
                <a:cubicBezTo>
                  <a:pt x="1809410" y="2858617"/>
                  <a:pt x="1847935" y="2781574"/>
                  <a:pt x="1884855" y="2818491"/>
                </a:cubicBezTo>
                <a:cubicBezTo>
                  <a:pt x="1924986" y="2818491"/>
                  <a:pt x="1884855" y="2818491"/>
                  <a:pt x="1884855" y="2781574"/>
                </a:cubicBezTo>
                <a:cubicBezTo>
                  <a:pt x="2000433" y="2818491"/>
                  <a:pt x="2037353" y="2743053"/>
                  <a:pt x="2114404" y="2781574"/>
                </a:cubicBezTo>
                <a:cubicBezTo>
                  <a:pt x="2114404" y="2743053"/>
                  <a:pt x="2189850" y="2781574"/>
                  <a:pt x="2229981" y="2743053"/>
                </a:cubicBezTo>
                <a:cubicBezTo>
                  <a:pt x="2266901" y="2781574"/>
                  <a:pt x="2342347" y="2743053"/>
                  <a:pt x="2342347" y="2706136"/>
                </a:cubicBezTo>
                <a:cubicBezTo>
                  <a:pt x="2419399" y="2706136"/>
                  <a:pt x="2342347" y="2743053"/>
                  <a:pt x="2419399" y="2743053"/>
                </a:cubicBezTo>
                <a:cubicBezTo>
                  <a:pt x="2494844" y="2743053"/>
                  <a:pt x="2457924" y="2706136"/>
                  <a:pt x="2534975" y="2743053"/>
                </a:cubicBezTo>
                <a:cubicBezTo>
                  <a:pt x="2610421" y="2706136"/>
                  <a:pt x="2494844" y="2706136"/>
                  <a:pt x="2494844" y="2667615"/>
                </a:cubicBezTo>
                <a:cubicBezTo>
                  <a:pt x="2534975" y="2667615"/>
                  <a:pt x="2534975" y="2667615"/>
                  <a:pt x="2610421" y="2667615"/>
                </a:cubicBezTo>
                <a:cubicBezTo>
                  <a:pt x="2610421" y="2629093"/>
                  <a:pt x="2687472" y="2667615"/>
                  <a:pt x="2687472" y="2629093"/>
                </a:cubicBezTo>
                <a:cubicBezTo>
                  <a:pt x="2687472" y="2590572"/>
                  <a:pt x="2687472" y="2629093"/>
                  <a:pt x="2610421" y="2629093"/>
                </a:cubicBezTo>
                <a:cubicBezTo>
                  <a:pt x="2647342" y="2553655"/>
                  <a:pt x="2647342" y="2590572"/>
                  <a:pt x="2610421" y="2553655"/>
                </a:cubicBezTo>
                <a:cubicBezTo>
                  <a:pt x="2724392" y="2590572"/>
                  <a:pt x="2762918" y="2553655"/>
                  <a:pt x="2839970" y="2629093"/>
                </a:cubicBezTo>
                <a:cubicBezTo>
                  <a:pt x="2915416" y="2553655"/>
                  <a:pt x="3029387" y="2553655"/>
                  <a:pt x="3104833" y="2515134"/>
                </a:cubicBezTo>
                <a:cubicBezTo>
                  <a:pt x="3067913" y="2590572"/>
                  <a:pt x="2876890" y="2553655"/>
                  <a:pt x="2915416" y="2629093"/>
                </a:cubicBezTo>
                <a:cubicBezTo>
                  <a:pt x="2990861" y="2667615"/>
                  <a:pt x="3067913" y="2667615"/>
                  <a:pt x="3067913" y="2706136"/>
                </a:cubicBezTo>
                <a:cubicBezTo>
                  <a:pt x="2990861" y="2706136"/>
                  <a:pt x="2952336" y="2667615"/>
                  <a:pt x="2799839" y="2667615"/>
                </a:cubicBezTo>
                <a:cubicBezTo>
                  <a:pt x="2839970" y="2706136"/>
                  <a:pt x="2915416" y="2667615"/>
                  <a:pt x="2952336" y="2706136"/>
                </a:cubicBezTo>
                <a:cubicBezTo>
                  <a:pt x="2876890" y="2743053"/>
                  <a:pt x="2687472" y="2667615"/>
                  <a:pt x="2571895" y="2706136"/>
                </a:cubicBezTo>
                <a:cubicBezTo>
                  <a:pt x="2610421" y="2743053"/>
                  <a:pt x="2687472" y="2781574"/>
                  <a:pt x="2610421" y="2818491"/>
                </a:cubicBezTo>
                <a:cubicBezTo>
                  <a:pt x="2687472" y="2858617"/>
                  <a:pt x="2762918" y="2818491"/>
                  <a:pt x="2876890" y="2818491"/>
                </a:cubicBezTo>
                <a:cubicBezTo>
                  <a:pt x="2876890" y="2781574"/>
                  <a:pt x="2876890" y="2781574"/>
                  <a:pt x="2876890" y="2781574"/>
                </a:cubicBezTo>
                <a:cubicBezTo>
                  <a:pt x="2915416" y="2781574"/>
                  <a:pt x="2915416" y="2781574"/>
                  <a:pt x="2915416" y="2743053"/>
                </a:cubicBezTo>
                <a:cubicBezTo>
                  <a:pt x="2952336" y="2743053"/>
                  <a:pt x="2990861" y="2781574"/>
                  <a:pt x="3029387" y="2781574"/>
                </a:cubicBezTo>
                <a:cubicBezTo>
                  <a:pt x="3067913" y="2781574"/>
                  <a:pt x="3029387" y="2743053"/>
                  <a:pt x="2990861" y="2743053"/>
                </a:cubicBezTo>
                <a:cubicBezTo>
                  <a:pt x="3104833" y="2743053"/>
                  <a:pt x="3257330" y="2781574"/>
                  <a:pt x="3448353" y="2743053"/>
                </a:cubicBezTo>
                <a:cubicBezTo>
                  <a:pt x="3448353" y="2743053"/>
                  <a:pt x="3448353" y="2743053"/>
                  <a:pt x="3486879" y="2743053"/>
                </a:cubicBezTo>
                <a:cubicBezTo>
                  <a:pt x="3486879" y="2743053"/>
                  <a:pt x="3486879" y="2743053"/>
                  <a:pt x="3486879" y="2781574"/>
                </a:cubicBezTo>
                <a:cubicBezTo>
                  <a:pt x="3486879" y="2781574"/>
                  <a:pt x="3525405" y="2818491"/>
                  <a:pt x="3486879" y="2818491"/>
                </a:cubicBezTo>
                <a:cubicBezTo>
                  <a:pt x="3448353" y="2781574"/>
                  <a:pt x="3448353" y="2781574"/>
                  <a:pt x="3372907" y="2781574"/>
                </a:cubicBezTo>
                <a:cubicBezTo>
                  <a:pt x="3409827" y="2781574"/>
                  <a:pt x="3334382" y="2743053"/>
                  <a:pt x="3334382" y="2781574"/>
                </a:cubicBezTo>
                <a:cubicBezTo>
                  <a:pt x="3372907" y="2781574"/>
                  <a:pt x="3409827" y="2818491"/>
                  <a:pt x="3448353" y="2818491"/>
                </a:cubicBezTo>
                <a:cubicBezTo>
                  <a:pt x="3448353" y="2818491"/>
                  <a:pt x="3486879" y="2818491"/>
                  <a:pt x="3486879" y="2858617"/>
                </a:cubicBezTo>
                <a:cubicBezTo>
                  <a:pt x="3448353" y="2858617"/>
                  <a:pt x="3448353" y="2858617"/>
                  <a:pt x="3448353" y="2858617"/>
                </a:cubicBezTo>
                <a:cubicBezTo>
                  <a:pt x="3409827" y="2858617"/>
                  <a:pt x="3372907" y="2818491"/>
                  <a:pt x="3372907" y="2818491"/>
                </a:cubicBezTo>
                <a:cubicBezTo>
                  <a:pt x="3372907" y="2858617"/>
                  <a:pt x="3181884" y="2934055"/>
                  <a:pt x="3067913" y="2895534"/>
                </a:cubicBezTo>
                <a:cubicBezTo>
                  <a:pt x="3104833" y="2934055"/>
                  <a:pt x="3143358" y="2970972"/>
                  <a:pt x="3181884" y="2970972"/>
                </a:cubicBezTo>
                <a:cubicBezTo>
                  <a:pt x="3295856" y="2858617"/>
                  <a:pt x="3448353" y="2970972"/>
                  <a:pt x="3486879" y="3009493"/>
                </a:cubicBezTo>
                <a:cubicBezTo>
                  <a:pt x="3409827" y="3048015"/>
                  <a:pt x="3372907" y="2934055"/>
                  <a:pt x="3295856" y="2970972"/>
                </a:cubicBezTo>
                <a:cubicBezTo>
                  <a:pt x="3372907" y="2970972"/>
                  <a:pt x="3372907" y="2970972"/>
                  <a:pt x="3372907" y="3009493"/>
                </a:cubicBezTo>
                <a:cubicBezTo>
                  <a:pt x="3257330" y="2970972"/>
                  <a:pt x="3295856" y="3048015"/>
                  <a:pt x="3181884" y="3048015"/>
                </a:cubicBezTo>
                <a:cubicBezTo>
                  <a:pt x="3181884" y="3009493"/>
                  <a:pt x="3143358" y="3009493"/>
                  <a:pt x="3143358" y="2970972"/>
                </a:cubicBezTo>
                <a:cubicBezTo>
                  <a:pt x="3104833" y="3048015"/>
                  <a:pt x="3067913" y="3086536"/>
                  <a:pt x="2990861" y="3086536"/>
                </a:cubicBezTo>
                <a:cubicBezTo>
                  <a:pt x="3029387" y="3123453"/>
                  <a:pt x="2990861" y="3123453"/>
                  <a:pt x="3029387" y="3123453"/>
                </a:cubicBezTo>
                <a:cubicBezTo>
                  <a:pt x="2990861" y="3123453"/>
                  <a:pt x="2952336" y="3123453"/>
                  <a:pt x="2952336" y="3123453"/>
                </a:cubicBezTo>
                <a:cubicBezTo>
                  <a:pt x="2990861" y="3163579"/>
                  <a:pt x="2952336" y="3163579"/>
                  <a:pt x="2952336" y="3163579"/>
                </a:cubicBezTo>
                <a:cubicBezTo>
                  <a:pt x="2990861" y="3163579"/>
                  <a:pt x="2990861" y="3163579"/>
                  <a:pt x="3067913" y="3163579"/>
                </a:cubicBezTo>
                <a:cubicBezTo>
                  <a:pt x="3104833" y="3163579"/>
                  <a:pt x="3104833" y="3163579"/>
                  <a:pt x="3181884" y="3163579"/>
                </a:cubicBezTo>
                <a:cubicBezTo>
                  <a:pt x="3295856" y="3200495"/>
                  <a:pt x="3372907" y="3123453"/>
                  <a:pt x="3448353" y="3123453"/>
                </a:cubicBezTo>
                <a:lnTo>
                  <a:pt x="3486879" y="3123453"/>
                </a:lnTo>
                <a:cubicBezTo>
                  <a:pt x="3505740" y="3123453"/>
                  <a:pt x="3517579" y="3123453"/>
                  <a:pt x="3524727" y="3123453"/>
                </a:cubicBezTo>
                <a:lnTo>
                  <a:pt x="3525405" y="3123453"/>
                </a:lnTo>
                <a:cubicBezTo>
                  <a:pt x="3525405" y="3123453"/>
                  <a:pt x="3525405" y="3123453"/>
                  <a:pt x="3530020" y="3123453"/>
                </a:cubicBezTo>
                <a:lnTo>
                  <a:pt x="3534434" y="3123453"/>
                </a:lnTo>
                <a:lnTo>
                  <a:pt x="3562324" y="3123453"/>
                </a:lnTo>
                <a:cubicBezTo>
                  <a:pt x="3562324" y="3123453"/>
                  <a:pt x="3562324" y="3086536"/>
                  <a:pt x="3600851" y="3123453"/>
                </a:cubicBezTo>
                <a:cubicBezTo>
                  <a:pt x="3600851" y="3123453"/>
                  <a:pt x="3562324" y="3123453"/>
                  <a:pt x="3562324" y="3163579"/>
                </a:cubicBezTo>
                <a:cubicBezTo>
                  <a:pt x="3639376" y="3123453"/>
                  <a:pt x="3639376" y="3200495"/>
                  <a:pt x="3676296" y="3163579"/>
                </a:cubicBezTo>
                <a:cubicBezTo>
                  <a:pt x="3676296" y="3163579"/>
                  <a:pt x="3562324" y="3123453"/>
                  <a:pt x="3639376" y="3123453"/>
                </a:cubicBezTo>
                <a:cubicBezTo>
                  <a:pt x="3714822" y="3163579"/>
                  <a:pt x="3753348" y="3163579"/>
                  <a:pt x="3828793" y="3163579"/>
                </a:cubicBezTo>
                <a:cubicBezTo>
                  <a:pt x="3867319" y="3163579"/>
                  <a:pt x="3828793" y="3123453"/>
                  <a:pt x="3867319" y="3123453"/>
                </a:cubicBezTo>
                <a:cubicBezTo>
                  <a:pt x="3867319" y="3163579"/>
                  <a:pt x="3944371" y="3123453"/>
                  <a:pt x="3981290" y="3123453"/>
                </a:cubicBezTo>
                <a:cubicBezTo>
                  <a:pt x="3944371" y="3123453"/>
                  <a:pt x="3905845" y="3086536"/>
                  <a:pt x="3905845" y="3086536"/>
                </a:cubicBezTo>
                <a:cubicBezTo>
                  <a:pt x="4019817" y="3048015"/>
                  <a:pt x="4058342" y="3048015"/>
                  <a:pt x="4096868" y="3086536"/>
                </a:cubicBezTo>
                <a:cubicBezTo>
                  <a:pt x="4133788" y="3086536"/>
                  <a:pt x="4058342" y="3048015"/>
                  <a:pt x="4096868" y="3048015"/>
                </a:cubicBezTo>
                <a:cubicBezTo>
                  <a:pt x="4172314" y="3048015"/>
                  <a:pt x="4133788" y="3048015"/>
                  <a:pt x="4210839" y="3048015"/>
                </a:cubicBezTo>
                <a:cubicBezTo>
                  <a:pt x="4206023" y="3057445"/>
                  <a:pt x="4203590" y="3064517"/>
                  <a:pt x="4203170" y="3069749"/>
                </a:cubicBezTo>
                <a:lnTo>
                  <a:pt x="4205165" y="3074587"/>
                </a:lnTo>
                <a:lnTo>
                  <a:pt x="4195188" y="3070862"/>
                </a:lnTo>
                <a:cubicBezTo>
                  <a:pt x="4189168" y="3072091"/>
                  <a:pt x="4181945" y="3076906"/>
                  <a:pt x="4172314" y="3086536"/>
                </a:cubicBezTo>
                <a:cubicBezTo>
                  <a:pt x="4172314" y="3086536"/>
                  <a:pt x="4210839" y="3086536"/>
                  <a:pt x="4172314" y="3123453"/>
                </a:cubicBezTo>
                <a:cubicBezTo>
                  <a:pt x="4172314" y="3123453"/>
                  <a:pt x="4210839" y="3123453"/>
                  <a:pt x="4249365" y="3123453"/>
                </a:cubicBezTo>
                <a:cubicBezTo>
                  <a:pt x="4239733" y="3114224"/>
                  <a:pt x="4232510" y="3104894"/>
                  <a:pt x="4226490" y="3096693"/>
                </a:cubicBezTo>
                <a:lnTo>
                  <a:pt x="4214868" y="3081850"/>
                </a:lnTo>
                <a:lnTo>
                  <a:pt x="4221844" y="3083198"/>
                </a:lnTo>
                <a:cubicBezTo>
                  <a:pt x="4246449" y="3082960"/>
                  <a:pt x="4291420" y="3069831"/>
                  <a:pt x="4333081" y="3076915"/>
                </a:cubicBezTo>
                <a:lnTo>
                  <a:pt x="4347878" y="3081620"/>
                </a:lnTo>
                <a:lnTo>
                  <a:pt x="4339257" y="3086335"/>
                </a:lnTo>
                <a:lnTo>
                  <a:pt x="4337905" y="3086913"/>
                </a:lnTo>
                <a:lnTo>
                  <a:pt x="4324434" y="3087113"/>
                </a:lnTo>
                <a:cubicBezTo>
                  <a:pt x="4279663" y="3088843"/>
                  <a:pt x="4229700" y="3095765"/>
                  <a:pt x="4286285" y="3123453"/>
                </a:cubicBezTo>
                <a:cubicBezTo>
                  <a:pt x="4286285" y="3114224"/>
                  <a:pt x="4293508" y="3107302"/>
                  <a:pt x="4303741" y="3101509"/>
                </a:cubicBezTo>
                <a:lnTo>
                  <a:pt x="4337905" y="3086913"/>
                </a:lnTo>
                <a:lnTo>
                  <a:pt x="4363336" y="3086536"/>
                </a:lnTo>
                <a:lnTo>
                  <a:pt x="4347878" y="3081620"/>
                </a:lnTo>
                <a:lnTo>
                  <a:pt x="4367550" y="3070862"/>
                </a:lnTo>
                <a:cubicBezTo>
                  <a:pt x="4372967" y="3064868"/>
                  <a:pt x="4372967" y="3057645"/>
                  <a:pt x="4363336" y="3048015"/>
                </a:cubicBezTo>
                <a:cubicBezTo>
                  <a:pt x="4249365" y="2970972"/>
                  <a:pt x="4096868" y="3009493"/>
                  <a:pt x="3905845" y="3009493"/>
                </a:cubicBezTo>
                <a:cubicBezTo>
                  <a:pt x="3828793" y="2970972"/>
                  <a:pt x="3676296" y="2970972"/>
                  <a:pt x="3562324" y="3009493"/>
                </a:cubicBezTo>
                <a:cubicBezTo>
                  <a:pt x="3562324" y="2970972"/>
                  <a:pt x="3525405" y="2970972"/>
                  <a:pt x="3525405" y="2934055"/>
                </a:cubicBezTo>
                <a:cubicBezTo>
                  <a:pt x="3562324" y="2934055"/>
                  <a:pt x="3639376" y="2934055"/>
                  <a:pt x="3639376" y="2895534"/>
                </a:cubicBezTo>
                <a:cubicBezTo>
                  <a:pt x="3639376" y="2934055"/>
                  <a:pt x="3676296" y="2895534"/>
                  <a:pt x="3714822" y="2895534"/>
                </a:cubicBezTo>
                <a:cubicBezTo>
                  <a:pt x="3753348" y="2934055"/>
                  <a:pt x="3828793" y="2895534"/>
                  <a:pt x="3905845" y="2858617"/>
                </a:cubicBezTo>
                <a:cubicBezTo>
                  <a:pt x="3867319" y="2858617"/>
                  <a:pt x="3828793" y="2858617"/>
                  <a:pt x="3791873" y="2858617"/>
                </a:cubicBezTo>
                <a:cubicBezTo>
                  <a:pt x="3753348" y="2858617"/>
                  <a:pt x="3828793" y="2858617"/>
                  <a:pt x="3791873" y="2895534"/>
                </a:cubicBezTo>
                <a:cubicBezTo>
                  <a:pt x="3714822" y="2858617"/>
                  <a:pt x="3639376" y="2858617"/>
                  <a:pt x="3600851" y="2858617"/>
                </a:cubicBezTo>
                <a:cubicBezTo>
                  <a:pt x="3639376" y="2818491"/>
                  <a:pt x="3639376" y="2818491"/>
                  <a:pt x="3639376" y="2781574"/>
                </a:cubicBezTo>
                <a:lnTo>
                  <a:pt x="3600851" y="2781574"/>
                </a:lnTo>
                <a:cubicBezTo>
                  <a:pt x="3600851" y="2781574"/>
                  <a:pt x="3600851" y="2781574"/>
                  <a:pt x="3562324" y="2781574"/>
                </a:cubicBezTo>
                <a:cubicBezTo>
                  <a:pt x="3562324" y="2781574"/>
                  <a:pt x="3562324" y="2781574"/>
                  <a:pt x="3562324" y="2743053"/>
                </a:cubicBezTo>
                <a:cubicBezTo>
                  <a:pt x="3562324" y="2743053"/>
                  <a:pt x="3562324" y="2743053"/>
                  <a:pt x="3486879" y="2743053"/>
                </a:cubicBezTo>
                <a:cubicBezTo>
                  <a:pt x="3448353" y="2706136"/>
                  <a:pt x="3409827" y="2706136"/>
                  <a:pt x="3372907" y="2706136"/>
                </a:cubicBezTo>
                <a:cubicBezTo>
                  <a:pt x="3486879" y="2706136"/>
                  <a:pt x="3409827" y="2667615"/>
                  <a:pt x="3334382" y="2667615"/>
                </a:cubicBezTo>
                <a:cubicBezTo>
                  <a:pt x="3334382" y="2667615"/>
                  <a:pt x="3372907" y="2706136"/>
                  <a:pt x="3295856" y="2743053"/>
                </a:cubicBezTo>
                <a:cubicBezTo>
                  <a:pt x="3257330" y="2706136"/>
                  <a:pt x="3295856" y="2667615"/>
                  <a:pt x="3257330" y="2667615"/>
                </a:cubicBezTo>
                <a:cubicBezTo>
                  <a:pt x="3220410" y="2667615"/>
                  <a:pt x="3220410" y="2706136"/>
                  <a:pt x="3220410" y="2706136"/>
                </a:cubicBezTo>
                <a:cubicBezTo>
                  <a:pt x="3104833" y="2667615"/>
                  <a:pt x="3181884" y="2590572"/>
                  <a:pt x="3067913" y="2629093"/>
                </a:cubicBezTo>
                <a:cubicBezTo>
                  <a:pt x="3029387" y="2590572"/>
                  <a:pt x="3104833" y="2590572"/>
                  <a:pt x="3143358" y="2590572"/>
                </a:cubicBezTo>
                <a:cubicBezTo>
                  <a:pt x="3181884" y="2590572"/>
                  <a:pt x="3181884" y="2629093"/>
                  <a:pt x="3181884" y="2629093"/>
                </a:cubicBezTo>
                <a:cubicBezTo>
                  <a:pt x="3372907" y="2667615"/>
                  <a:pt x="3295856" y="2515134"/>
                  <a:pt x="3143358" y="2553655"/>
                </a:cubicBezTo>
                <a:cubicBezTo>
                  <a:pt x="3143358" y="2553655"/>
                  <a:pt x="3295856" y="2515134"/>
                  <a:pt x="3295856" y="2553655"/>
                </a:cubicBezTo>
                <a:cubicBezTo>
                  <a:pt x="3295856" y="2629093"/>
                  <a:pt x="3372907" y="2667615"/>
                  <a:pt x="3486879" y="2629093"/>
                </a:cubicBezTo>
                <a:cubicBezTo>
                  <a:pt x="3372907" y="2629093"/>
                  <a:pt x="3409827" y="2590572"/>
                  <a:pt x="3295856" y="2553655"/>
                </a:cubicBezTo>
                <a:cubicBezTo>
                  <a:pt x="3334382" y="2553655"/>
                  <a:pt x="3257330" y="2515134"/>
                  <a:pt x="3295856" y="2515134"/>
                </a:cubicBezTo>
                <a:cubicBezTo>
                  <a:pt x="3143358" y="2515134"/>
                  <a:pt x="3104833" y="2476612"/>
                  <a:pt x="2990861" y="2476612"/>
                </a:cubicBezTo>
                <a:cubicBezTo>
                  <a:pt x="2990861" y="2515134"/>
                  <a:pt x="2876890" y="2553655"/>
                  <a:pt x="2915416" y="2553655"/>
                </a:cubicBezTo>
                <a:cubicBezTo>
                  <a:pt x="2839970" y="2553655"/>
                  <a:pt x="2724392" y="2515134"/>
                  <a:pt x="2610421" y="2515134"/>
                </a:cubicBezTo>
                <a:cubicBezTo>
                  <a:pt x="2687472" y="2515134"/>
                  <a:pt x="2687472" y="2515134"/>
                  <a:pt x="2647342" y="2476612"/>
                </a:cubicBezTo>
                <a:cubicBezTo>
                  <a:pt x="2687472" y="2438091"/>
                  <a:pt x="2724392" y="2476612"/>
                  <a:pt x="2687472" y="2476612"/>
                </a:cubicBezTo>
                <a:cubicBezTo>
                  <a:pt x="2762918" y="2476612"/>
                  <a:pt x="2799839" y="2476612"/>
                  <a:pt x="2762918" y="2515134"/>
                </a:cubicBezTo>
                <a:cubicBezTo>
                  <a:pt x="2839970" y="2515134"/>
                  <a:pt x="2799839" y="2476612"/>
                  <a:pt x="2839970" y="2476612"/>
                </a:cubicBezTo>
                <a:cubicBezTo>
                  <a:pt x="2839970" y="2438091"/>
                  <a:pt x="2724392" y="2476612"/>
                  <a:pt x="2724392" y="2476612"/>
                </a:cubicBezTo>
                <a:cubicBezTo>
                  <a:pt x="2687472" y="2399569"/>
                  <a:pt x="2799839" y="2438091"/>
                  <a:pt x="2799839" y="2438091"/>
                </a:cubicBezTo>
                <a:cubicBezTo>
                  <a:pt x="2799839" y="2399569"/>
                  <a:pt x="2762918" y="2399569"/>
                  <a:pt x="2762918" y="2399569"/>
                </a:cubicBezTo>
                <a:cubicBezTo>
                  <a:pt x="2762918" y="2438091"/>
                  <a:pt x="2647342" y="2438091"/>
                  <a:pt x="2571895" y="2438091"/>
                </a:cubicBezTo>
                <a:cubicBezTo>
                  <a:pt x="2647342" y="2438091"/>
                  <a:pt x="2610421" y="2438091"/>
                  <a:pt x="2534975" y="2476612"/>
                </a:cubicBezTo>
                <a:cubicBezTo>
                  <a:pt x="2571895" y="2399569"/>
                  <a:pt x="2305426" y="2438091"/>
                  <a:pt x="2266901" y="2476612"/>
                </a:cubicBezTo>
                <a:cubicBezTo>
                  <a:pt x="2189850" y="2515134"/>
                  <a:pt x="2189850" y="2476612"/>
                  <a:pt x="2152929" y="2476612"/>
                </a:cubicBezTo>
                <a:cubicBezTo>
                  <a:pt x="2152929" y="2438091"/>
                  <a:pt x="2189850" y="2476612"/>
                  <a:pt x="2189850" y="2438091"/>
                </a:cubicBezTo>
                <a:cubicBezTo>
                  <a:pt x="2266901" y="2438091"/>
                  <a:pt x="2266901" y="2399569"/>
                  <a:pt x="2305426" y="2399569"/>
                </a:cubicBezTo>
                <a:cubicBezTo>
                  <a:pt x="2342347" y="2438091"/>
                  <a:pt x="2457924" y="2399569"/>
                  <a:pt x="2534975" y="2399569"/>
                </a:cubicBezTo>
                <a:cubicBezTo>
                  <a:pt x="2534975" y="2399569"/>
                  <a:pt x="2571895" y="2362653"/>
                  <a:pt x="2494844" y="2324131"/>
                </a:cubicBezTo>
                <a:cubicBezTo>
                  <a:pt x="2571895" y="2324131"/>
                  <a:pt x="2610421" y="2362653"/>
                  <a:pt x="2571895" y="2399569"/>
                </a:cubicBezTo>
                <a:cubicBezTo>
                  <a:pt x="2610421" y="2399569"/>
                  <a:pt x="2647342" y="2362653"/>
                  <a:pt x="2687472" y="2362653"/>
                </a:cubicBezTo>
                <a:cubicBezTo>
                  <a:pt x="2647342" y="2362653"/>
                  <a:pt x="2687472" y="2324131"/>
                  <a:pt x="2647342" y="2324131"/>
                </a:cubicBezTo>
                <a:cubicBezTo>
                  <a:pt x="2687472" y="2285609"/>
                  <a:pt x="2647342" y="2362653"/>
                  <a:pt x="2724392" y="2362653"/>
                </a:cubicBezTo>
                <a:cubicBezTo>
                  <a:pt x="2799839" y="2324131"/>
                  <a:pt x="2724392" y="2285609"/>
                  <a:pt x="2839970" y="2285609"/>
                </a:cubicBezTo>
                <a:cubicBezTo>
                  <a:pt x="2799839" y="2248693"/>
                  <a:pt x="2724392" y="2248693"/>
                  <a:pt x="2724392" y="2285609"/>
                </a:cubicBezTo>
                <a:cubicBezTo>
                  <a:pt x="2687472" y="2285609"/>
                  <a:pt x="2687472" y="2285609"/>
                  <a:pt x="2724392" y="2248693"/>
                </a:cubicBezTo>
                <a:cubicBezTo>
                  <a:pt x="2687472" y="2248693"/>
                  <a:pt x="2687472" y="2248693"/>
                  <a:pt x="2687472" y="2285609"/>
                </a:cubicBezTo>
                <a:cubicBezTo>
                  <a:pt x="2647342" y="2285609"/>
                  <a:pt x="2647342" y="2248693"/>
                  <a:pt x="2647342" y="2248693"/>
                </a:cubicBezTo>
                <a:cubicBezTo>
                  <a:pt x="2534975" y="2210172"/>
                  <a:pt x="2457924" y="2210172"/>
                  <a:pt x="2342347" y="2210172"/>
                </a:cubicBezTo>
                <a:cubicBezTo>
                  <a:pt x="2305426" y="2171650"/>
                  <a:pt x="2342347" y="2171650"/>
                  <a:pt x="2342347" y="2171650"/>
                </a:cubicBezTo>
                <a:cubicBezTo>
                  <a:pt x="2457924" y="2210172"/>
                  <a:pt x="2494844" y="2134734"/>
                  <a:pt x="2571895" y="2171650"/>
                </a:cubicBezTo>
                <a:cubicBezTo>
                  <a:pt x="2534975" y="2057691"/>
                  <a:pt x="2266901" y="2057691"/>
                  <a:pt x="2114404" y="2019169"/>
                </a:cubicBezTo>
                <a:cubicBezTo>
                  <a:pt x="2077483" y="2057691"/>
                  <a:pt x="2114404" y="2057691"/>
                  <a:pt x="2077483" y="2096212"/>
                </a:cubicBezTo>
                <a:cubicBezTo>
                  <a:pt x="2037353" y="2057691"/>
                  <a:pt x="2000433" y="2096212"/>
                  <a:pt x="2000433" y="2057691"/>
                </a:cubicBezTo>
                <a:lnTo>
                  <a:pt x="2037353" y="2057691"/>
                </a:lnTo>
                <a:cubicBezTo>
                  <a:pt x="1961907" y="2019169"/>
                  <a:pt x="1847935" y="1982253"/>
                  <a:pt x="1809410" y="2019169"/>
                </a:cubicBezTo>
                <a:cubicBezTo>
                  <a:pt x="1772489" y="2019169"/>
                  <a:pt x="1847935" y="1982253"/>
                  <a:pt x="1809410" y="1943731"/>
                </a:cubicBezTo>
                <a:cubicBezTo>
                  <a:pt x="1619992" y="1982253"/>
                  <a:pt x="1619992" y="1982253"/>
                  <a:pt x="1390444" y="1982253"/>
                </a:cubicBezTo>
                <a:cubicBezTo>
                  <a:pt x="1467495" y="1943731"/>
                  <a:pt x="1467495" y="1905210"/>
                  <a:pt x="1390444" y="1943731"/>
                </a:cubicBezTo>
                <a:cubicBezTo>
                  <a:pt x="1351918" y="1905210"/>
                  <a:pt x="1467495" y="1905210"/>
                  <a:pt x="1467495" y="1905210"/>
                </a:cubicBezTo>
                <a:cubicBezTo>
                  <a:pt x="1467495" y="1866688"/>
                  <a:pt x="1351918" y="1905210"/>
                  <a:pt x="1351918" y="1905210"/>
                </a:cubicBezTo>
                <a:cubicBezTo>
                  <a:pt x="1314997" y="1905210"/>
                  <a:pt x="1274867" y="1905210"/>
                  <a:pt x="1237947" y="1866688"/>
                </a:cubicBezTo>
                <a:cubicBezTo>
                  <a:pt x="1237947" y="1905210"/>
                  <a:pt x="1162501" y="1866688"/>
                  <a:pt x="1162501" y="1905210"/>
                </a:cubicBezTo>
                <a:cubicBezTo>
                  <a:pt x="1085449" y="1905210"/>
                  <a:pt x="1085449" y="1905210"/>
                  <a:pt x="1010004" y="1905210"/>
                </a:cubicBezTo>
                <a:cubicBezTo>
                  <a:pt x="1010004" y="1866688"/>
                  <a:pt x="1046923" y="1829772"/>
                  <a:pt x="969873" y="1866688"/>
                </a:cubicBezTo>
                <a:cubicBezTo>
                  <a:pt x="969873" y="1829772"/>
                  <a:pt x="1010004" y="1829772"/>
                  <a:pt x="969873" y="1789645"/>
                </a:cubicBezTo>
                <a:cubicBezTo>
                  <a:pt x="1046923" y="1789645"/>
                  <a:pt x="1162501" y="1829772"/>
                  <a:pt x="1162501" y="1752728"/>
                </a:cubicBezTo>
                <a:cubicBezTo>
                  <a:pt x="1314997" y="1829772"/>
                  <a:pt x="1390444" y="1829772"/>
                  <a:pt x="1579861" y="1789645"/>
                </a:cubicBezTo>
                <a:cubicBezTo>
                  <a:pt x="1619992" y="1829772"/>
                  <a:pt x="1579861" y="1829772"/>
                  <a:pt x="1579861" y="1829772"/>
                </a:cubicBezTo>
                <a:cubicBezTo>
                  <a:pt x="1619992" y="1829772"/>
                  <a:pt x="1619992" y="1829772"/>
                  <a:pt x="1619992" y="1789645"/>
                </a:cubicBezTo>
                <a:cubicBezTo>
                  <a:pt x="1656913" y="1789645"/>
                  <a:pt x="1656913" y="1829772"/>
                  <a:pt x="1695438" y="1829772"/>
                </a:cubicBezTo>
                <a:cubicBezTo>
                  <a:pt x="1732358" y="1829772"/>
                  <a:pt x="1695438" y="1789645"/>
                  <a:pt x="1695438" y="1789645"/>
                </a:cubicBezTo>
                <a:cubicBezTo>
                  <a:pt x="1772489" y="1829772"/>
                  <a:pt x="1847935" y="1752728"/>
                  <a:pt x="1884855" y="1829772"/>
                </a:cubicBezTo>
                <a:cubicBezTo>
                  <a:pt x="1961907" y="1829772"/>
                  <a:pt x="2000433" y="1789645"/>
                  <a:pt x="2077483" y="1789645"/>
                </a:cubicBezTo>
                <a:cubicBezTo>
                  <a:pt x="2077483" y="1829772"/>
                  <a:pt x="2077483" y="1829772"/>
                  <a:pt x="2114404" y="1829772"/>
                </a:cubicBezTo>
                <a:cubicBezTo>
                  <a:pt x="2152929" y="1829772"/>
                  <a:pt x="2077483" y="1789645"/>
                  <a:pt x="2114404" y="1752728"/>
                </a:cubicBezTo>
                <a:cubicBezTo>
                  <a:pt x="2152929" y="1752728"/>
                  <a:pt x="2152929" y="1789645"/>
                  <a:pt x="2189850" y="1752728"/>
                </a:cubicBezTo>
                <a:cubicBezTo>
                  <a:pt x="2152929" y="1789645"/>
                  <a:pt x="2152929" y="1829772"/>
                  <a:pt x="2229981" y="1829772"/>
                </a:cubicBezTo>
                <a:cubicBezTo>
                  <a:pt x="2189850" y="1789645"/>
                  <a:pt x="2189850" y="1752728"/>
                  <a:pt x="2266901" y="1752728"/>
                </a:cubicBezTo>
                <a:cubicBezTo>
                  <a:pt x="2229981" y="1829772"/>
                  <a:pt x="2342347" y="1789645"/>
                  <a:pt x="2382478" y="1752728"/>
                </a:cubicBezTo>
                <a:cubicBezTo>
                  <a:pt x="2419399" y="1752728"/>
                  <a:pt x="2382478" y="1829772"/>
                  <a:pt x="2457924" y="1829772"/>
                </a:cubicBezTo>
                <a:cubicBezTo>
                  <a:pt x="2494844" y="1752728"/>
                  <a:pt x="2382478" y="1714207"/>
                  <a:pt x="2266901" y="1752728"/>
                </a:cubicBezTo>
                <a:cubicBezTo>
                  <a:pt x="2342347" y="1714207"/>
                  <a:pt x="2419399" y="1752728"/>
                  <a:pt x="2457924" y="1714207"/>
                </a:cubicBezTo>
                <a:cubicBezTo>
                  <a:pt x="2457924" y="1752728"/>
                  <a:pt x="2494844" y="1829772"/>
                  <a:pt x="2534975" y="1829772"/>
                </a:cubicBezTo>
                <a:cubicBezTo>
                  <a:pt x="2610421" y="1829772"/>
                  <a:pt x="2610421" y="1789645"/>
                  <a:pt x="2610421" y="1752728"/>
                </a:cubicBezTo>
                <a:cubicBezTo>
                  <a:pt x="2571895" y="1752728"/>
                  <a:pt x="2571895" y="1789645"/>
                  <a:pt x="2534975" y="1789645"/>
                </a:cubicBezTo>
                <a:cubicBezTo>
                  <a:pt x="2457924" y="1752728"/>
                  <a:pt x="2647342" y="1714207"/>
                  <a:pt x="2534975" y="1714207"/>
                </a:cubicBezTo>
                <a:cubicBezTo>
                  <a:pt x="2534975" y="1677291"/>
                  <a:pt x="2647342" y="1714207"/>
                  <a:pt x="2687472" y="1714207"/>
                </a:cubicBezTo>
                <a:cubicBezTo>
                  <a:pt x="2687472" y="1714207"/>
                  <a:pt x="2571895" y="1714207"/>
                  <a:pt x="2647342" y="1789645"/>
                </a:cubicBezTo>
                <a:cubicBezTo>
                  <a:pt x="2724392" y="1789645"/>
                  <a:pt x="2762918" y="1752728"/>
                  <a:pt x="2762918" y="1752728"/>
                </a:cubicBezTo>
                <a:cubicBezTo>
                  <a:pt x="2762918" y="1789645"/>
                  <a:pt x="2915416" y="1752728"/>
                  <a:pt x="2876890" y="1714207"/>
                </a:cubicBezTo>
                <a:cubicBezTo>
                  <a:pt x="2990861" y="1714207"/>
                  <a:pt x="3104833" y="1714207"/>
                  <a:pt x="3067913" y="1677291"/>
                </a:cubicBezTo>
                <a:cubicBezTo>
                  <a:pt x="3104833" y="1677291"/>
                  <a:pt x="3104833" y="1677291"/>
                  <a:pt x="3143358" y="1677291"/>
                </a:cubicBezTo>
                <a:cubicBezTo>
                  <a:pt x="3029387" y="1714207"/>
                  <a:pt x="3104833" y="1789645"/>
                  <a:pt x="3143358" y="1829772"/>
                </a:cubicBezTo>
                <a:cubicBezTo>
                  <a:pt x="3220410" y="1789645"/>
                  <a:pt x="3181884" y="1789645"/>
                  <a:pt x="3181884" y="1714207"/>
                </a:cubicBezTo>
                <a:cubicBezTo>
                  <a:pt x="3220410" y="1752728"/>
                  <a:pt x="3334382" y="1752728"/>
                  <a:pt x="3372907" y="1789645"/>
                </a:cubicBezTo>
                <a:cubicBezTo>
                  <a:pt x="3409827" y="1752728"/>
                  <a:pt x="3448353" y="1752728"/>
                  <a:pt x="3486879" y="1752728"/>
                </a:cubicBezTo>
                <a:cubicBezTo>
                  <a:pt x="3486879" y="1752728"/>
                  <a:pt x="3486879" y="1752728"/>
                  <a:pt x="3562324" y="1714207"/>
                </a:cubicBezTo>
                <a:cubicBezTo>
                  <a:pt x="3562324" y="1714207"/>
                  <a:pt x="3562324" y="1714207"/>
                  <a:pt x="3600851" y="1752728"/>
                </a:cubicBezTo>
                <a:lnTo>
                  <a:pt x="3639376" y="1752728"/>
                </a:lnTo>
                <a:cubicBezTo>
                  <a:pt x="3714822" y="1752728"/>
                  <a:pt x="3791873" y="1752728"/>
                  <a:pt x="3828793" y="1714207"/>
                </a:cubicBezTo>
                <a:cubicBezTo>
                  <a:pt x="3828793" y="1714207"/>
                  <a:pt x="3753348" y="1714207"/>
                  <a:pt x="3791873" y="1677291"/>
                </a:cubicBezTo>
                <a:cubicBezTo>
                  <a:pt x="3791873" y="1714207"/>
                  <a:pt x="3828793" y="1714207"/>
                  <a:pt x="3828793" y="1677291"/>
                </a:cubicBezTo>
                <a:cubicBezTo>
                  <a:pt x="3867319" y="1677291"/>
                  <a:pt x="3867319" y="1714207"/>
                  <a:pt x="3867319" y="1714207"/>
                </a:cubicBezTo>
                <a:cubicBezTo>
                  <a:pt x="3944371" y="1714207"/>
                  <a:pt x="3944371" y="1677291"/>
                  <a:pt x="4019817" y="1677291"/>
                </a:cubicBezTo>
                <a:cubicBezTo>
                  <a:pt x="4019817" y="1677291"/>
                  <a:pt x="4019817" y="1677291"/>
                  <a:pt x="3981290" y="1714207"/>
                </a:cubicBezTo>
                <a:cubicBezTo>
                  <a:pt x="4324811" y="1677291"/>
                  <a:pt x="4477308" y="1714207"/>
                  <a:pt x="4820828" y="1714207"/>
                </a:cubicBezTo>
                <a:cubicBezTo>
                  <a:pt x="4743777" y="1677291"/>
                  <a:pt x="4706856" y="1677291"/>
                  <a:pt x="4629805" y="1677291"/>
                </a:cubicBezTo>
                <a:cubicBezTo>
                  <a:pt x="4743777" y="1600247"/>
                  <a:pt x="4934800" y="1714207"/>
                  <a:pt x="5087296" y="1638769"/>
                </a:cubicBezTo>
                <a:cubicBezTo>
                  <a:pt x="5048771" y="1638769"/>
                  <a:pt x="5011851" y="1638769"/>
                  <a:pt x="5011851" y="1600247"/>
                </a:cubicBezTo>
                <a:cubicBezTo>
                  <a:pt x="5201268" y="1600247"/>
                  <a:pt x="5353766" y="1638769"/>
                  <a:pt x="5430817" y="1561726"/>
                </a:cubicBezTo>
                <a:cubicBezTo>
                  <a:pt x="5316845" y="1524809"/>
                  <a:pt x="5164348" y="1561726"/>
                  <a:pt x="5164348" y="1447767"/>
                </a:cubicBezTo>
                <a:cubicBezTo>
                  <a:pt x="5201268" y="1447767"/>
                  <a:pt x="5239794" y="1447767"/>
                  <a:pt x="5239794" y="1447767"/>
                </a:cubicBezTo>
                <a:cubicBezTo>
                  <a:pt x="5239794" y="1409245"/>
                  <a:pt x="5201268" y="1372328"/>
                  <a:pt x="5164348" y="1372328"/>
                </a:cubicBezTo>
                <a:cubicBezTo>
                  <a:pt x="5087296" y="1372328"/>
                  <a:pt x="5201268" y="1409245"/>
                  <a:pt x="5125822" y="1409245"/>
                </a:cubicBezTo>
                <a:cubicBezTo>
                  <a:pt x="5087296" y="1295285"/>
                  <a:pt x="4782302" y="1256764"/>
                  <a:pt x="4706856" y="1372328"/>
                </a:cubicBezTo>
                <a:cubicBezTo>
                  <a:pt x="4629805" y="1333808"/>
                  <a:pt x="4782302" y="1333808"/>
                  <a:pt x="4820828" y="1295285"/>
                </a:cubicBezTo>
                <a:cubicBezTo>
                  <a:pt x="4782302" y="1256764"/>
                  <a:pt x="4706856" y="1256764"/>
                  <a:pt x="4666726" y="1219848"/>
                </a:cubicBezTo>
                <a:cubicBezTo>
                  <a:pt x="4629805" y="1256764"/>
                  <a:pt x="4591280" y="1219848"/>
                  <a:pt x="4554359" y="1256764"/>
                </a:cubicBezTo>
                <a:cubicBezTo>
                  <a:pt x="4515834" y="1256764"/>
                  <a:pt x="4554359" y="1219848"/>
                  <a:pt x="4515834" y="1219848"/>
                </a:cubicBezTo>
                <a:cubicBezTo>
                  <a:pt x="4477308" y="1219848"/>
                  <a:pt x="4515834" y="1256764"/>
                  <a:pt x="4438782" y="1256764"/>
                </a:cubicBezTo>
                <a:cubicBezTo>
                  <a:pt x="4401862" y="1179721"/>
                  <a:pt x="4324811" y="1219848"/>
                  <a:pt x="4249365" y="1256764"/>
                </a:cubicBezTo>
                <a:cubicBezTo>
                  <a:pt x="4133788" y="1179721"/>
                  <a:pt x="3944371" y="1219848"/>
                  <a:pt x="3867319" y="1179721"/>
                </a:cubicBezTo>
                <a:cubicBezTo>
                  <a:pt x="3791873" y="1179721"/>
                  <a:pt x="3791873" y="1219848"/>
                  <a:pt x="3714822" y="1219848"/>
                </a:cubicBezTo>
                <a:cubicBezTo>
                  <a:pt x="3714822" y="1219848"/>
                  <a:pt x="3639376" y="1219848"/>
                  <a:pt x="3639376" y="1179721"/>
                </a:cubicBezTo>
                <a:lnTo>
                  <a:pt x="3600851" y="1179721"/>
                </a:lnTo>
                <a:cubicBezTo>
                  <a:pt x="3600851" y="1179721"/>
                  <a:pt x="3600851" y="1179721"/>
                  <a:pt x="3600851" y="1219848"/>
                </a:cubicBezTo>
                <a:cubicBezTo>
                  <a:pt x="3600851" y="1219848"/>
                  <a:pt x="3600851" y="1219848"/>
                  <a:pt x="3562324" y="1219848"/>
                </a:cubicBezTo>
                <a:cubicBezTo>
                  <a:pt x="3562324" y="1219848"/>
                  <a:pt x="3562324" y="1219848"/>
                  <a:pt x="3486879" y="1179721"/>
                </a:cubicBezTo>
                <a:cubicBezTo>
                  <a:pt x="3448353" y="1179721"/>
                  <a:pt x="3409827" y="1179721"/>
                  <a:pt x="3372907" y="1179721"/>
                </a:cubicBezTo>
                <a:cubicBezTo>
                  <a:pt x="3334382" y="1179721"/>
                  <a:pt x="3295856" y="1179721"/>
                  <a:pt x="3181884" y="1219848"/>
                </a:cubicBezTo>
                <a:cubicBezTo>
                  <a:pt x="3181884" y="1179721"/>
                  <a:pt x="3257330" y="1179721"/>
                  <a:pt x="3295856" y="1179721"/>
                </a:cubicBezTo>
                <a:cubicBezTo>
                  <a:pt x="3220410" y="1142804"/>
                  <a:pt x="3181884" y="1104283"/>
                  <a:pt x="3104833" y="1104283"/>
                </a:cubicBezTo>
                <a:lnTo>
                  <a:pt x="3067913" y="1142804"/>
                </a:lnTo>
                <a:cubicBezTo>
                  <a:pt x="3029387" y="1142804"/>
                  <a:pt x="2990861" y="1104283"/>
                  <a:pt x="2990861" y="1067366"/>
                </a:cubicBezTo>
                <a:cubicBezTo>
                  <a:pt x="3029387" y="1067366"/>
                  <a:pt x="3104833" y="1104283"/>
                  <a:pt x="3104833" y="1067366"/>
                </a:cubicBezTo>
                <a:cubicBezTo>
                  <a:pt x="3181884" y="1067366"/>
                  <a:pt x="3372907" y="1067366"/>
                  <a:pt x="3372907" y="990324"/>
                </a:cubicBezTo>
                <a:cubicBezTo>
                  <a:pt x="3409827" y="990324"/>
                  <a:pt x="3409827" y="990324"/>
                  <a:pt x="3448353" y="990324"/>
                </a:cubicBezTo>
                <a:cubicBezTo>
                  <a:pt x="3448353" y="1028845"/>
                  <a:pt x="3486879" y="1028845"/>
                  <a:pt x="3486879" y="1028845"/>
                </a:cubicBezTo>
                <a:cubicBezTo>
                  <a:pt x="3525405" y="1028845"/>
                  <a:pt x="3562324" y="990324"/>
                  <a:pt x="3600851" y="990324"/>
                </a:cubicBezTo>
                <a:cubicBezTo>
                  <a:pt x="3600851" y="990324"/>
                  <a:pt x="3600851" y="990324"/>
                  <a:pt x="3600851" y="1028845"/>
                </a:cubicBezTo>
                <a:lnTo>
                  <a:pt x="3639376" y="1028845"/>
                </a:lnTo>
                <a:cubicBezTo>
                  <a:pt x="3676296" y="990324"/>
                  <a:pt x="3639376" y="951802"/>
                  <a:pt x="3714822" y="990324"/>
                </a:cubicBezTo>
                <a:cubicBezTo>
                  <a:pt x="3714822" y="951802"/>
                  <a:pt x="3676296" y="951802"/>
                  <a:pt x="3676296" y="914885"/>
                </a:cubicBezTo>
                <a:cubicBezTo>
                  <a:pt x="3753348" y="951802"/>
                  <a:pt x="3944371" y="951802"/>
                  <a:pt x="3981290" y="876364"/>
                </a:cubicBezTo>
                <a:cubicBezTo>
                  <a:pt x="4058342" y="914885"/>
                  <a:pt x="4210839" y="876364"/>
                  <a:pt x="4286285" y="914885"/>
                </a:cubicBezTo>
                <a:cubicBezTo>
                  <a:pt x="4363336" y="837842"/>
                  <a:pt x="4554359" y="951802"/>
                  <a:pt x="4629805" y="876364"/>
                </a:cubicBezTo>
                <a:cubicBezTo>
                  <a:pt x="4629805" y="876364"/>
                  <a:pt x="4629805" y="914885"/>
                  <a:pt x="4666726" y="951802"/>
                </a:cubicBezTo>
                <a:cubicBezTo>
                  <a:pt x="4666726" y="914885"/>
                  <a:pt x="4706856" y="914885"/>
                  <a:pt x="4706856" y="951802"/>
                </a:cubicBezTo>
                <a:cubicBezTo>
                  <a:pt x="4859354" y="914885"/>
                  <a:pt x="5125822" y="990324"/>
                  <a:pt x="5239794" y="914885"/>
                </a:cubicBezTo>
                <a:cubicBezTo>
                  <a:pt x="5278320" y="951802"/>
                  <a:pt x="5469342" y="951802"/>
                  <a:pt x="5544788" y="914885"/>
                </a:cubicBezTo>
                <a:cubicBezTo>
                  <a:pt x="5544788" y="914885"/>
                  <a:pt x="5506262" y="914885"/>
                  <a:pt x="5506262" y="876364"/>
                </a:cubicBezTo>
                <a:cubicBezTo>
                  <a:pt x="5735811" y="837842"/>
                  <a:pt x="5926834" y="914885"/>
                  <a:pt x="6040805" y="762404"/>
                </a:cubicBezTo>
                <a:lnTo>
                  <a:pt x="6017705" y="753849"/>
                </a:lnTo>
                <a:lnTo>
                  <a:pt x="6039501" y="749464"/>
                </a:lnTo>
                <a:cubicBezTo>
                  <a:pt x="6221594" y="728096"/>
                  <a:pt x="6478633" y="770831"/>
                  <a:pt x="6650794" y="685361"/>
                </a:cubicBezTo>
                <a:cubicBezTo>
                  <a:pt x="6764766" y="762404"/>
                  <a:pt x="6878737" y="609923"/>
                  <a:pt x="6955789" y="723883"/>
                </a:cubicBezTo>
                <a:cubicBezTo>
                  <a:pt x="6992709" y="723883"/>
                  <a:pt x="6992709" y="685361"/>
                  <a:pt x="7031235" y="685361"/>
                </a:cubicBezTo>
                <a:cubicBezTo>
                  <a:pt x="7069760" y="685361"/>
                  <a:pt x="7069760" y="723883"/>
                  <a:pt x="7108286" y="723883"/>
                </a:cubicBezTo>
                <a:cubicBezTo>
                  <a:pt x="7145206" y="723883"/>
                  <a:pt x="7145206" y="685361"/>
                  <a:pt x="7145206" y="685361"/>
                </a:cubicBezTo>
                <a:cubicBezTo>
                  <a:pt x="7183732" y="685361"/>
                  <a:pt x="7220652" y="685361"/>
                  <a:pt x="7260783" y="723883"/>
                </a:cubicBezTo>
                <a:cubicBezTo>
                  <a:pt x="7488726" y="723883"/>
                  <a:pt x="7641223" y="685361"/>
                  <a:pt x="7870772" y="685361"/>
                </a:cubicBezTo>
                <a:cubicBezTo>
                  <a:pt x="7983138" y="646840"/>
                  <a:pt x="8251212" y="685361"/>
                  <a:pt x="8440628" y="685361"/>
                </a:cubicBezTo>
                <a:cubicBezTo>
                  <a:pt x="8633257" y="646840"/>
                  <a:pt x="8822675" y="646840"/>
                  <a:pt x="8975172" y="646840"/>
                </a:cubicBezTo>
                <a:cubicBezTo>
                  <a:pt x="9166195" y="646840"/>
                  <a:pt x="9318691" y="646840"/>
                  <a:pt x="9471188" y="609923"/>
                </a:cubicBezTo>
                <a:cubicBezTo>
                  <a:pt x="9471188" y="646840"/>
                  <a:pt x="9508109" y="646840"/>
                  <a:pt x="9471188" y="685361"/>
                </a:cubicBezTo>
                <a:cubicBezTo>
                  <a:pt x="9546635" y="685361"/>
                  <a:pt x="9546635" y="646840"/>
                  <a:pt x="9546635" y="609923"/>
                </a:cubicBezTo>
                <a:cubicBezTo>
                  <a:pt x="9585161" y="646840"/>
                  <a:pt x="9585161" y="646840"/>
                  <a:pt x="9585161" y="685361"/>
                </a:cubicBezTo>
                <a:cubicBezTo>
                  <a:pt x="9623686" y="609923"/>
                  <a:pt x="9623686" y="646840"/>
                  <a:pt x="9699133" y="646840"/>
                </a:cubicBezTo>
                <a:cubicBezTo>
                  <a:pt x="9699133" y="609923"/>
                  <a:pt x="9623686" y="646840"/>
                  <a:pt x="9623686" y="609923"/>
                </a:cubicBezTo>
                <a:cubicBezTo>
                  <a:pt x="9699133" y="609923"/>
                  <a:pt x="9851630" y="646840"/>
                  <a:pt x="9813104" y="685361"/>
                </a:cubicBezTo>
                <a:cubicBezTo>
                  <a:pt x="9890154" y="685361"/>
                  <a:pt x="9890154" y="646840"/>
                  <a:pt x="9890154" y="609923"/>
                </a:cubicBezTo>
                <a:cubicBezTo>
                  <a:pt x="10055895" y="609923"/>
                  <a:pt x="10135605" y="667681"/>
                  <a:pt x="10305647" y="656314"/>
                </a:cubicBezTo>
                <a:lnTo>
                  <a:pt x="10369487" y="648650"/>
                </a:lnTo>
                <a:lnTo>
                  <a:pt x="10370722" y="651655"/>
                </a:lnTo>
                <a:cubicBezTo>
                  <a:pt x="10375337" y="656470"/>
                  <a:pt x="10384567" y="666101"/>
                  <a:pt x="10384567" y="685361"/>
                </a:cubicBezTo>
                <a:cubicBezTo>
                  <a:pt x="10423092" y="685361"/>
                  <a:pt x="10461617" y="646840"/>
                  <a:pt x="10500143" y="646840"/>
                </a:cubicBezTo>
                <a:cubicBezTo>
                  <a:pt x="10537064" y="609923"/>
                  <a:pt x="10537064" y="646840"/>
                  <a:pt x="10575589" y="646840"/>
                </a:cubicBezTo>
                <a:cubicBezTo>
                  <a:pt x="10652641" y="646840"/>
                  <a:pt x="10652641" y="609923"/>
                  <a:pt x="10766612" y="609923"/>
                </a:cubicBezTo>
                <a:cubicBezTo>
                  <a:pt x="10689562" y="646840"/>
                  <a:pt x="10878978" y="609923"/>
                  <a:pt x="10917504" y="646840"/>
                </a:cubicBezTo>
                <a:cubicBezTo>
                  <a:pt x="10992950" y="646840"/>
                  <a:pt x="10992950" y="609923"/>
                  <a:pt x="11031475" y="609923"/>
                </a:cubicBezTo>
                <a:cubicBezTo>
                  <a:pt x="11070001" y="609923"/>
                  <a:pt x="10992950" y="609923"/>
                  <a:pt x="10992950" y="646840"/>
                </a:cubicBezTo>
                <a:cubicBezTo>
                  <a:pt x="11183972" y="646840"/>
                  <a:pt x="11222498" y="609923"/>
                  <a:pt x="11413521" y="609923"/>
                </a:cubicBezTo>
                <a:cubicBezTo>
                  <a:pt x="11527492" y="646840"/>
                  <a:pt x="11641464" y="609923"/>
                  <a:pt x="11679990" y="609923"/>
                </a:cubicBezTo>
                <a:cubicBezTo>
                  <a:pt x="11755436" y="609923"/>
                  <a:pt x="11755436" y="646840"/>
                  <a:pt x="11830882" y="646840"/>
                </a:cubicBezTo>
                <a:cubicBezTo>
                  <a:pt x="11907932" y="685361"/>
                  <a:pt x="12098956" y="609923"/>
                  <a:pt x="12098956" y="685361"/>
                </a:cubicBezTo>
                <a:cubicBezTo>
                  <a:pt x="12289978" y="646840"/>
                  <a:pt x="12440870" y="646840"/>
                  <a:pt x="12708944" y="646840"/>
                </a:cubicBezTo>
                <a:cubicBezTo>
                  <a:pt x="12708944" y="609923"/>
                  <a:pt x="12899968" y="646840"/>
                  <a:pt x="12936888" y="646840"/>
                </a:cubicBezTo>
                <a:cubicBezTo>
                  <a:pt x="13013938" y="646840"/>
                  <a:pt x="12975414" y="646840"/>
                  <a:pt x="12975414" y="609923"/>
                </a:cubicBezTo>
                <a:cubicBezTo>
                  <a:pt x="13013938" y="609923"/>
                  <a:pt x="13052464" y="646840"/>
                  <a:pt x="13127910" y="609923"/>
                </a:cubicBezTo>
                <a:cubicBezTo>
                  <a:pt x="13147173" y="609923"/>
                  <a:pt x="13159212" y="609923"/>
                  <a:pt x="13165834" y="609322"/>
                </a:cubicBezTo>
                <a:lnTo>
                  <a:pt x="13166408" y="608875"/>
                </a:lnTo>
                <a:lnTo>
                  <a:pt x="13166436" y="609923"/>
                </a:lnTo>
                <a:cubicBezTo>
                  <a:pt x="13357458" y="646840"/>
                  <a:pt x="13546876" y="532881"/>
                  <a:pt x="13699374" y="571402"/>
                </a:cubicBezTo>
                <a:cubicBezTo>
                  <a:pt x="13774820" y="532881"/>
                  <a:pt x="13967448" y="609923"/>
                  <a:pt x="14004368" y="532881"/>
                </a:cubicBezTo>
                <a:cubicBezTo>
                  <a:pt x="14042894" y="532881"/>
                  <a:pt x="14079814" y="532881"/>
                  <a:pt x="14079814" y="571402"/>
                </a:cubicBezTo>
                <a:cubicBezTo>
                  <a:pt x="14156864" y="571402"/>
                  <a:pt x="14119944" y="532881"/>
                  <a:pt x="14156864" y="532881"/>
                </a:cubicBezTo>
                <a:cubicBezTo>
                  <a:pt x="14156864" y="609923"/>
                  <a:pt x="14347888" y="532881"/>
                  <a:pt x="14461860" y="532881"/>
                </a:cubicBezTo>
                <a:cubicBezTo>
                  <a:pt x="14537306" y="532881"/>
                  <a:pt x="14614356" y="571402"/>
                  <a:pt x="14652882" y="494359"/>
                </a:cubicBezTo>
                <a:cubicBezTo>
                  <a:pt x="14766854" y="571402"/>
                  <a:pt x="14882430" y="532881"/>
                  <a:pt x="15034928" y="494359"/>
                </a:cubicBezTo>
                <a:cubicBezTo>
                  <a:pt x="15071848" y="494359"/>
                  <a:pt x="15034928" y="494359"/>
                  <a:pt x="15034928" y="457443"/>
                </a:cubicBezTo>
                <a:cubicBezTo>
                  <a:pt x="15262870" y="494359"/>
                  <a:pt x="15376842" y="457443"/>
                  <a:pt x="15529340" y="418921"/>
                </a:cubicBezTo>
                <a:cubicBezTo>
                  <a:pt x="15604786" y="418921"/>
                  <a:pt x="15643312" y="457443"/>
                  <a:pt x="15643312" y="494359"/>
                </a:cubicBezTo>
                <a:cubicBezTo>
                  <a:pt x="15757282" y="494359"/>
                  <a:pt x="15757282" y="457443"/>
                  <a:pt x="15795808" y="418921"/>
                </a:cubicBezTo>
                <a:cubicBezTo>
                  <a:pt x="15795808" y="494359"/>
                  <a:pt x="15948306" y="418921"/>
                  <a:pt x="15948306" y="457443"/>
                </a:cubicBezTo>
                <a:cubicBezTo>
                  <a:pt x="16023752" y="418921"/>
                  <a:pt x="16139328" y="457443"/>
                  <a:pt x="16214774" y="457443"/>
                </a:cubicBezTo>
                <a:cubicBezTo>
                  <a:pt x="16176248" y="457443"/>
                  <a:pt x="16291826" y="494359"/>
                  <a:pt x="16328746" y="494359"/>
                </a:cubicBezTo>
                <a:cubicBezTo>
                  <a:pt x="16405796" y="494359"/>
                  <a:pt x="16444322" y="457443"/>
                  <a:pt x="16481242" y="457443"/>
                </a:cubicBezTo>
                <a:cubicBezTo>
                  <a:pt x="16558294" y="457443"/>
                  <a:pt x="16633740" y="494359"/>
                  <a:pt x="16672266" y="494359"/>
                </a:cubicBezTo>
                <a:cubicBezTo>
                  <a:pt x="16786238" y="494359"/>
                  <a:pt x="16938734" y="494359"/>
                  <a:pt x="17091232" y="494359"/>
                </a:cubicBezTo>
                <a:cubicBezTo>
                  <a:pt x="17129758" y="494359"/>
                  <a:pt x="17129758" y="494359"/>
                  <a:pt x="17129758" y="532881"/>
                </a:cubicBezTo>
                <a:cubicBezTo>
                  <a:pt x="17243728" y="457443"/>
                  <a:pt x="17359306" y="532881"/>
                  <a:pt x="17511802" y="532881"/>
                </a:cubicBezTo>
                <a:cubicBezTo>
                  <a:pt x="17473278" y="494359"/>
                  <a:pt x="17434752" y="494359"/>
                  <a:pt x="17434752" y="457443"/>
                </a:cubicBezTo>
                <a:cubicBezTo>
                  <a:pt x="17473278" y="532881"/>
                  <a:pt x="17739746" y="457443"/>
                  <a:pt x="17892244" y="494359"/>
                </a:cubicBezTo>
                <a:cubicBezTo>
                  <a:pt x="17892244" y="418921"/>
                  <a:pt x="17739746" y="457443"/>
                  <a:pt x="17739746" y="418921"/>
                </a:cubicBezTo>
                <a:cubicBezTo>
                  <a:pt x="17664300" y="457443"/>
                  <a:pt x="17548724" y="418921"/>
                  <a:pt x="17434752" y="457443"/>
                </a:cubicBezTo>
                <a:cubicBezTo>
                  <a:pt x="17739746" y="341878"/>
                  <a:pt x="18158712" y="341878"/>
                  <a:pt x="18349734" y="304961"/>
                </a:cubicBezTo>
                <a:cubicBezTo>
                  <a:pt x="18274288" y="227918"/>
                  <a:pt x="17930768" y="380399"/>
                  <a:pt x="17816798" y="266440"/>
                </a:cubicBezTo>
                <a:cubicBezTo>
                  <a:pt x="17701220" y="266440"/>
                  <a:pt x="17701220" y="266440"/>
                  <a:pt x="17587248" y="304961"/>
                </a:cubicBezTo>
                <a:cubicBezTo>
                  <a:pt x="17625774" y="266440"/>
                  <a:pt x="17625774" y="266440"/>
                  <a:pt x="17548724" y="227918"/>
                </a:cubicBezTo>
                <a:cubicBezTo>
                  <a:pt x="17473278" y="341878"/>
                  <a:pt x="17206808" y="227918"/>
                  <a:pt x="17129758" y="341878"/>
                </a:cubicBezTo>
                <a:cubicBezTo>
                  <a:pt x="17091232" y="266440"/>
                  <a:pt x="17015786" y="341878"/>
                  <a:pt x="16938734" y="304961"/>
                </a:cubicBezTo>
                <a:cubicBezTo>
                  <a:pt x="16977260" y="304961"/>
                  <a:pt x="17015786" y="304961"/>
                  <a:pt x="17015786" y="304961"/>
                </a:cubicBezTo>
                <a:cubicBezTo>
                  <a:pt x="16977260" y="227918"/>
                  <a:pt x="16749316" y="266440"/>
                  <a:pt x="16786238" y="304961"/>
                </a:cubicBezTo>
                <a:cubicBezTo>
                  <a:pt x="16672266" y="266440"/>
                  <a:pt x="16558294" y="304961"/>
                  <a:pt x="16405796" y="341878"/>
                </a:cubicBezTo>
                <a:cubicBezTo>
                  <a:pt x="16328746" y="304961"/>
                  <a:pt x="15986832" y="266440"/>
                  <a:pt x="15948306" y="341878"/>
                </a:cubicBezTo>
                <a:cubicBezTo>
                  <a:pt x="15909780" y="341878"/>
                  <a:pt x="15872860" y="341878"/>
                  <a:pt x="15872860" y="304961"/>
                </a:cubicBezTo>
                <a:cubicBezTo>
                  <a:pt x="15681836" y="304961"/>
                  <a:pt x="15567866" y="341878"/>
                  <a:pt x="15376842" y="304961"/>
                </a:cubicBezTo>
                <a:cubicBezTo>
                  <a:pt x="15529340" y="266440"/>
                  <a:pt x="15681836" y="304961"/>
                  <a:pt x="15795808" y="227918"/>
                </a:cubicBezTo>
                <a:cubicBezTo>
                  <a:pt x="15757282" y="227918"/>
                  <a:pt x="15757282" y="227918"/>
                  <a:pt x="15757282" y="191002"/>
                </a:cubicBezTo>
                <a:cubicBezTo>
                  <a:pt x="15681836" y="227918"/>
                  <a:pt x="15681836" y="227918"/>
                  <a:pt x="15604786" y="191002"/>
                </a:cubicBezTo>
                <a:cubicBezTo>
                  <a:pt x="15567866" y="227918"/>
                  <a:pt x="15452288" y="266440"/>
                  <a:pt x="15376842" y="227918"/>
                </a:cubicBezTo>
                <a:cubicBezTo>
                  <a:pt x="15338316" y="266440"/>
                  <a:pt x="15224346" y="266440"/>
                  <a:pt x="15147294" y="304961"/>
                </a:cubicBezTo>
                <a:cubicBezTo>
                  <a:pt x="15224346" y="266440"/>
                  <a:pt x="15110374" y="266440"/>
                  <a:pt x="15071848" y="266440"/>
                </a:cubicBezTo>
                <a:cubicBezTo>
                  <a:pt x="15338316" y="191002"/>
                  <a:pt x="15681836" y="191002"/>
                  <a:pt x="15909780" y="152480"/>
                </a:cubicBezTo>
                <a:cubicBezTo>
                  <a:pt x="15948306" y="152480"/>
                  <a:pt x="16023752" y="227918"/>
                  <a:pt x="16062278" y="152480"/>
                </a:cubicBezTo>
                <a:cubicBezTo>
                  <a:pt x="16100802" y="152480"/>
                  <a:pt x="16139328" y="191002"/>
                  <a:pt x="16176248" y="227918"/>
                </a:cubicBezTo>
                <a:cubicBezTo>
                  <a:pt x="16139328" y="191002"/>
                  <a:pt x="16176248" y="191002"/>
                  <a:pt x="16253300" y="152480"/>
                </a:cubicBezTo>
                <a:cubicBezTo>
                  <a:pt x="16253300" y="152480"/>
                  <a:pt x="16253300" y="191002"/>
                  <a:pt x="16291826" y="191002"/>
                </a:cubicBezTo>
                <a:cubicBezTo>
                  <a:pt x="16367272" y="191002"/>
                  <a:pt x="16328746" y="152480"/>
                  <a:pt x="16405796" y="152480"/>
                </a:cubicBezTo>
                <a:cubicBezTo>
                  <a:pt x="16405796" y="152480"/>
                  <a:pt x="16405796" y="152480"/>
                  <a:pt x="16444322" y="152480"/>
                </a:cubicBezTo>
                <a:cubicBezTo>
                  <a:pt x="16596820" y="75437"/>
                  <a:pt x="16938734" y="152480"/>
                  <a:pt x="17054312" y="113959"/>
                </a:cubicBezTo>
                <a:cubicBezTo>
                  <a:pt x="17206808" y="152480"/>
                  <a:pt x="17359306" y="75437"/>
                  <a:pt x="17587248" y="113959"/>
                </a:cubicBezTo>
                <a:cubicBezTo>
                  <a:pt x="17701220" y="75437"/>
                  <a:pt x="17816798" y="38521"/>
                  <a:pt x="17853718" y="113959"/>
                </a:cubicBezTo>
                <a:cubicBezTo>
                  <a:pt x="17892244" y="75437"/>
                  <a:pt x="17930768" y="75437"/>
                  <a:pt x="17930768" y="75437"/>
                </a:cubicBezTo>
                <a:cubicBezTo>
                  <a:pt x="17930768" y="66208"/>
                  <a:pt x="17928360" y="59286"/>
                  <a:pt x="17924748" y="54095"/>
                </a:cubicBezTo>
                <a:lnTo>
                  <a:pt x="17924568" y="53945"/>
                </a:lnTo>
                <a:lnTo>
                  <a:pt x="17954646" y="52365"/>
                </a:lnTo>
                <a:cubicBezTo>
                  <a:pt x="17978524" y="47750"/>
                  <a:pt x="18007018" y="38521"/>
                  <a:pt x="18044740" y="38521"/>
                </a:cubicBezTo>
                <a:cubicBezTo>
                  <a:pt x="18188008" y="38521"/>
                  <a:pt x="18417054" y="38521"/>
                  <a:pt x="18618788" y="38521"/>
                </a:cubicBezTo>
                <a:lnTo>
                  <a:pt x="18730176" y="38521"/>
                </a:lnTo>
                <a:cubicBezTo>
                  <a:pt x="18730176" y="75437"/>
                  <a:pt x="18730176" y="75437"/>
                  <a:pt x="18730176" y="75437"/>
                </a:cubicBezTo>
                <a:lnTo>
                  <a:pt x="18768700" y="75437"/>
                </a:lnTo>
                <a:cubicBezTo>
                  <a:pt x="18807226" y="75437"/>
                  <a:pt x="18730176" y="113959"/>
                  <a:pt x="18768700" y="113959"/>
                </a:cubicBezTo>
                <a:cubicBezTo>
                  <a:pt x="18882672" y="0"/>
                  <a:pt x="19112220" y="113959"/>
                  <a:pt x="19264718" y="113959"/>
                </a:cubicBezTo>
                <a:cubicBezTo>
                  <a:pt x="19264718" y="75437"/>
                  <a:pt x="19226192" y="75437"/>
                  <a:pt x="19226192" y="75437"/>
                </a:cubicBezTo>
                <a:cubicBezTo>
                  <a:pt x="19417214" y="38521"/>
                  <a:pt x="19683684" y="0"/>
                  <a:pt x="19797656" y="38521"/>
                </a:cubicBezTo>
                <a:cubicBezTo>
                  <a:pt x="19836180" y="38521"/>
                  <a:pt x="19797656" y="0"/>
                  <a:pt x="19836180" y="0"/>
                </a:cubicBezTo>
                <a:close/>
              </a:path>
            </a:pathLst>
          </a:custGeom>
          <a:solidFill>
            <a:schemeClr val="bg1">
              <a:lumMod val="95000"/>
            </a:schemeClr>
          </a:solidFill>
        </p:spPr>
        <p:txBody>
          <a:bodyPr wrap="square">
            <a:noAutofit/>
          </a:bodyPr>
          <a:lstStyle>
            <a:lvl1pPr>
              <a:defRPr sz="1158"/>
            </a:lvl1pPr>
          </a:lstStyle>
          <a:p>
            <a:endParaRPr lang="en-US"/>
          </a:p>
        </p:txBody>
      </p:sp>
    </p:spTree>
    <p:extLst>
      <p:ext uri="{BB962C8B-B14F-4D97-AF65-F5344CB8AC3E}">
        <p14:creationId xmlns:p14="http://schemas.microsoft.com/office/powerpoint/2010/main" val="36278986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0_Placeholder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8076375" y="1"/>
            <a:ext cx="2728242" cy="7562850"/>
          </a:xfrm>
          <a:custGeom>
            <a:avLst/>
            <a:gdLst>
              <a:gd name="connsiteX0" fmla="*/ 3814104 w 4946852"/>
              <a:gd name="connsiteY0" fmla="*/ 11540901 h 13716000"/>
              <a:gd name="connsiteX1" fmla="*/ 3832578 w 4946852"/>
              <a:gd name="connsiteY1" fmla="*/ 11577834 h 13716000"/>
              <a:gd name="connsiteX2" fmla="*/ 3872728 w 4946852"/>
              <a:gd name="connsiteY2" fmla="*/ 11698239 h 13716000"/>
              <a:gd name="connsiteX3" fmla="*/ 3698782 w 4946852"/>
              <a:gd name="connsiteY3" fmla="*/ 11214745 h 13716000"/>
              <a:gd name="connsiteX4" fmla="*/ 3774362 w 4946852"/>
              <a:gd name="connsiteY4" fmla="*/ 11434240 h 13716000"/>
              <a:gd name="connsiteX5" fmla="*/ 3814104 w 4946852"/>
              <a:gd name="connsiteY5" fmla="*/ 11540901 h 13716000"/>
              <a:gd name="connsiteX6" fmla="*/ 3772352 w 4946852"/>
              <a:gd name="connsiteY6" fmla="*/ 11457429 h 13716000"/>
              <a:gd name="connsiteX7" fmla="*/ 3692052 w 4946852"/>
              <a:gd name="connsiteY7" fmla="*/ 11217531 h 13716000"/>
              <a:gd name="connsiteX8" fmla="*/ 514535 w 4946852"/>
              <a:gd name="connsiteY8" fmla="*/ 0 h 13716000"/>
              <a:gd name="connsiteX9" fmla="*/ 4946852 w 4946852"/>
              <a:gd name="connsiteY9" fmla="*/ 0 h 13716000"/>
              <a:gd name="connsiteX10" fmla="*/ 4935802 w 4946852"/>
              <a:gd name="connsiteY10" fmla="*/ 488713 h 13716000"/>
              <a:gd name="connsiteX11" fmla="*/ 4756038 w 4946852"/>
              <a:gd name="connsiteY11" fmla="*/ 2012931 h 13716000"/>
              <a:gd name="connsiteX12" fmla="*/ 4515134 w 4946852"/>
              <a:gd name="connsiteY12" fmla="*/ 2474484 h 13716000"/>
              <a:gd name="connsiteX13" fmla="*/ 4333546 w 4946852"/>
              <a:gd name="connsiteY13" fmla="*/ 3938500 h 13716000"/>
              <a:gd name="connsiteX14" fmla="*/ 4294308 w 4946852"/>
              <a:gd name="connsiteY14" fmla="*/ 5442650 h 13716000"/>
              <a:gd name="connsiteX15" fmla="*/ 4374608 w 4946852"/>
              <a:gd name="connsiteY15" fmla="*/ 6965956 h 13716000"/>
              <a:gd name="connsiteX16" fmla="*/ 4493326 w 4946852"/>
              <a:gd name="connsiteY16" fmla="*/ 8459773 h 13716000"/>
              <a:gd name="connsiteX17" fmla="*/ 4484794 w 4946852"/>
              <a:gd name="connsiteY17" fmla="*/ 8421990 h 13716000"/>
              <a:gd name="connsiteX18" fmla="*/ 4413846 w 4946852"/>
              <a:gd name="connsiteY18" fmla="*/ 8128959 h 13716000"/>
              <a:gd name="connsiteX19" fmla="*/ 4494148 w 4946852"/>
              <a:gd name="connsiteY19" fmla="*/ 8470107 h 13716000"/>
              <a:gd name="connsiteX20" fmla="*/ 4493326 w 4946852"/>
              <a:gd name="connsiteY20" fmla="*/ 8459773 h 13716000"/>
              <a:gd name="connsiteX21" fmla="*/ 4554372 w 4946852"/>
              <a:gd name="connsiteY21" fmla="*/ 8730073 h 13716000"/>
              <a:gd name="connsiteX22" fmla="*/ 4595436 w 4946852"/>
              <a:gd name="connsiteY22" fmla="*/ 8990950 h 13716000"/>
              <a:gd name="connsiteX23" fmla="*/ 4595436 w 4946852"/>
              <a:gd name="connsiteY23" fmla="*/ 9151490 h 13716000"/>
              <a:gd name="connsiteX24" fmla="*/ 4474984 w 4946852"/>
              <a:gd name="connsiteY24" fmla="*/ 9492638 h 13716000"/>
              <a:gd name="connsiteX25" fmla="*/ 4434834 w 4946852"/>
              <a:gd name="connsiteY25" fmla="*/ 9833785 h 13716000"/>
              <a:gd name="connsiteX26" fmla="*/ 4474984 w 4946852"/>
              <a:gd name="connsiteY26" fmla="*/ 10214156 h 13716000"/>
              <a:gd name="connsiteX27" fmla="*/ 4515134 w 4946852"/>
              <a:gd name="connsiteY27" fmla="*/ 10414831 h 13716000"/>
              <a:gd name="connsiteX28" fmla="*/ 4595436 w 4946852"/>
              <a:gd name="connsiteY28" fmla="*/ 10615506 h 13716000"/>
              <a:gd name="connsiteX29" fmla="*/ 4474984 w 4946852"/>
              <a:gd name="connsiteY29" fmla="*/ 10916519 h 13716000"/>
              <a:gd name="connsiteX30" fmla="*/ 4654748 w 4946852"/>
              <a:gd name="connsiteY30" fmla="*/ 11477497 h 13716000"/>
              <a:gd name="connsiteX31" fmla="*/ 4776112 w 4946852"/>
              <a:gd name="connsiteY31" fmla="*/ 11738374 h 13716000"/>
              <a:gd name="connsiteX32" fmla="*/ 4836338 w 4946852"/>
              <a:gd name="connsiteY32" fmla="*/ 11878847 h 13716000"/>
              <a:gd name="connsiteX33" fmla="*/ 4895652 w 4946852"/>
              <a:gd name="connsiteY33" fmla="*/ 11999252 h 13716000"/>
              <a:gd name="connsiteX34" fmla="*/ 4776112 w 4946852"/>
              <a:gd name="connsiteY34" fmla="*/ 11858779 h 13716000"/>
              <a:gd name="connsiteX35" fmla="*/ 4714974 w 4946852"/>
              <a:gd name="connsiteY35" fmla="*/ 11698239 h 13716000"/>
              <a:gd name="connsiteX36" fmla="*/ 4634674 w 4946852"/>
              <a:gd name="connsiteY36" fmla="*/ 11798577 h 13716000"/>
              <a:gd name="connsiteX37" fmla="*/ 4554372 w 4946852"/>
              <a:gd name="connsiteY37" fmla="*/ 11898914 h 13716000"/>
              <a:gd name="connsiteX38" fmla="*/ 4374608 w 4946852"/>
              <a:gd name="connsiteY38" fmla="*/ 11537699 h 13716000"/>
              <a:gd name="connsiteX39" fmla="*/ 4254158 w 4946852"/>
              <a:gd name="connsiteY39" fmla="*/ 11137261 h 13716000"/>
              <a:gd name="connsiteX40" fmla="*/ 4153782 w 4946852"/>
              <a:gd name="connsiteY40" fmla="*/ 11176484 h 13716000"/>
              <a:gd name="connsiteX41" fmla="*/ 4234082 w 4946852"/>
              <a:gd name="connsiteY41" fmla="*/ 11417294 h 13716000"/>
              <a:gd name="connsiteX42" fmla="*/ 4314382 w 4946852"/>
              <a:gd name="connsiteY42" fmla="*/ 11617969 h 13716000"/>
              <a:gd name="connsiteX43" fmla="*/ 4354534 w 4946852"/>
              <a:gd name="connsiteY43" fmla="*/ 11718307 h 13716000"/>
              <a:gd name="connsiteX44" fmla="*/ 4394684 w 4946852"/>
              <a:gd name="connsiteY44" fmla="*/ 11838712 h 13716000"/>
              <a:gd name="connsiteX45" fmla="*/ 4494148 w 4946852"/>
              <a:gd name="connsiteY45" fmla="*/ 12059454 h 13716000"/>
              <a:gd name="connsiteX46" fmla="*/ 4394684 w 4946852"/>
              <a:gd name="connsiteY46" fmla="*/ 12521007 h 13716000"/>
              <a:gd name="connsiteX47" fmla="*/ 4193932 w 4946852"/>
              <a:gd name="connsiteY47" fmla="*/ 12199927 h 13716000"/>
              <a:gd name="connsiteX48" fmla="*/ 4033330 w 4946852"/>
              <a:gd name="connsiteY48" fmla="*/ 11818644 h 13716000"/>
              <a:gd name="connsiteX49" fmla="*/ 3892804 w 4946852"/>
              <a:gd name="connsiteY49" fmla="*/ 11438274 h 13716000"/>
              <a:gd name="connsiteX50" fmla="*/ 3752276 w 4946852"/>
              <a:gd name="connsiteY50" fmla="*/ 11056991 h 13716000"/>
              <a:gd name="connsiteX51" fmla="*/ 3732516 w 4946852"/>
              <a:gd name="connsiteY51" fmla="*/ 11200785 h 13716000"/>
              <a:gd name="connsiteX52" fmla="*/ 3698782 w 4946852"/>
              <a:gd name="connsiteY52" fmla="*/ 11214745 h 13716000"/>
              <a:gd name="connsiteX53" fmla="*/ 3687374 w 4946852"/>
              <a:gd name="connsiteY53" fmla="*/ 11181615 h 13716000"/>
              <a:gd name="connsiteX54" fmla="*/ 3531450 w 4946852"/>
              <a:gd name="connsiteY54" fmla="*/ 10695776 h 13716000"/>
              <a:gd name="connsiteX55" fmla="*/ 3231234 w 4946852"/>
              <a:gd name="connsiteY55" fmla="*/ 9673245 h 13716000"/>
              <a:gd name="connsiteX56" fmla="*/ 3129946 w 4946852"/>
              <a:gd name="connsiteY56" fmla="*/ 9693313 h 13716000"/>
              <a:gd name="connsiteX57" fmla="*/ 3191084 w 4946852"/>
              <a:gd name="connsiteY57" fmla="*/ 9953278 h 13716000"/>
              <a:gd name="connsiteX58" fmla="*/ 2990332 w 4946852"/>
              <a:gd name="connsiteY58" fmla="*/ 10014393 h 13716000"/>
              <a:gd name="connsiteX59" fmla="*/ 2809654 w 4946852"/>
              <a:gd name="connsiteY59" fmla="*/ 9452503 h 13716000"/>
              <a:gd name="connsiteX60" fmla="*/ 2769504 w 4946852"/>
              <a:gd name="connsiteY60" fmla="*/ 9291963 h 13716000"/>
              <a:gd name="connsiteX61" fmla="*/ 2729354 w 4946852"/>
              <a:gd name="connsiteY61" fmla="*/ 9131423 h 13716000"/>
              <a:gd name="connsiteX62" fmla="*/ 2628978 w 4946852"/>
              <a:gd name="connsiteY62" fmla="*/ 8830410 h 13716000"/>
              <a:gd name="connsiteX63" fmla="*/ 2548676 w 4946852"/>
              <a:gd name="connsiteY63" fmla="*/ 8570445 h 13716000"/>
              <a:gd name="connsiteX64" fmla="*/ 2448300 w 4946852"/>
              <a:gd name="connsiteY64" fmla="*/ 8389837 h 13716000"/>
              <a:gd name="connsiteX65" fmla="*/ 2227474 w 4946852"/>
              <a:gd name="connsiteY65" fmla="*/ 8349702 h 13716000"/>
              <a:gd name="connsiteX66" fmla="*/ 2268536 w 4946852"/>
              <a:gd name="connsiteY66" fmla="*/ 8609667 h 13716000"/>
              <a:gd name="connsiteX67" fmla="*/ 2107935 w 4946852"/>
              <a:gd name="connsiteY67" fmla="*/ 8630647 h 13716000"/>
              <a:gd name="connsiteX68" fmla="*/ 2147172 w 4946852"/>
              <a:gd name="connsiteY68" fmla="*/ 9051153 h 13716000"/>
              <a:gd name="connsiteX69" fmla="*/ 2207398 w 4946852"/>
              <a:gd name="connsiteY69" fmla="*/ 9492638 h 13716000"/>
              <a:gd name="connsiteX70" fmla="*/ 2327850 w 4946852"/>
              <a:gd name="connsiteY70" fmla="*/ 10334561 h 13716000"/>
              <a:gd name="connsiteX71" fmla="*/ 2167248 w 4946852"/>
              <a:gd name="connsiteY71" fmla="*/ 10394763 h 13716000"/>
              <a:gd name="connsiteX72" fmla="*/ 2066872 w 4946852"/>
              <a:gd name="connsiteY72" fmla="*/ 10014393 h 13716000"/>
              <a:gd name="connsiteX73" fmla="*/ 2107935 w 4946852"/>
              <a:gd name="connsiteY73" fmla="*/ 10254291 h 13716000"/>
              <a:gd name="connsiteX74" fmla="*/ 2086947 w 4946852"/>
              <a:gd name="connsiteY74" fmla="*/ 10454966 h 13716000"/>
              <a:gd name="connsiteX75" fmla="*/ 2027634 w 4946852"/>
              <a:gd name="connsiteY75" fmla="*/ 10715844 h 13716000"/>
              <a:gd name="connsiteX76" fmla="*/ 2047710 w 4946852"/>
              <a:gd name="connsiteY76" fmla="*/ 11137261 h 13716000"/>
              <a:gd name="connsiteX77" fmla="*/ 2167248 w 4946852"/>
              <a:gd name="connsiteY77" fmla="*/ 11658104 h 13716000"/>
              <a:gd name="connsiteX78" fmla="*/ 2608902 w 4946852"/>
              <a:gd name="connsiteY78" fmla="*/ 12841175 h 13716000"/>
              <a:gd name="connsiteX79" fmla="*/ 2508526 w 4946852"/>
              <a:gd name="connsiteY79" fmla="*/ 13042762 h 13716000"/>
              <a:gd name="connsiteX80" fmla="*/ 2689204 w 4946852"/>
              <a:gd name="connsiteY80" fmla="*/ 13403066 h 13716000"/>
              <a:gd name="connsiteX81" fmla="*/ 2793554 w 4946852"/>
              <a:gd name="connsiteY81" fmla="*/ 13716000 h 13716000"/>
              <a:gd name="connsiteX82" fmla="*/ 2642784 w 4946852"/>
              <a:gd name="connsiteY82" fmla="*/ 13716000 h 13716000"/>
              <a:gd name="connsiteX83" fmla="*/ 2480924 w 4946852"/>
              <a:gd name="connsiteY83" fmla="*/ 13389254 h 13716000"/>
              <a:gd name="connsiteX84" fmla="*/ 2307774 w 4946852"/>
              <a:gd name="connsiteY84" fmla="*/ 13001715 h 13716000"/>
              <a:gd name="connsiteX85" fmla="*/ 1746581 w 4946852"/>
              <a:gd name="connsiteY85" fmla="*/ 11397227 h 13716000"/>
              <a:gd name="connsiteX86" fmla="*/ 1284852 w 4946852"/>
              <a:gd name="connsiteY86" fmla="*/ 9793650 h 13716000"/>
              <a:gd name="connsiteX87" fmla="*/ 863272 w 4946852"/>
              <a:gd name="connsiteY87" fmla="*/ 8208317 h 13716000"/>
              <a:gd name="connsiteX88" fmla="*/ 642445 w 4946852"/>
              <a:gd name="connsiteY88" fmla="*/ 7827947 h 13716000"/>
              <a:gd name="connsiteX89" fmla="*/ 583132 w 4946852"/>
              <a:gd name="connsiteY89" fmla="*/ 7427509 h 13716000"/>
              <a:gd name="connsiteX90" fmla="*/ 342229 w 4946852"/>
              <a:gd name="connsiteY90" fmla="*/ 7306192 h 13716000"/>
              <a:gd name="connsiteX91" fmla="*/ 41101 w 4946852"/>
              <a:gd name="connsiteY91" fmla="*/ 5422584 h 13716000"/>
              <a:gd name="connsiteX92" fmla="*/ 81252 w 4946852"/>
              <a:gd name="connsiteY92" fmla="*/ 3637487 h 13716000"/>
              <a:gd name="connsiteX93" fmla="*/ 201703 w 4946852"/>
              <a:gd name="connsiteY93" fmla="*/ 2273809 h 13716000"/>
              <a:gd name="connsiteX94" fmla="*/ 81252 w 4946852"/>
              <a:gd name="connsiteY94" fmla="*/ 2273809 h 13716000"/>
              <a:gd name="connsiteX95" fmla="*/ 141477 w 4946852"/>
              <a:gd name="connsiteY95" fmla="*/ 1872458 h 13716000"/>
              <a:gd name="connsiteX96" fmla="*/ 261928 w 4946852"/>
              <a:gd name="connsiteY96" fmla="*/ 1872458 h 13716000"/>
              <a:gd name="connsiteX97" fmla="*/ 321242 w 4946852"/>
              <a:gd name="connsiteY97" fmla="*/ 1611581 h 13716000"/>
              <a:gd name="connsiteX98" fmla="*/ 422530 w 4946852"/>
              <a:gd name="connsiteY98" fmla="*/ 1611581 h 13716000"/>
              <a:gd name="connsiteX99" fmla="*/ 401542 w 4946852"/>
              <a:gd name="connsiteY99" fmla="*/ 809793 h 13716000"/>
              <a:gd name="connsiteX100" fmla="*/ 522906 w 4946852"/>
              <a:gd name="connsiteY100" fmla="*/ 829860 h 13716000"/>
              <a:gd name="connsiteX101" fmla="*/ 502831 w 4946852"/>
              <a:gd name="connsiteY101" fmla="*/ 288950 h 13716000"/>
              <a:gd name="connsiteX102" fmla="*/ 603207 w 4946852"/>
              <a:gd name="connsiteY102" fmla="*/ 288950 h 13716000"/>
              <a:gd name="connsiteX103" fmla="*/ 502831 w 4946852"/>
              <a:gd name="connsiteY103" fmla="*/ 148477 h 13716000"/>
              <a:gd name="connsiteX104" fmla="*/ 514123 w 4946852"/>
              <a:gd name="connsiteY104" fmla="*/ 1201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946852" h="13716000">
                <a:moveTo>
                  <a:pt x="3814104" y="11540901"/>
                </a:moveTo>
                <a:lnTo>
                  <a:pt x="3832578" y="11577834"/>
                </a:lnTo>
                <a:cubicBezTo>
                  <a:pt x="3852654" y="11617969"/>
                  <a:pt x="3852654" y="11658104"/>
                  <a:pt x="3872728" y="11698239"/>
                </a:cubicBezTo>
                <a:close/>
                <a:moveTo>
                  <a:pt x="3698782" y="11214745"/>
                </a:moveTo>
                <a:lnTo>
                  <a:pt x="3774362" y="11434240"/>
                </a:lnTo>
                <a:lnTo>
                  <a:pt x="3814104" y="11540901"/>
                </a:lnTo>
                <a:lnTo>
                  <a:pt x="3772352" y="11457429"/>
                </a:lnTo>
                <a:cubicBezTo>
                  <a:pt x="3752276" y="11378071"/>
                  <a:pt x="3712126" y="11277734"/>
                  <a:pt x="3692052" y="11217531"/>
                </a:cubicBezTo>
                <a:close/>
                <a:moveTo>
                  <a:pt x="514535" y="0"/>
                </a:moveTo>
                <a:lnTo>
                  <a:pt x="4946852" y="0"/>
                </a:lnTo>
                <a:lnTo>
                  <a:pt x="4935802" y="488713"/>
                </a:lnTo>
                <a:cubicBezTo>
                  <a:pt x="4895652" y="1030535"/>
                  <a:pt x="4855500" y="1551378"/>
                  <a:pt x="4756038" y="2012931"/>
                </a:cubicBezTo>
                <a:cubicBezTo>
                  <a:pt x="4695812" y="2133336"/>
                  <a:pt x="4574448" y="2374146"/>
                  <a:pt x="4515134" y="2474484"/>
                </a:cubicBezTo>
                <a:cubicBezTo>
                  <a:pt x="4413846" y="2956104"/>
                  <a:pt x="4354534" y="3436812"/>
                  <a:pt x="4333546" y="3938500"/>
                </a:cubicBezTo>
                <a:cubicBezTo>
                  <a:pt x="4294308" y="4439275"/>
                  <a:pt x="4294308" y="4940963"/>
                  <a:pt x="4294308" y="5442650"/>
                </a:cubicBezTo>
                <a:cubicBezTo>
                  <a:pt x="4314382" y="5962581"/>
                  <a:pt x="4333546" y="6464269"/>
                  <a:pt x="4374608" y="6965956"/>
                </a:cubicBezTo>
                <a:lnTo>
                  <a:pt x="4493326" y="8459773"/>
                </a:lnTo>
                <a:lnTo>
                  <a:pt x="4484794" y="8421990"/>
                </a:lnTo>
                <a:cubicBezTo>
                  <a:pt x="4459700" y="8319373"/>
                  <a:pt x="4434378" y="8219263"/>
                  <a:pt x="4413846" y="8128959"/>
                </a:cubicBezTo>
                <a:cubicBezTo>
                  <a:pt x="4434834" y="8249365"/>
                  <a:pt x="4454910" y="8349702"/>
                  <a:pt x="4494148" y="8470107"/>
                </a:cubicBezTo>
                <a:lnTo>
                  <a:pt x="4493326" y="8459773"/>
                </a:lnTo>
                <a:lnTo>
                  <a:pt x="4554372" y="8730073"/>
                </a:lnTo>
                <a:cubicBezTo>
                  <a:pt x="4574448" y="8830410"/>
                  <a:pt x="4595436" y="8910680"/>
                  <a:pt x="4595436" y="8990950"/>
                </a:cubicBezTo>
                <a:cubicBezTo>
                  <a:pt x="4615510" y="9071220"/>
                  <a:pt x="4615510" y="9131423"/>
                  <a:pt x="4595436" y="9151490"/>
                </a:cubicBezTo>
                <a:cubicBezTo>
                  <a:pt x="4535210" y="9271895"/>
                  <a:pt x="4494148" y="9372233"/>
                  <a:pt x="4474984" y="9492638"/>
                </a:cubicBezTo>
                <a:cubicBezTo>
                  <a:pt x="4454910" y="9592975"/>
                  <a:pt x="4434834" y="9713380"/>
                  <a:pt x="4434834" y="9833785"/>
                </a:cubicBezTo>
                <a:cubicBezTo>
                  <a:pt x="4434834" y="9953278"/>
                  <a:pt x="4454910" y="10093751"/>
                  <a:pt x="4474984" y="10214156"/>
                </a:cubicBezTo>
                <a:cubicBezTo>
                  <a:pt x="4494148" y="10274358"/>
                  <a:pt x="4494148" y="10354628"/>
                  <a:pt x="4515134" y="10414831"/>
                </a:cubicBezTo>
                <a:cubicBezTo>
                  <a:pt x="4554372" y="10475033"/>
                  <a:pt x="4574448" y="10555303"/>
                  <a:pt x="4595436" y="10615506"/>
                </a:cubicBezTo>
                <a:cubicBezTo>
                  <a:pt x="4494148" y="10655641"/>
                  <a:pt x="4474984" y="10776046"/>
                  <a:pt x="4474984" y="10916519"/>
                </a:cubicBezTo>
                <a:cubicBezTo>
                  <a:pt x="4494148" y="11096214"/>
                  <a:pt x="4574448" y="11277734"/>
                  <a:pt x="4654748" y="11477497"/>
                </a:cubicBezTo>
                <a:cubicBezTo>
                  <a:pt x="4695812" y="11557767"/>
                  <a:pt x="4735050" y="11658104"/>
                  <a:pt x="4776112" y="11738374"/>
                </a:cubicBezTo>
                <a:cubicBezTo>
                  <a:pt x="4795276" y="11798577"/>
                  <a:pt x="4815350" y="11838712"/>
                  <a:pt x="4836338" y="11878847"/>
                </a:cubicBezTo>
                <a:cubicBezTo>
                  <a:pt x="4855500" y="11918982"/>
                  <a:pt x="4875576" y="11959117"/>
                  <a:pt x="4895652" y="11999252"/>
                </a:cubicBezTo>
                <a:cubicBezTo>
                  <a:pt x="4855500" y="11959117"/>
                  <a:pt x="4815350" y="11918982"/>
                  <a:pt x="4776112" y="11858779"/>
                </a:cubicBezTo>
                <a:cubicBezTo>
                  <a:pt x="4756038" y="11818644"/>
                  <a:pt x="4735050" y="11758442"/>
                  <a:pt x="4714974" y="11698239"/>
                </a:cubicBezTo>
                <a:cubicBezTo>
                  <a:pt x="4654748" y="11658104"/>
                  <a:pt x="4634674" y="11738374"/>
                  <a:pt x="4634674" y="11798577"/>
                </a:cubicBezTo>
                <a:cubicBezTo>
                  <a:pt x="4615510" y="11878847"/>
                  <a:pt x="4595436" y="11959117"/>
                  <a:pt x="4554372" y="11898914"/>
                </a:cubicBezTo>
                <a:cubicBezTo>
                  <a:pt x="4474984" y="11818644"/>
                  <a:pt x="4413846" y="11679084"/>
                  <a:pt x="4374608" y="11537699"/>
                </a:cubicBezTo>
                <a:cubicBezTo>
                  <a:pt x="4333546" y="11397227"/>
                  <a:pt x="4294308" y="11236687"/>
                  <a:pt x="4254158" y="11137261"/>
                </a:cubicBezTo>
                <a:cubicBezTo>
                  <a:pt x="4254158" y="11137261"/>
                  <a:pt x="4254158" y="11137261"/>
                  <a:pt x="4153782" y="11176484"/>
                </a:cubicBezTo>
                <a:cubicBezTo>
                  <a:pt x="4173856" y="11256754"/>
                  <a:pt x="4214006" y="11337024"/>
                  <a:pt x="4234082" y="11417294"/>
                </a:cubicBezTo>
                <a:cubicBezTo>
                  <a:pt x="4254158" y="11477497"/>
                  <a:pt x="4294308" y="11557767"/>
                  <a:pt x="4314382" y="11617969"/>
                </a:cubicBezTo>
                <a:cubicBezTo>
                  <a:pt x="4333546" y="11658104"/>
                  <a:pt x="4354534" y="11698239"/>
                  <a:pt x="4354534" y="11718307"/>
                </a:cubicBezTo>
                <a:cubicBezTo>
                  <a:pt x="4374608" y="11758442"/>
                  <a:pt x="4394684" y="11798577"/>
                  <a:pt x="4394684" y="11838712"/>
                </a:cubicBezTo>
                <a:cubicBezTo>
                  <a:pt x="4434834" y="11898914"/>
                  <a:pt x="4454910" y="11979184"/>
                  <a:pt x="4494148" y="12059454"/>
                </a:cubicBezTo>
                <a:cubicBezTo>
                  <a:pt x="4595436" y="12420669"/>
                  <a:pt x="4494148" y="12600365"/>
                  <a:pt x="4394684" y="12521007"/>
                </a:cubicBezTo>
                <a:cubicBezTo>
                  <a:pt x="4314382" y="12420669"/>
                  <a:pt x="4254158" y="12320332"/>
                  <a:pt x="4193932" y="12199927"/>
                </a:cubicBezTo>
                <a:cubicBezTo>
                  <a:pt x="4133706" y="12079522"/>
                  <a:pt x="4073480" y="11959117"/>
                  <a:pt x="4033330" y="11818644"/>
                </a:cubicBezTo>
                <a:cubicBezTo>
                  <a:pt x="3973104" y="11698239"/>
                  <a:pt x="3932954" y="11557767"/>
                  <a:pt x="3892804" y="11438274"/>
                </a:cubicBezTo>
                <a:cubicBezTo>
                  <a:pt x="3832578" y="11297801"/>
                  <a:pt x="3792428" y="11176484"/>
                  <a:pt x="3752276" y="11056991"/>
                </a:cubicBezTo>
                <a:cubicBezTo>
                  <a:pt x="3782390" y="11146611"/>
                  <a:pt x="3767332" y="11180817"/>
                  <a:pt x="3732516" y="11200785"/>
                </a:cubicBezTo>
                <a:lnTo>
                  <a:pt x="3698782" y="11214745"/>
                </a:lnTo>
                <a:lnTo>
                  <a:pt x="3687374" y="11181615"/>
                </a:lnTo>
                <a:cubicBezTo>
                  <a:pt x="3632282" y="11016172"/>
                  <a:pt x="3582094" y="10855860"/>
                  <a:pt x="3531450" y="10695776"/>
                </a:cubicBezTo>
                <a:cubicBezTo>
                  <a:pt x="3431074" y="10354628"/>
                  <a:pt x="3331610" y="10033548"/>
                  <a:pt x="3231234" y="9673245"/>
                </a:cubicBezTo>
                <a:cubicBezTo>
                  <a:pt x="3231234" y="9673245"/>
                  <a:pt x="3231234" y="9673245"/>
                  <a:pt x="3129946" y="9693313"/>
                </a:cubicBezTo>
                <a:cubicBezTo>
                  <a:pt x="3129946" y="9693313"/>
                  <a:pt x="3129946" y="9693313"/>
                  <a:pt x="3191084" y="9953278"/>
                </a:cubicBezTo>
                <a:cubicBezTo>
                  <a:pt x="3129946" y="9953278"/>
                  <a:pt x="3030482" y="9994325"/>
                  <a:pt x="2990332" y="10014393"/>
                </a:cubicBezTo>
                <a:cubicBezTo>
                  <a:pt x="2930106" y="9853853"/>
                  <a:pt x="2869880" y="9652266"/>
                  <a:pt x="2809654" y="9452503"/>
                </a:cubicBezTo>
                <a:cubicBezTo>
                  <a:pt x="2789580" y="9392300"/>
                  <a:pt x="2789580" y="9352165"/>
                  <a:pt x="2769504" y="9291963"/>
                </a:cubicBezTo>
                <a:cubicBezTo>
                  <a:pt x="2749430" y="9231760"/>
                  <a:pt x="2749430" y="9191625"/>
                  <a:pt x="2729354" y="9131423"/>
                </a:cubicBezTo>
                <a:cubicBezTo>
                  <a:pt x="2689204" y="9031085"/>
                  <a:pt x="2669128" y="8930748"/>
                  <a:pt x="2628978" y="8830410"/>
                </a:cubicBezTo>
                <a:cubicBezTo>
                  <a:pt x="2608902" y="8730073"/>
                  <a:pt x="2568752" y="8650715"/>
                  <a:pt x="2548676" y="8570445"/>
                </a:cubicBezTo>
                <a:cubicBezTo>
                  <a:pt x="2508526" y="8490175"/>
                  <a:pt x="2488452" y="8429972"/>
                  <a:pt x="2448300" y="8389837"/>
                </a:cubicBezTo>
                <a:cubicBezTo>
                  <a:pt x="2388076" y="8288587"/>
                  <a:pt x="2307774" y="8269432"/>
                  <a:pt x="2227474" y="8349702"/>
                </a:cubicBezTo>
                <a:cubicBezTo>
                  <a:pt x="2227474" y="8349702"/>
                  <a:pt x="2227474" y="8349702"/>
                  <a:pt x="2268536" y="8609667"/>
                </a:cubicBezTo>
                <a:cubicBezTo>
                  <a:pt x="2207398" y="8609667"/>
                  <a:pt x="2107935" y="8630647"/>
                  <a:pt x="2107935" y="8630647"/>
                </a:cubicBezTo>
                <a:cubicBezTo>
                  <a:pt x="2127098" y="8770208"/>
                  <a:pt x="2127098" y="8910680"/>
                  <a:pt x="2147172" y="9051153"/>
                </a:cubicBezTo>
                <a:cubicBezTo>
                  <a:pt x="2167248" y="9191625"/>
                  <a:pt x="2188236" y="9332098"/>
                  <a:pt x="2207398" y="9492638"/>
                </a:cubicBezTo>
                <a:cubicBezTo>
                  <a:pt x="2247548" y="9793650"/>
                  <a:pt x="2287700" y="10074595"/>
                  <a:pt x="2327850" y="10334561"/>
                </a:cubicBezTo>
                <a:cubicBezTo>
                  <a:pt x="2327850" y="10334561"/>
                  <a:pt x="2227474" y="10374696"/>
                  <a:pt x="2167248" y="10394763"/>
                </a:cubicBezTo>
                <a:cubicBezTo>
                  <a:pt x="2127098" y="10254291"/>
                  <a:pt x="2107935" y="10133886"/>
                  <a:pt x="2066872" y="10014393"/>
                </a:cubicBezTo>
                <a:cubicBezTo>
                  <a:pt x="2086947" y="10093751"/>
                  <a:pt x="2107935" y="10194088"/>
                  <a:pt x="2107935" y="10254291"/>
                </a:cubicBezTo>
                <a:cubicBezTo>
                  <a:pt x="2107935" y="10334561"/>
                  <a:pt x="2107935" y="10394763"/>
                  <a:pt x="2086947" y="10454966"/>
                </a:cubicBezTo>
                <a:cubicBezTo>
                  <a:pt x="2066872" y="10555303"/>
                  <a:pt x="2047710" y="10655641"/>
                  <a:pt x="2027634" y="10715844"/>
                </a:cubicBezTo>
                <a:cubicBezTo>
                  <a:pt x="2006646" y="10836249"/>
                  <a:pt x="2006646" y="10976721"/>
                  <a:pt x="2047710" y="11137261"/>
                </a:cubicBezTo>
                <a:cubicBezTo>
                  <a:pt x="2066872" y="11297801"/>
                  <a:pt x="2107935" y="11477497"/>
                  <a:pt x="2167248" y="11658104"/>
                </a:cubicBezTo>
                <a:cubicBezTo>
                  <a:pt x="2287700" y="12039387"/>
                  <a:pt x="2468376" y="12459892"/>
                  <a:pt x="2608902" y="12841175"/>
                </a:cubicBezTo>
                <a:cubicBezTo>
                  <a:pt x="2649052" y="12981647"/>
                  <a:pt x="2548676" y="13021782"/>
                  <a:pt x="2508526" y="13042762"/>
                </a:cubicBezTo>
                <a:cubicBezTo>
                  <a:pt x="2568752" y="13182323"/>
                  <a:pt x="2628978" y="13282660"/>
                  <a:pt x="2689204" y="13403066"/>
                </a:cubicBezTo>
                <a:lnTo>
                  <a:pt x="2793554" y="13716000"/>
                </a:lnTo>
                <a:lnTo>
                  <a:pt x="2642784" y="13716000"/>
                </a:lnTo>
                <a:lnTo>
                  <a:pt x="2480924" y="13389254"/>
                </a:lnTo>
                <a:cubicBezTo>
                  <a:pt x="2420698" y="13261338"/>
                  <a:pt x="2362982" y="13132154"/>
                  <a:pt x="2307774" y="13001715"/>
                </a:cubicBezTo>
                <a:cubicBezTo>
                  <a:pt x="2086947" y="12480872"/>
                  <a:pt x="1906270" y="11939049"/>
                  <a:pt x="1746581" y="11397227"/>
                </a:cubicBezTo>
                <a:cubicBezTo>
                  <a:pt x="1565904" y="10876384"/>
                  <a:pt x="1425378" y="10334561"/>
                  <a:pt x="1284852" y="9793650"/>
                </a:cubicBezTo>
                <a:cubicBezTo>
                  <a:pt x="1164400" y="9271895"/>
                  <a:pt x="1023874" y="8730073"/>
                  <a:pt x="863272" y="8208317"/>
                </a:cubicBezTo>
                <a:cubicBezTo>
                  <a:pt x="824034" y="7928284"/>
                  <a:pt x="683508" y="8108892"/>
                  <a:pt x="642445" y="7827947"/>
                </a:cubicBezTo>
                <a:cubicBezTo>
                  <a:pt x="622370" y="7687474"/>
                  <a:pt x="603207" y="7547002"/>
                  <a:pt x="583132" y="7427509"/>
                </a:cubicBezTo>
                <a:cubicBezTo>
                  <a:pt x="481843" y="7567069"/>
                  <a:pt x="362304" y="7446664"/>
                  <a:pt x="342229" y="7306192"/>
                </a:cubicBezTo>
                <a:cubicBezTo>
                  <a:pt x="201703" y="6704166"/>
                  <a:pt x="101327" y="6063831"/>
                  <a:pt x="41101" y="5422584"/>
                </a:cubicBezTo>
                <a:cubicBezTo>
                  <a:pt x="-19124" y="4800491"/>
                  <a:pt x="-19124" y="4179310"/>
                  <a:pt x="81252" y="3637487"/>
                </a:cubicBezTo>
                <a:cubicBezTo>
                  <a:pt x="141477" y="3216069"/>
                  <a:pt x="181628" y="2815632"/>
                  <a:pt x="201703" y="2273809"/>
                </a:cubicBezTo>
                <a:cubicBezTo>
                  <a:pt x="141477" y="2273809"/>
                  <a:pt x="141477" y="2273809"/>
                  <a:pt x="81252" y="2273809"/>
                </a:cubicBezTo>
                <a:cubicBezTo>
                  <a:pt x="201703" y="2273809"/>
                  <a:pt x="81252" y="2012931"/>
                  <a:pt x="141477" y="1872458"/>
                </a:cubicBezTo>
                <a:cubicBezTo>
                  <a:pt x="201703" y="1872458"/>
                  <a:pt x="201703" y="1872458"/>
                  <a:pt x="261928" y="1872458"/>
                </a:cubicBezTo>
                <a:cubicBezTo>
                  <a:pt x="302079" y="1872458"/>
                  <a:pt x="321242" y="1752053"/>
                  <a:pt x="321242" y="1611581"/>
                </a:cubicBezTo>
                <a:cubicBezTo>
                  <a:pt x="382380" y="1611581"/>
                  <a:pt x="382380" y="1611581"/>
                  <a:pt x="422530" y="1611581"/>
                </a:cubicBezTo>
                <a:cubicBezTo>
                  <a:pt x="382380" y="1351615"/>
                  <a:pt x="502831" y="1090738"/>
                  <a:pt x="401542" y="809793"/>
                </a:cubicBezTo>
                <a:cubicBezTo>
                  <a:pt x="462680" y="829860"/>
                  <a:pt x="462680" y="829860"/>
                  <a:pt x="522906" y="829860"/>
                </a:cubicBezTo>
                <a:cubicBezTo>
                  <a:pt x="462680" y="689388"/>
                  <a:pt x="603207" y="428510"/>
                  <a:pt x="502831" y="288950"/>
                </a:cubicBezTo>
                <a:cubicBezTo>
                  <a:pt x="542069" y="288950"/>
                  <a:pt x="542069" y="288950"/>
                  <a:pt x="603207" y="288950"/>
                </a:cubicBezTo>
                <a:cubicBezTo>
                  <a:pt x="542069" y="288950"/>
                  <a:pt x="502831" y="288950"/>
                  <a:pt x="502831" y="148477"/>
                </a:cubicBezTo>
                <a:cubicBezTo>
                  <a:pt x="507850" y="98080"/>
                  <a:pt x="511614" y="52814"/>
                  <a:pt x="514123" y="12010"/>
                </a:cubicBezTo>
                <a:close/>
              </a:path>
            </a:pathLst>
          </a:custGeom>
          <a:solidFill>
            <a:schemeClr val="bg1">
              <a:lumMod val="95000"/>
            </a:schemeClr>
          </a:solidFill>
        </p:spPr>
        <p:txBody>
          <a:bodyPr wrap="square">
            <a:noAutofit/>
          </a:bodyPr>
          <a:lstStyle>
            <a:lvl1pPr>
              <a:defRPr sz="1158"/>
            </a:lvl1pPr>
          </a:lstStyle>
          <a:p>
            <a:endParaRPr lang="en-US"/>
          </a:p>
        </p:txBody>
      </p:sp>
    </p:spTree>
    <p:extLst>
      <p:ext uri="{BB962C8B-B14F-4D97-AF65-F5344CB8AC3E}">
        <p14:creationId xmlns:p14="http://schemas.microsoft.com/office/powerpoint/2010/main" val="39951160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1_Big Image Placeholder">
    <p:spTree>
      <p:nvGrpSpPr>
        <p:cNvPr id="1" name=""/>
        <p:cNvGrpSpPr/>
        <p:nvPr/>
      </p:nvGrpSpPr>
      <p:grpSpPr>
        <a:xfrm>
          <a:off x="0" y="0"/>
          <a:ext cx="0" cy="0"/>
          <a:chOff x="0" y="0"/>
          <a:chExt cx="0" cy="0"/>
        </a:xfrm>
      </p:grpSpPr>
      <p:sp>
        <p:nvSpPr>
          <p:cNvPr id="16" name="Picture Placeholder 15"/>
          <p:cNvSpPr>
            <a:spLocks noGrp="1"/>
          </p:cNvSpPr>
          <p:nvPr>
            <p:ph type="pic" sz="quarter" idx="20"/>
          </p:nvPr>
        </p:nvSpPr>
        <p:spPr>
          <a:xfrm>
            <a:off x="-327628" y="-360076"/>
            <a:ext cx="13993629" cy="5735491"/>
          </a:xfrm>
          <a:custGeom>
            <a:avLst/>
            <a:gdLst>
              <a:gd name="connsiteX0" fmla="*/ 16255758 w 23037085"/>
              <a:gd name="connsiteY0" fmla="*/ 9272341 h 9444169"/>
              <a:gd name="connsiteX1" fmla="*/ 16276398 w 23037085"/>
              <a:gd name="connsiteY1" fmla="*/ 9275829 h 9444169"/>
              <a:gd name="connsiteX2" fmla="*/ 16271246 w 23037085"/>
              <a:gd name="connsiteY2" fmla="*/ 9272850 h 9444169"/>
              <a:gd name="connsiteX3" fmla="*/ 15070328 w 23037085"/>
              <a:gd name="connsiteY3" fmla="*/ 9151221 h 9444169"/>
              <a:gd name="connsiteX4" fmla="*/ 15117004 w 23037085"/>
              <a:gd name="connsiteY4" fmla="*/ 9151221 h 9444169"/>
              <a:gd name="connsiteX5" fmla="*/ 15117004 w 23037085"/>
              <a:gd name="connsiteY5" fmla="*/ 9162360 h 9444169"/>
              <a:gd name="connsiteX6" fmla="*/ 15070328 w 23037085"/>
              <a:gd name="connsiteY6" fmla="*/ 9162360 h 9444169"/>
              <a:gd name="connsiteX7" fmla="*/ 15070328 w 23037085"/>
              <a:gd name="connsiteY7" fmla="*/ 9151221 h 9444169"/>
              <a:gd name="connsiteX8" fmla="*/ 14445446 w 23037085"/>
              <a:gd name="connsiteY8" fmla="*/ 9089955 h 9444169"/>
              <a:gd name="connsiteX9" fmla="*/ 14456586 w 23037085"/>
              <a:gd name="connsiteY9" fmla="*/ 9101093 h 9444169"/>
              <a:gd name="connsiteX10" fmla="*/ 14445446 w 23037085"/>
              <a:gd name="connsiteY10" fmla="*/ 9101093 h 9444169"/>
              <a:gd name="connsiteX11" fmla="*/ 14445446 w 23037085"/>
              <a:gd name="connsiteY11" fmla="*/ 9089955 h 9444169"/>
              <a:gd name="connsiteX12" fmla="*/ 16755944 w 23037085"/>
              <a:gd name="connsiteY12" fmla="*/ 9058499 h 9444169"/>
              <a:gd name="connsiteX13" fmla="*/ 16756448 w 23037085"/>
              <a:gd name="connsiteY13" fmla="*/ 9059030 h 9444169"/>
              <a:gd name="connsiteX14" fmla="*/ 16758626 w 23037085"/>
              <a:gd name="connsiteY14" fmla="*/ 9059353 h 9444169"/>
              <a:gd name="connsiteX15" fmla="*/ 18853984 w 23037085"/>
              <a:gd name="connsiteY15" fmla="*/ 9012713 h 9444169"/>
              <a:gd name="connsiteX16" fmla="*/ 18862058 w 23037085"/>
              <a:gd name="connsiteY16" fmla="*/ 9015265 h 9444169"/>
              <a:gd name="connsiteX17" fmla="*/ 18862986 w 23037085"/>
              <a:gd name="connsiteY17" fmla="*/ 9012713 h 9444169"/>
              <a:gd name="connsiteX18" fmla="*/ 21471232 w 23037085"/>
              <a:gd name="connsiteY18" fmla="*/ 9011685 h 9444169"/>
              <a:gd name="connsiteX19" fmla="*/ 21472190 w 23037085"/>
              <a:gd name="connsiteY19" fmla="*/ 9029361 h 9444169"/>
              <a:gd name="connsiteX20" fmla="*/ 21481962 w 23037085"/>
              <a:gd name="connsiteY20" fmla="*/ 9021453 h 9444169"/>
              <a:gd name="connsiteX21" fmla="*/ 21483104 w 23037085"/>
              <a:gd name="connsiteY21" fmla="*/ 9013614 h 9444169"/>
              <a:gd name="connsiteX22" fmla="*/ 21478460 w 23037085"/>
              <a:gd name="connsiteY22" fmla="*/ 9015325 h 9444169"/>
              <a:gd name="connsiteX23" fmla="*/ 21480598 w 23037085"/>
              <a:gd name="connsiteY23" fmla="*/ 9013062 h 9444169"/>
              <a:gd name="connsiteX24" fmla="*/ 21584492 w 23037085"/>
              <a:gd name="connsiteY24" fmla="*/ 8988781 h 9444169"/>
              <a:gd name="connsiteX25" fmla="*/ 21584172 w 23037085"/>
              <a:gd name="connsiteY25" fmla="*/ 8988898 h 9444169"/>
              <a:gd name="connsiteX26" fmla="*/ 21581784 w 23037085"/>
              <a:gd name="connsiteY26" fmla="*/ 8989080 h 9444169"/>
              <a:gd name="connsiteX27" fmla="*/ 21584122 w 23037085"/>
              <a:gd name="connsiteY27" fmla="*/ 8992087 h 9444169"/>
              <a:gd name="connsiteX28" fmla="*/ 21584122 w 23037085"/>
              <a:gd name="connsiteY28" fmla="*/ 8991728 h 9444169"/>
              <a:gd name="connsiteX29" fmla="*/ 21229604 w 23037085"/>
              <a:gd name="connsiteY29" fmla="*/ 8847227 h 9444169"/>
              <a:gd name="connsiteX30" fmla="*/ 21219814 w 23037085"/>
              <a:gd name="connsiteY30" fmla="*/ 8850739 h 9444169"/>
              <a:gd name="connsiteX31" fmla="*/ 21133872 w 23037085"/>
              <a:gd name="connsiteY31" fmla="*/ 8933030 h 9444169"/>
              <a:gd name="connsiteX32" fmla="*/ 20770706 w 23037085"/>
              <a:gd name="connsiteY32" fmla="*/ 8960461 h 9444169"/>
              <a:gd name="connsiteX33" fmla="*/ 20698914 w 23037085"/>
              <a:gd name="connsiteY33" fmla="*/ 8924006 h 9444169"/>
              <a:gd name="connsiteX34" fmla="*/ 20687586 w 23037085"/>
              <a:gd name="connsiteY34" fmla="*/ 8918255 h 9444169"/>
              <a:gd name="connsiteX35" fmla="*/ 20623554 w 23037085"/>
              <a:gd name="connsiteY35" fmla="*/ 8930450 h 9444169"/>
              <a:gd name="connsiteX36" fmla="*/ 20315636 w 23037085"/>
              <a:gd name="connsiteY36" fmla="*/ 8957795 h 9444169"/>
              <a:gd name="connsiteX37" fmla="*/ 20174156 w 23037085"/>
              <a:gd name="connsiteY37" fmla="*/ 8985140 h 9444169"/>
              <a:gd name="connsiteX38" fmla="*/ 20160928 w 23037085"/>
              <a:gd name="connsiteY38" fmla="*/ 8989621 h 9444169"/>
              <a:gd name="connsiteX39" fmla="*/ 20183112 w 23037085"/>
              <a:gd name="connsiteY39" fmla="*/ 8994827 h 9444169"/>
              <a:gd name="connsiteX40" fmla="*/ 20264924 w 23037085"/>
              <a:gd name="connsiteY40" fmla="*/ 9011026 h 9444169"/>
              <a:gd name="connsiteX41" fmla="*/ 20269522 w 23037085"/>
              <a:gd name="connsiteY41" fmla="*/ 9013799 h 9444169"/>
              <a:gd name="connsiteX42" fmla="*/ 20317476 w 23037085"/>
              <a:gd name="connsiteY42" fmla="*/ 9025240 h 9444169"/>
              <a:gd name="connsiteX43" fmla="*/ 20345212 w 23037085"/>
              <a:gd name="connsiteY43" fmla="*/ 9025240 h 9444169"/>
              <a:gd name="connsiteX44" fmla="*/ 20342432 w 23037085"/>
              <a:gd name="connsiteY44" fmla="*/ 9054656 h 9444169"/>
              <a:gd name="connsiteX45" fmla="*/ 20343748 w 23037085"/>
              <a:gd name="connsiteY45" fmla="*/ 9054656 h 9444169"/>
              <a:gd name="connsiteX46" fmla="*/ 20351906 w 23037085"/>
              <a:gd name="connsiteY46" fmla="*/ 9061435 h 9444169"/>
              <a:gd name="connsiteX47" fmla="*/ 20354218 w 23037085"/>
              <a:gd name="connsiteY47" fmla="*/ 9054677 h 9444169"/>
              <a:gd name="connsiteX48" fmla="*/ 20466994 w 23037085"/>
              <a:gd name="connsiteY48" fmla="*/ 9083190 h 9444169"/>
              <a:gd name="connsiteX49" fmla="*/ 20593684 w 23037085"/>
              <a:gd name="connsiteY49" fmla="*/ 9112958 h 9444169"/>
              <a:gd name="connsiteX50" fmla="*/ 20627198 w 23037085"/>
              <a:gd name="connsiteY50" fmla="*/ 9106015 h 9444169"/>
              <a:gd name="connsiteX51" fmla="*/ 20904564 w 23037085"/>
              <a:gd name="connsiteY51" fmla="*/ 9079969 h 9444169"/>
              <a:gd name="connsiteX52" fmla="*/ 21070566 w 23037085"/>
              <a:gd name="connsiteY52" fmla="*/ 8996080 h 9444169"/>
              <a:gd name="connsiteX53" fmla="*/ 21125900 w 23037085"/>
              <a:gd name="connsiteY53" fmla="*/ 8969020 h 9444169"/>
              <a:gd name="connsiteX54" fmla="*/ 21252824 w 23037085"/>
              <a:gd name="connsiteY54" fmla="*/ 8975785 h 9444169"/>
              <a:gd name="connsiteX55" fmla="*/ 21280142 w 23037085"/>
              <a:gd name="connsiteY55" fmla="*/ 8986148 h 9444169"/>
              <a:gd name="connsiteX56" fmla="*/ 21339332 w 23037085"/>
              <a:gd name="connsiteY56" fmla="*/ 8983671 h 9444169"/>
              <a:gd name="connsiteX57" fmla="*/ 21397732 w 23037085"/>
              <a:gd name="connsiteY57" fmla="*/ 8960550 h 9444169"/>
              <a:gd name="connsiteX58" fmla="*/ 21383976 w 23037085"/>
              <a:gd name="connsiteY58" fmla="*/ 8940710 h 9444169"/>
              <a:gd name="connsiteX59" fmla="*/ 21306572 w 23037085"/>
              <a:gd name="connsiteY59" fmla="*/ 8936984 h 9444169"/>
              <a:gd name="connsiteX60" fmla="*/ 21224130 w 23037085"/>
              <a:gd name="connsiteY60" fmla="*/ 8882237 h 9444169"/>
              <a:gd name="connsiteX61" fmla="*/ 13354960 w 23037085"/>
              <a:gd name="connsiteY61" fmla="*/ 8833579 h 9444169"/>
              <a:gd name="connsiteX62" fmla="*/ 13378866 w 23037085"/>
              <a:gd name="connsiteY62" fmla="*/ 8833579 h 9444169"/>
              <a:gd name="connsiteX63" fmla="*/ 13450588 w 23037085"/>
              <a:gd name="connsiteY63" fmla="*/ 8833579 h 9444169"/>
              <a:gd name="connsiteX64" fmla="*/ 13450588 w 23037085"/>
              <a:gd name="connsiteY64" fmla="*/ 8856042 h 9444169"/>
              <a:gd name="connsiteX65" fmla="*/ 13354960 w 23037085"/>
              <a:gd name="connsiteY65" fmla="*/ 8856042 h 9444169"/>
              <a:gd name="connsiteX66" fmla="*/ 13354960 w 23037085"/>
              <a:gd name="connsiteY66" fmla="*/ 8836387 h 9444169"/>
              <a:gd name="connsiteX67" fmla="*/ 8803812 w 23037085"/>
              <a:gd name="connsiteY67" fmla="*/ 8790080 h 9444169"/>
              <a:gd name="connsiteX68" fmla="*/ 8808538 w 23037085"/>
              <a:gd name="connsiteY68" fmla="*/ 8794779 h 9444169"/>
              <a:gd name="connsiteX69" fmla="*/ 8797336 w 23037085"/>
              <a:gd name="connsiteY69" fmla="*/ 8794779 h 9444169"/>
              <a:gd name="connsiteX70" fmla="*/ 8803812 w 23037085"/>
              <a:gd name="connsiteY70" fmla="*/ 8790080 h 9444169"/>
              <a:gd name="connsiteX71" fmla="*/ 14173608 w 23037085"/>
              <a:gd name="connsiteY71" fmla="*/ 8771754 h 9444169"/>
              <a:gd name="connsiteX72" fmla="*/ 14173178 w 23037085"/>
              <a:gd name="connsiteY72" fmla="*/ 8773772 h 9444169"/>
              <a:gd name="connsiteX73" fmla="*/ 14175886 w 23037085"/>
              <a:gd name="connsiteY73" fmla="*/ 8773754 h 9444169"/>
              <a:gd name="connsiteX74" fmla="*/ 14175886 w 23037085"/>
              <a:gd name="connsiteY74" fmla="*/ 8771989 h 9444169"/>
              <a:gd name="connsiteX75" fmla="*/ 18264794 w 23037085"/>
              <a:gd name="connsiteY75" fmla="*/ 8763647 h 9444169"/>
              <a:gd name="connsiteX76" fmla="*/ 18270606 w 23037085"/>
              <a:gd name="connsiteY76" fmla="*/ 8765120 h 9444169"/>
              <a:gd name="connsiteX77" fmla="*/ 18265596 w 23037085"/>
              <a:gd name="connsiteY77" fmla="*/ 8763647 h 9444169"/>
              <a:gd name="connsiteX78" fmla="*/ 13864864 w 23037085"/>
              <a:gd name="connsiteY78" fmla="*/ 8701142 h 9444169"/>
              <a:gd name="connsiteX79" fmla="*/ 13866870 w 23037085"/>
              <a:gd name="connsiteY79" fmla="*/ 8714772 h 9444169"/>
              <a:gd name="connsiteX80" fmla="*/ 13878226 w 23037085"/>
              <a:gd name="connsiteY80" fmla="*/ 8716263 h 9444169"/>
              <a:gd name="connsiteX81" fmla="*/ 13878226 w 23037085"/>
              <a:gd name="connsiteY81" fmla="*/ 8706936 h 9444169"/>
              <a:gd name="connsiteX82" fmla="*/ 18185254 w 23037085"/>
              <a:gd name="connsiteY82" fmla="*/ 8662780 h 9444169"/>
              <a:gd name="connsiteX83" fmla="*/ 18185618 w 23037085"/>
              <a:gd name="connsiteY83" fmla="*/ 8663854 h 9444169"/>
              <a:gd name="connsiteX84" fmla="*/ 18186162 w 23037085"/>
              <a:gd name="connsiteY84" fmla="*/ 8662808 h 9444169"/>
              <a:gd name="connsiteX85" fmla="*/ 21237002 w 23037085"/>
              <a:gd name="connsiteY85" fmla="*/ 8623613 h 9444169"/>
              <a:gd name="connsiteX86" fmla="*/ 21240742 w 23037085"/>
              <a:gd name="connsiteY86" fmla="*/ 8628940 h 9444169"/>
              <a:gd name="connsiteX87" fmla="*/ 21247536 w 23037085"/>
              <a:gd name="connsiteY87" fmla="*/ 8628545 h 9444169"/>
              <a:gd name="connsiteX88" fmla="*/ 6825627 w 23037085"/>
              <a:gd name="connsiteY88" fmla="*/ 8576531 h 9444169"/>
              <a:gd name="connsiteX89" fmla="*/ 6851284 w 23037085"/>
              <a:gd name="connsiteY89" fmla="*/ 8576531 h 9444169"/>
              <a:gd name="connsiteX90" fmla="*/ 6877021 w 23037085"/>
              <a:gd name="connsiteY90" fmla="*/ 8576531 h 9444169"/>
              <a:gd name="connsiteX91" fmla="*/ 6956683 w 23037085"/>
              <a:gd name="connsiteY91" fmla="*/ 8601801 h 9444169"/>
              <a:gd name="connsiteX92" fmla="*/ 6877021 w 23037085"/>
              <a:gd name="connsiteY92" fmla="*/ 8624773 h 9444169"/>
              <a:gd name="connsiteX93" fmla="*/ 6799933 w 23037085"/>
              <a:gd name="connsiteY93" fmla="*/ 8624773 h 9444169"/>
              <a:gd name="connsiteX94" fmla="*/ 6799933 w 23037085"/>
              <a:gd name="connsiteY94" fmla="*/ 8601801 h 9444169"/>
              <a:gd name="connsiteX95" fmla="*/ 6825627 w 23037085"/>
              <a:gd name="connsiteY95" fmla="*/ 8576531 h 9444169"/>
              <a:gd name="connsiteX96" fmla="*/ 13258946 w 23037085"/>
              <a:gd name="connsiteY96" fmla="*/ 8528563 h 9444169"/>
              <a:gd name="connsiteX97" fmla="*/ 13270276 w 23037085"/>
              <a:gd name="connsiteY97" fmla="*/ 8530172 h 9444169"/>
              <a:gd name="connsiteX98" fmla="*/ 13282234 w 23037085"/>
              <a:gd name="connsiteY98" fmla="*/ 8530172 h 9444169"/>
              <a:gd name="connsiteX99" fmla="*/ 19976400 w 23037085"/>
              <a:gd name="connsiteY99" fmla="*/ 8509656 h 9444169"/>
              <a:gd name="connsiteX100" fmla="*/ 19954836 w 23037085"/>
              <a:gd name="connsiteY100" fmla="*/ 8512969 h 9444169"/>
              <a:gd name="connsiteX101" fmla="*/ 19897282 w 23037085"/>
              <a:gd name="connsiteY101" fmla="*/ 8510724 h 9444169"/>
              <a:gd name="connsiteX102" fmla="*/ 19825492 w 23037085"/>
              <a:gd name="connsiteY102" fmla="*/ 8512841 h 9444169"/>
              <a:gd name="connsiteX103" fmla="*/ 19852254 w 23037085"/>
              <a:gd name="connsiteY103" fmla="*/ 8515983 h 9444169"/>
              <a:gd name="connsiteX104" fmla="*/ 19978638 w 23037085"/>
              <a:gd name="connsiteY104" fmla="*/ 8518389 h 9444169"/>
              <a:gd name="connsiteX105" fmla="*/ 19997378 w 23037085"/>
              <a:gd name="connsiteY105" fmla="*/ 8516777 h 9444169"/>
              <a:gd name="connsiteX106" fmla="*/ 20012844 w 23037085"/>
              <a:gd name="connsiteY106" fmla="*/ 8510435 h 9444169"/>
              <a:gd name="connsiteX107" fmla="*/ 20828240 w 23037085"/>
              <a:gd name="connsiteY107" fmla="*/ 8505186 h 9444169"/>
              <a:gd name="connsiteX108" fmla="*/ 20789782 w 23037085"/>
              <a:gd name="connsiteY108" fmla="*/ 8523556 h 9444169"/>
              <a:gd name="connsiteX109" fmla="*/ 20835860 w 23037085"/>
              <a:gd name="connsiteY109" fmla="*/ 8523937 h 9444169"/>
              <a:gd name="connsiteX110" fmla="*/ 20836314 w 23037085"/>
              <a:gd name="connsiteY110" fmla="*/ 8523652 h 9444169"/>
              <a:gd name="connsiteX111" fmla="*/ 20829618 w 23037085"/>
              <a:gd name="connsiteY111" fmla="*/ 8516076 h 9444169"/>
              <a:gd name="connsiteX112" fmla="*/ 18636280 w 23037085"/>
              <a:gd name="connsiteY112" fmla="*/ 8490129 h 9444169"/>
              <a:gd name="connsiteX113" fmla="*/ 18633270 w 23037085"/>
              <a:gd name="connsiteY113" fmla="*/ 8498090 h 9444169"/>
              <a:gd name="connsiteX114" fmla="*/ 18634578 w 23037085"/>
              <a:gd name="connsiteY114" fmla="*/ 8498090 h 9444169"/>
              <a:gd name="connsiteX115" fmla="*/ 18664476 w 23037085"/>
              <a:gd name="connsiteY115" fmla="*/ 8495738 h 9444169"/>
              <a:gd name="connsiteX116" fmla="*/ 18693528 w 23037085"/>
              <a:gd name="connsiteY116" fmla="*/ 8476097 h 9444169"/>
              <a:gd name="connsiteX117" fmla="*/ 18734798 w 23037085"/>
              <a:gd name="connsiteY117" fmla="*/ 8483083 h 9444169"/>
              <a:gd name="connsiteX118" fmla="*/ 18703848 w 23037085"/>
              <a:gd name="connsiteY118" fmla="*/ 8477062 h 9444169"/>
              <a:gd name="connsiteX119" fmla="*/ 6437177 w 23037085"/>
              <a:gd name="connsiteY119" fmla="*/ 8404610 h 9444169"/>
              <a:gd name="connsiteX120" fmla="*/ 6425245 w 23037085"/>
              <a:gd name="connsiteY120" fmla="*/ 8409696 h 9444169"/>
              <a:gd name="connsiteX121" fmla="*/ 6429355 w 23037085"/>
              <a:gd name="connsiteY121" fmla="*/ 8409696 h 9444169"/>
              <a:gd name="connsiteX122" fmla="*/ 6432565 w 23037085"/>
              <a:gd name="connsiteY122" fmla="*/ 8410902 h 9444169"/>
              <a:gd name="connsiteX123" fmla="*/ 7418946 w 23037085"/>
              <a:gd name="connsiteY123" fmla="*/ 8404219 h 9444169"/>
              <a:gd name="connsiteX124" fmla="*/ 7417865 w 23037085"/>
              <a:gd name="connsiteY124" fmla="*/ 8405614 h 9444169"/>
              <a:gd name="connsiteX125" fmla="*/ 7419085 w 23037085"/>
              <a:gd name="connsiteY125" fmla="*/ 8405301 h 9444169"/>
              <a:gd name="connsiteX126" fmla="*/ 4165979 w 23037085"/>
              <a:gd name="connsiteY126" fmla="*/ 8391554 h 9444169"/>
              <a:gd name="connsiteX127" fmla="*/ 4213406 w 23037085"/>
              <a:gd name="connsiteY127" fmla="*/ 8391554 h 9444169"/>
              <a:gd name="connsiteX128" fmla="*/ 4237121 w 23037085"/>
              <a:gd name="connsiteY128" fmla="*/ 8402692 h 9444169"/>
              <a:gd name="connsiteX129" fmla="*/ 4165979 w 23037085"/>
              <a:gd name="connsiteY129" fmla="*/ 8391554 h 9444169"/>
              <a:gd name="connsiteX130" fmla="*/ 4073902 w 23037085"/>
              <a:gd name="connsiteY130" fmla="*/ 8294810 h 9444169"/>
              <a:gd name="connsiteX131" fmla="*/ 4139755 w 23037085"/>
              <a:gd name="connsiteY131" fmla="*/ 8302049 h 9444169"/>
              <a:gd name="connsiteX132" fmla="*/ 4154730 w 23037085"/>
              <a:gd name="connsiteY132" fmla="*/ 8302049 h 9444169"/>
              <a:gd name="connsiteX133" fmla="*/ 4154079 w 23037085"/>
              <a:gd name="connsiteY133" fmla="*/ 8301533 h 9444169"/>
              <a:gd name="connsiteX134" fmla="*/ 4073902 w 23037085"/>
              <a:gd name="connsiteY134" fmla="*/ 8294810 h 9444169"/>
              <a:gd name="connsiteX135" fmla="*/ 13826578 w 23037085"/>
              <a:gd name="connsiteY135" fmla="*/ 8266668 h 9444169"/>
              <a:gd name="connsiteX136" fmla="*/ 13826578 w 23037085"/>
              <a:gd name="connsiteY136" fmla="*/ 8289697 h 9444169"/>
              <a:gd name="connsiteX137" fmla="*/ 13817750 w 23037085"/>
              <a:gd name="connsiteY137" fmla="*/ 8297839 h 9444169"/>
              <a:gd name="connsiteX138" fmla="*/ 13819874 w 23037085"/>
              <a:gd name="connsiteY138" fmla="*/ 8297839 h 9444169"/>
              <a:gd name="connsiteX139" fmla="*/ 13833304 w 23037085"/>
              <a:gd name="connsiteY139" fmla="*/ 8298184 h 9444169"/>
              <a:gd name="connsiteX140" fmla="*/ 13832814 w 23037085"/>
              <a:gd name="connsiteY140" fmla="*/ 8297519 h 9444169"/>
              <a:gd name="connsiteX141" fmla="*/ 13832814 w 23037085"/>
              <a:gd name="connsiteY141" fmla="*/ 8270604 h 9444169"/>
              <a:gd name="connsiteX142" fmla="*/ 13834066 w 23037085"/>
              <a:gd name="connsiteY142" fmla="*/ 8270668 h 9444169"/>
              <a:gd name="connsiteX143" fmla="*/ 13827750 w 23037085"/>
              <a:gd name="connsiteY143" fmla="*/ 8266704 h 9444169"/>
              <a:gd name="connsiteX144" fmla="*/ 18016270 w 23037085"/>
              <a:gd name="connsiteY144" fmla="*/ 8237526 h 9444169"/>
              <a:gd name="connsiteX145" fmla="*/ 18013148 w 23037085"/>
              <a:gd name="connsiteY145" fmla="*/ 8255949 h 9444169"/>
              <a:gd name="connsiteX146" fmla="*/ 18022536 w 23037085"/>
              <a:gd name="connsiteY146" fmla="*/ 8247789 h 9444169"/>
              <a:gd name="connsiteX147" fmla="*/ 18028728 w 23037085"/>
              <a:gd name="connsiteY147" fmla="*/ 8248234 h 9444169"/>
              <a:gd name="connsiteX148" fmla="*/ 18019740 w 23037085"/>
              <a:gd name="connsiteY148" fmla="*/ 8238081 h 9444169"/>
              <a:gd name="connsiteX149" fmla="*/ 6200798 w 23037085"/>
              <a:gd name="connsiteY149" fmla="*/ 8236501 h 9444169"/>
              <a:gd name="connsiteX150" fmla="*/ 6193186 w 23037085"/>
              <a:gd name="connsiteY150" fmla="*/ 8240451 h 9444169"/>
              <a:gd name="connsiteX151" fmla="*/ 6194553 w 23037085"/>
              <a:gd name="connsiteY151" fmla="*/ 8240213 h 9444169"/>
              <a:gd name="connsiteX152" fmla="*/ 6195748 w 23037085"/>
              <a:gd name="connsiteY152" fmla="*/ 8242761 h 9444169"/>
              <a:gd name="connsiteX153" fmla="*/ 14772846 w 23037085"/>
              <a:gd name="connsiteY153" fmla="*/ 8209249 h 9444169"/>
              <a:gd name="connsiteX154" fmla="*/ 14798860 w 23037085"/>
              <a:gd name="connsiteY154" fmla="*/ 8213501 h 9444169"/>
              <a:gd name="connsiteX155" fmla="*/ 14985568 w 23037085"/>
              <a:gd name="connsiteY155" fmla="*/ 8213501 h 9444169"/>
              <a:gd name="connsiteX156" fmla="*/ 14969460 w 23037085"/>
              <a:gd name="connsiteY156" fmla="*/ 8209249 h 9444169"/>
              <a:gd name="connsiteX157" fmla="*/ 14772846 w 23037085"/>
              <a:gd name="connsiteY157" fmla="*/ 8209249 h 9444169"/>
              <a:gd name="connsiteX158" fmla="*/ 14993216 w 23037085"/>
              <a:gd name="connsiteY158" fmla="*/ 8206096 h 9444169"/>
              <a:gd name="connsiteX159" fmla="*/ 14997154 w 23037085"/>
              <a:gd name="connsiteY159" fmla="*/ 8209249 h 9444169"/>
              <a:gd name="connsiteX160" fmla="*/ 14986282 w 23037085"/>
              <a:gd name="connsiteY160" fmla="*/ 8213501 h 9444169"/>
              <a:gd name="connsiteX161" fmla="*/ 15006418 w 23037085"/>
              <a:gd name="connsiteY161" fmla="*/ 8213501 h 9444169"/>
              <a:gd name="connsiteX162" fmla="*/ 15011652 w 23037085"/>
              <a:gd name="connsiteY162" fmla="*/ 8211327 h 9444169"/>
              <a:gd name="connsiteX163" fmla="*/ 3691847 w 23037085"/>
              <a:gd name="connsiteY163" fmla="*/ 8204519 h 9444169"/>
              <a:gd name="connsiteX164" fmla="*/ 3646737 w 23037085"/>
              <a:gd name="connsiteY164" fmla="*/ 8217843 h 9444169"/>
              <a:gd name="connsiteX165" fmla="*/ 3660694 w 23037085"/>
              <a:gd name="connsiteY165" fmla="*/ 8218640 h 9444169"/>
              <a:gd name="connsiteX166" fmla="*/ 3662061 w 23037085"/>
              <a:gd name="connsiteY166" fmla="*/ 8217484 h 9444169"/>
              <a:gd name="connsiteX167" fmla="*/ 3695303 w 23037085"/>
              <a:gd name="connsiteY167" fmla="*/ 8204939 h 9444169"/>
              <a:gd name="connsiteX168" fmla="*/ 17986426 w 23037085"/>
              <a:gd name="connsiteY168" fmla="*/ 8181893 h 9444169"/>
              <a:gd name="connsiteX169" fmla="*/ 17984850 w 23037085"/>
              <a:gd name="connsiteY169" fmla="*/ 8185163 h 9444169"/>
              <a:gd name="connsiteX170" fmla="*/ 17992188 w 23037085"/>
              <a:gd name="connsiteY170" fmla="*/ 8184808 h 9444169"/>
              <a:gd name="connsiteX171" fmla="*/ 17992960 w 23037085"/>
              <a:gd name="connsiteY171" fmla="*/ 8184808 h 9444169"/>
              <a:gd name="connsiteX172" fmla="*/ 17988908 w 23037085"/>
              <a:gd name="connsiteY172" fmla="*/ 8182864 h 9444169"/>
              <a:gd name="connsiteX173" fmla="*/ 5061974 w 23037085"/>
              <a:gd name="connsiteY173" fmla="*/ 8173298 h 9444169"/>
              <a:gd name="connsiteX174" fmla="*/ 5001636 w 23037085"/>
              <a:gd name="connsiteY174" fmla="*/ 8231160 h 9444169"/>
              <a:gd name="connsiteX175" fmla="*/ 4946151 w 23037085"/>
              <a:gd name="connsiteY175" fmla="*/ 8254982 h 9444169"/>
              <a:gd name="connsiteX176" fmla="*/ 4901223 w 23037085"/>
              <a:gd name="connsiteY176" fmla="*/ 8257740 h 9444169"/>
              <a:gd name="connsiteX177" fmla="*/ 5134011 w 23037085"/>
              <a:gd name="connsiteY177" fmla="*/ 8285640 h 9444169"/>
              <a:gd name="connsiteX178" fmla="*/ 5675047 w 23037085"/>
              <a:gd name="connsiteY178" fmla="*/ 8328305 h 9444169"/>
              <a:gd name="connsiteX179" fmla="*/ 5886121 w 23037085"/>
              <a:gd name="connsiteY179" fmla="*/ 8362109 h 9444169"/>
              <a:gd name="connsiteX180" fmla="*/ 6081208 w 23037085"/>
              <a:gd name="connsiteY180" fmla="*/ 8355059 h 9444169"/>
              <a:gd name="connsiteX181" fmla="*/ 6082166 w 23037085"/>
              <a:gd name="connsiteY181" fmla="*/ 8346757 h 9444169"/>
              <a:gd name="connsiteX182" fmla="*/ 5972590 w 23037085"/>
              <a:gd name="connsiteY182" fmla="*/ 8346757 h 9444169"/>
              <a:gd name="connsiteX183" fmla="*/ 5860302 w 23037085"/>
              <a:gd name="connsiteY183" fmla="*/ 8320120 h 9444169"/>
              <a:gd name="connsiteX184" fmla="*/ 5859064 w 23037085"/>
              <a:gd name="connsiteY184" fmla="*/ 8260359 h 9444169"/>
              <a:gd name="connsiteX185" fmla="*/ 5760420 w 23037085"/>
              <a:gd name="connsiteY185" fmla="*/ 8224352 h 9444169"/>
              <a:gd name="connsiteX186" fmla="*/ 5692720 w 23037085"/>
              <a:gd name="connsiteY186" fmla="*/ 8216113 h 9444169"/>
              <a:gd name="connsiteX187" fmla="*/ 5683215 w 23037085"/>
              <a:gd name="connsiteY187" fmla="*/ 8216904 h 9444169"/>
              <a:gd name="connsiteX188" fmla="*/ 5665692 w 23037085"/>
              <a:gd name="connsiteY188" fmla="*/ 8240213 h 9444169"/>
              <a:gd name="connsiteX189" fmla="*/ 5665692 w 23037085"/>
              <a:gd name="connsiteY189" fmla="*/ 8266850 h 9444169"/>
              <a:gd name="connsiteX190" fmla="*/ 5388900 w 23037085"/>
              <a:gd name="connsiteY190" fmla="*/ 8266850 h 9444169"/>
              <a:gd name="connsiteX191" fmla="*/ 5361491 w 23037085"/>
              <a:gd name="connsiteY191" fmla="*/ 8213576 h 9444169"/>
              <a:gd name="connsiteX192" fmla="*/ 5381099 w 23037085"/>
              <a:gd name="connsiteY192" fmla="*/ 8200868 h 9444169"/>
              <a:gd name="connsiteX193" fmla="*/ 5357437 w 23037085"/>
              <a:gd name="connsiteY193" fmla="*/ 8200526 h 9444169"/>
              <a:gd name="connsiteX194" fmla="*/ 5319374 w 23037085"/>
              <a:gd name="connsiteY194" fmla="*/ 8196295 h 9444169"/>
              <a:gd name="connsiteX195" fmla="*/ 5306669 w 23037085"/>
              <a:gd name="connsiteY195" fmla="*/ 8213576 h 9444169"/>
              <a:gd name="connsiteX196" fmla="*/ 5112083 w 23037085"/>
              <a:gd name="connsiteY196" fmla="*/ 8240213 h 9444169"/>
              <a:gd name="connsiteX197" fmla="*/ 5084674 w 23037085"/>
              <a:gd name="connsiteY197" fmla="*/ 8213576 h 9444169"/>
              <a:gd name="connsiteX198" fmla="*/ 5112083 w 23037085"/>
              <a:gd name="connsiteY198" fmla="*/ 8213576 h 9444169"/>
              <a:gd name="connsiteX199" fmla="*/ 5139492 w 23037085"/>
              <a:gd name="connsiteY199" fmla="*/ 8186939 h 9444169"/>
              <a:gd name="connsiteX200" fmla="*/ 5147054 w 23037085"/>
              <a:gd name="connsiteY200" fmla="*/ 8177139 h 9444169"/>
              <a:gd name="connsiteX201" fmla="*/ 5143122 w 23037085"/>
              <a:gd name="connsiteY201" fmla="*/ 8176701 h 9444169"/>
              <a:gd name="connsiteX202" fmla="*/ 5061974 w 23037085"/>
              <a:gd name="connsiteY202" fmla="*/ 8173298 h 9444169"/>
              <a:gd name="connsiteX203" fmla="*/ 3903896 w 23037085"/>
              <a:gd name="connsiteY203" fmla="*/ 8112701 h 9444169"/>
              <a:gd name="connsiteX204" fmla="*/ 3908279 w 23037085"/>
              <a:gd name="connsiteY204" fmla="*/ 8146021 h 9444169"/>
              <a:gd name="connsiteX205" fmla="*/ 3831562 w 23037085"/>
              <a:gd name="connsiteY205" fmla="*/ 8165498 h 9444169"/>
              <a:gd name="connsiteX206" fmla="*/ 3852596 w 23037085"/>
              <a:gd name="connsiteY206" fmla="*/ 8175815 h 9444169"/>
              <a:gd name="connsiteX207" fmla="*/ 3906700 w 23037085"/>
              <a:gd name="connsiteY207" fmla="*/ 8160331 h 9444169"/>
              <a:gd name="connsiteX208" fmla="*/ 4350747 w 23037085"/>
              <a:gd name="connsiteY208" fmla="*/ 8214121 h 9444169"/>
              <a:gd name="connsiteX209" fmla="*/ 4368117 w 23037085"/>
              <a:gd name="connsiteY209" fmla="*/ 8270184 h 9444169"/>
              <a:gd name="connsiteX210" fmla="*/ 4423305 w 23037085"/>
              <a:gd name="connsiteY210" fmla="*/ 8234359 h 9444169"/>
              <a:gd name="connsiteX211" fmla="*/ 4486611 w 23037085"/>
              <a:gd name="connsiteY211" fmla="*/ 8220000 h 9444169"/>
              <a:gd name="connsiteX212" fmla="*/ 4591051 w 23037085"/>
              <a:gd name="connsiteY212" fmla="*/ 8222697 h 9444169"/>
              <a:gd name="connsiteX213" fmla="*/ 4402073 w 23037085"/>
              <a:gd name="connsiteY213" fmla="*/ 8200185 h 9444169"/>
              <a:gd name="connsiteX214" fmla="*/ 3936362 w 23037085"/>
              <a:gd name="connsiteY214" fmla="*/ 8119523 h 9444169"/>
              <a:gd name="connsiteX215" fmla="*/ 2235257 w 23037085"/>
              <a:gd name="connsiteY215" fmla="*/ 8064676 h 9444169"/>
              <a:gd name="connsiteX216" fmla="*/ 2253533 w 23037085"/>
              <a:gd name="connsiteY216" fmla="*/ 8075445 h 9444169"/>
              <a:gd name="connsiteX217" fmla="*/ 2861682 w 23037085"/>
              <a:gd name="connsiteY217" fmla="*/ 8154577 h 9444169"/>
              <a:gd name="connsiteX218" fmla="*/ 3083570 w 23037085"/>
              <a:gd name="connsiteY218" fmla="*/ 8180103 h 9444169"/>
              <a:gd name="connsiteX219" fmla="*/ 3305462 w 23037085"/>
              <a:gd name="connsiteY219" fmla="*/ 8231156 h 9444169"/>
              <a:gd name="connsiteX220" fmla="*/ 3138359 w 23037085"/>
              <a:gd name="connsiteY220" fmla="*/ 8231156 h 9444169"/>
              <a:gd name="connsiteX221" fmla="*/ 3028784 w 23037085"/>
              <a:gd name="connsiteY221" fmla="*/ 8205630 h 9444169"/>
              <a:gd name="connsiteX222" fmla="*/ 2724711 w 23037085"/>
              <a:gd name="connsiteY222" fmla="*/ 8180103 h 9444169"/>
              <a:gd name="connsiteX223" fmla="*/ 2557609 w 23037085"/>
              <a:gd name="connsiteY223" fmla="*/ 8154577 h 9444169"/>
              <a:gd name="connsiteX224" fmla="*/ 2363112 w 23037085"/>
              <a:gd name="connsiteY224" fmla="*/ 8126498 h 9444169"/>
              <a:gd name="connsiteX225" fmla="*/ 2168580 w 23037085"/>
              <a:gd name="connsiteY225" fmla="*/ 8075445 h 9444169"/>
              <a:gd name="connsiteX226" fmla="*/ 2235257 w 23037085"/>
              <a:gd name="connsiteY226" fmla="*/ 8064676 h 9444169"/>
              <a:gd name="connsiteX227" fmla="*/ 12372176 w 23037085"/>
              <a:gd name="connsiteY227" fmla="*/ 8064118 h 9444169"/>
              <a:gd name="connsiteX228" fmla="*/ 12377724 w 23037085"/>
              <a:gd name="connsiteY228" fmla="*/ 8073936 h 9444169"/>
              <a:gd name="connsiteX229" fmla="*/ 12391336 w 23037085"/>
              <a:gd name="connsiteY229" fmla="*/ 8071961 h 9444169"/>
              <a:gd name="connsiteX230" fmla="*/ 12402300 w 23037085"/>
              <a:gd name="connsiteY230" fmla="*/ 8065744 h 9444169"/>
              <a:gd name="connsiteX231" fmla="*/ 12393812 w 23037085"/>
              <a:gd name="connsiteY231" fmla="*/ 8065744 h 9444169"/>
              <a:gd name="connsiteX232" fmla="*/ 7197290 w 23037085"/>
              <a:gd name="connsiteY232" fmla="*/ 8055310 h 9444169"/>
              <a:gd name="connsiteX233" fmla="*/ 7194738 w 23037085"/>
              <a:gd name="connsiteY233" fmla="*/ 8058435 h 9444169"/>
              <a:gd name="connsiteX234" fmla="*/ 7197518 w 23037085"/>
              <a:gd name="connsiteY234" fmla="*/ 8058566 h 9444169"/>
              <a:gd name="connsiteX235" fmla="*/ 7698709 w 23037085"/>
              <a:gd name="connsiteY235" fmla="*/ 8050449 h 9444169"/>
              <a:gd name="connsiteX236" fmla="*/ 7690570 w 23037085"/>
              <a:gd name="connsiteY236" fmla="*/ 8058598 h 9444169"/>
              <a:gd name="connsiteX237" fmla="*/ 7702158 w 23037085"/>
              <a:gd name="connsiteY237" fmla="*/ 8065509 h 9444169"/>
              <a:gd name="connsiteX238" fmla="*/ 7720403 w 23037085"/>
              <a:gd name="connsiteY238" fmla="*/ 8069904 h 9444169"/>
              <a:gd name="connsiteX239" fmla="*/ 7706598 w 23037085"/>
              <a:gd name="connsiteY239" fmla="*/ 8062246 h 9444169"/>
              <a:gd name="connsiteX240" fmla="*/ 7723100 w 23037085"/>
              <a:gd name="connsiteY240" fmla="*/ 8062246 h 9444169"/>
              <a:gd name="connsiteX241" fmla="*/ 7702158 w 23037085"/>
              <a:gd name="connsiteY241" fmla="*/ 8052118 h 9444169"/>
              <a:gd name="connsiteX242" fmla="*/ 11598238 w 23037085"/>
              <a:gd name="connsiteY242" fmla="*/ 8032983 h 9444169"/>
              <a:gd name="connsiteX243" fmla="*/ 11626580 w 23037085"/>
              <a:gd name="connsiteY243" fmla="*/ 8042193 h 9444169"/>
              <a:gd name="connsiteX244" fmla="*/ 11624074 w 23037085"/>
              <a:gd name="connsiteY244" fmla="*/ 8032983 h 9444169"/>
              <a:gd name="connsiteX245" fmla="*/ 13816888 w 23037085"/>
              <a:gd name="connsiteY245" fmla="*/ 8025275 h 9444169"/>
              <a:gd name="connsiteX246" fmla="*/ 13815462 w 23037085"/>
              <a:gd name="connsiteY246" fmla="*/ 8040175 h 9444169"/>
              <a:gd name="connsiteX247" fmla="*/ 13820244 w 23037085"/>
              <a:gd name="connsiteY247" fmla="*/ 8040054 h 9444169"/>
              <a:gd name="connsiteX248" fmla="*/ 13828576 w 23037085"/>
              <a:gd name="connsiteY248" fmla="*/ 8039577 h 9444169"/>
              <a:gd name="connsiteX249" fmla="*/ 13826942 w 23037085"/>
              <a:gd name="connsiteY249" fmla="*/ 8033364 h 9444169"/>
              <a:gd name="connsiteX250" fmla="*/ 10292890 w 23037085"/>
              <a:gd name="connsiteY250" fmla="*/ 8010104 h 9444169"/>
              <a:gd name="connsiteX251" fmla="*/ 10291899 w 23037085"/>
              <a:gd name="connsiteY251" fmla="*/ 8010200 h 9444169"/>
              <a:gd name="connsiteX252" fmla="*/ 10293034 w 23037085"/>
              <a:gd name="connsiteY252" fmla="*/ 8010634 h 9444169"/>
              <a:gd name="connsiteX253" fmla="*/ 13951180 w 23037085"/>
              <a:gd name="connsiteY253" fmla="*/ 8003175 h 9444169"/>
              <a:gd name="connsiteX254" fmla="*/ 13940150 w 23037085"/>
              <a:gd name="connsiteY254" fmla="*/ 8007108 h 9444169"/>
              <a:gd name="connsiteX255" fmla="*/ 13935700 w 23037085"/>
              <a:gd name="connsiteY255" fmla="*/ 8010709 h 9444169"/>
              <a:gd name="connsiteX256" fmla="*/ 13943086 w 23037085"/>
              <a:gd name="connsiteY256" fmla="*/ 8012190 h 9444169"/>
              <a:gd name="connsiteX257" fmla="*/ 13952182 w 23037085"/>
              <a:gd name="connsiteY257" fmla="*/ 8014300 h 9444169"/>
              <a:gd name="connsiteX258" fmla="*/ 14105844 w 23037085"/>
              <a:gd name="connsiteY258" fmla="*/ 7954617 h 9444169"/>
              <a:gd name="connsiteX259" fmla="*/ 14107990 w 23037085"/>
              <a:gd name="connsiteY259" fmla="*/ 7956378 h 9444169"/>
              <a:gd name="connsiteX260" fmla="*/ 14110378 w 23037085"/>
              <a:gd name="connsiteY260" fmla="*/ 7956290 h 9444169"/>
              <a:gd name="connsiteX261" fmla="*/ 6297552 w 23037085"/>
              <a:gd name="connsiteY261" fmla="*/ 7938638 h 9444169"/>
              <a:gd name="connsiteX262" fmla="*/ 6279435 w 23037085"/>
              <a:gd name="connsiteY262" fmla="*/ 7953766 h 9444169"/>
              <a:gd name="connsiteX263" fmla="*/ 6262627 w 23037085"/>
              <a:gd name="connsiteY263" fmla="*/ 7963393 h 9444169"/>
              <a:gd name="connsiteX264" fmla="*/ 6289940 w 23037085"/>
              <a:gd name="connsiteY264" fmla="*/ 7963393 h 9444169"/>
              <a:gd name="connsiteX265" fmla="*/ 6311826 w 23037085"/>
              <a:gd name="connsiteY265" fmla="*/ 7963393 h 9444169"/>
              <a:gd name="connsiteX266" fmla="*/ 6297552 w 23037085"/>
              <a:gd name="connsiteY266" fmla="*/ 7951154 h 9444169"/>
              <a:gd name="connsiteX267" fmla="*/ 6293499 w 23037085"/>
              <a:gd name="connsiteY267" fmla="*/ 7923760 h 9444169"/>
              <a:gd name="connsiteX268" fmla="*/ 6297552 w 23037085"/>
              <a:gd name="connsiteY268" fmla="*/ 7931524 h 9444169"/>
              <a:gd name="connsiteX269" fmla="*/ 6297552 w 23037085"/>
              <a:gd name="connsiteY269" fmla="*/ 7924535 h 9444169"/>
              <a:gd name="connsiteX270" fmla="*/ 19656568 w 23037085"/>
              <a:gd name="connsiteY270" fmla="*/ 7919204 h 9444169"/>
              <a:gd name="connsiteX271" fmla="*/ 19729060 w 23037085"/>
              <a:gd name="connsiteY271" fmla="*/ 7927532 h 9444169"/>
              <a:gd name="connsiteX272" fmla="*/ 19677208 w 23037085"/>
              <a:gd name="connsiteY272" fmla="*/ 7919628 h 9444169"/>
              <a:gd name="connsiteX273" fmla="*/ 10944275 w 23037085"/>
              <a:gd name="connsiteY273" fmla="*/ 7893536 h 9444169"/>
              <a:gd name="connsiteX274" fmla="*/ 10934762 w 23037085"/>
              <a:gd name="connsiteY274" fmla="*/ 7896571 h 9444169"/>
              <a:gd name="connsiteX275" fmla="*/ 10936346 w 23037085"/>
              <a:gd name="connsiteY275" fmla="*/ 7897140 h 9444169"/>
              <a:gd name="connsiteX276" fmla="*/ 10944287 w 23037085"/>
              <a:gd name="connsiteY276" fmla="*/ 7897400 h 9444169"/>
              <a:gd name="connsiteX277" fmla="*/ 18917382 w 23037085"/>
              <a:gd name="connsiteY277" fmla="*/ 7887685 h 9444169"/>
              <a:gd name="connsiteX278" fmla="*/ 18919884 w 23037085"/>
              <a:gd name="connsiteY278" fmla="*/ 7888546 h 9444169"/>
              <a:gd name="connsiteX279" fmla="*/ 18919780 w 23037085"/>
              <a:gd name="connsiteY279" fmla="*/ 7887731 h 9444169"/>
              <a:gd name="connsiteX280" fmla="*/ 3973556 w 23037085"/>
              <a:gd name="connsiteY280" fmla="*/ 7864176 h 9444169"/>
              <a:gd name="connsiteX281" fmla="*/ 4015660 w 23037085"/>
              <a:gd name="connsiteY281" fmla="*/ 7869703 h 9444169"/>
              <a:gd name="connsiteX282" fmla="*/ 3985586 w 23037085"/>
              <a:gd name="connsiteY282" fmla="*/ 7864176 h 9444169"/>
              <a:gd name="connsiteX283" fmla="*/ 19245396 w 23037085"/>
              <a:gd name="connsiteY283" fmla="*/ 7834881 h 9444169"/>
              <a:gd name="connsiteX284" fmla="*/ 19254024 w 23037085"/>
              <a:gd name="connsiteY284" fmla="*/ 7843080 h 9444169"/>
              <a:gd name="connsiteX285" fmla="*/ 19271300 w 23037085"/>
              <a:gd name="connsiteY285" fmla="*/ 7843080 h 9444169"/>
              <a:gd name="connsiteX286" fmla="*/ 19260732 w 23037085"/>
              <a:gd name="connsiteY286" fmla="*/ 7840269 h 9444169"/>
              <a:gd name="connsiteX287" fmla="*/ 19262332 w 23037085"/>
              <a:gd name="connsiteY287" fmla="*/ 7836144 h 9444169"/>
              <a:gd name="connsiteX288" fmla="*/ 19258860 w 23037085"/>
              <a:gd name="connsiteY288" fmla="*/ 7834881 h 9444169"/>
              <a:gd name="connsiteX289" fmla="*/ 19177578 w 23037085"/>
              <a:gd name="connsiteY289" fmla="*/ 7834881 h 9444169"/>
              <a:gd name="connsiteX290" fmla="*/ 19173928 w 23037085"/>
              <a:gd name="connsiteY290" fmla="*/ 7844155 h 9444169"/>
              <a:gd name="connsiteX291" fmla="*/ 19180960 w 23037085"/>
              <a:gd name="connsiteY291" fmla="*/ 7844155 h 9444169"/>
              <a:gd name="connsiteX292" fmla="*/ 19186860 w 23037085"/>
              <a:gd name="connsiteY292" fmla="*/ 7834881 h 9444169"/>
              <a:gd name="connsiteX293" fmla="*/ 11035872 w 23037085"/>
              <a:gd name="connsiteY293" fmla="*/ 7834009 h 9444169"/>
              <a:gd name="connsiteX294" fmla="*/ 11037005 w 23037085"/>
              <a:gd name="connsiteY294" fmla="*/ 7839970 h 9444169"/>
              <a:gd name="connsiteX295" fmla="*/ 11042150 w 23037085"/>
              <a:gd name="connsiteY295" fmla="*/ 7834009 h 9444169"/>
              <a:gd name="connsiteX296" fmla="*/ 9137558 w 23037085"/>
              <a:gd name="connsiteY296" fmla="*/ 7813988 h 9444169"/>
              <a:gd name="connsiteX297" fmla="*/ 9140138 w 23037085"/>
              <a:gd name="connsiteY297" fmla="*/ 7821493 h 9444169"/>
              <a:gd name="connsiteX298" fmla="*/ 9147898 w 23037085"/>
              <a:gd name="connsiteY298" fmla="*/ 7821493 h 9444169"/>
              <a:gd name="connsiteX299" fmla="*/ 3684395 w 23037085"/>
              <a:gd name="connsiteY299" fmla="*/ 7808219 h 9444169"/>
              <a:gd name="connsiteX300" fmla="*/ 3739196 w 23037085"/>
              <a:gd name="connsiteY300" fmla="*/ 7817258 h 9444169"/>
              <a:gd name="connsiteX301" fmla="*/ 3744527 w 23037085"/>
              <a:gd name="connsiteY301" fmla="*/ 7817390 h 9444169"/>
              <a:gd name="connsiteX302" fmla="*/ 3736826 w 23037085"/>
              <a:gd name="connsiteY302" fmla="*/ 7815472 h 9444169"/>
              <a:gd name="connsiteX303" fmla="*/ 3565421 w 23037085"/>
              <a:gd name="connsiteY303" fmla="*/ 7791760 h 9444169"/>
              <a:gd name="connsiteX304" fmla="*/ 3555507 w 23037085"/>
              <a:gd name="connsiteY304" fmla="*/ 7795298 h 9444169"/>
              <a:gd name="connsiteX305" fmla="*/ 3595008 w 23037085"/>
              <a:gd name="connsiteY305" fmla="*/ 7801038 h 9444169"/>
              <a:gd name="connsiteX306" fmla="*/ 3610229 w 23037085"/>
              <a:gd name="connsiteY306" fmla="*/ 7797960 h 9444169"/>
              <a:gd name="connsiteX307" fmla="*/ 17421142 w 23037085"/>
              <a:gd name="connsiteY307" fmla="*/ 7753127 h 9444169"/>
              <a:gd name="connsiteX308" fmla="*/ 17424024 w 23037085"/>
              <a:gd name="connsiteY308" fmla="*/ 7756027 h 9444169"/>
              <a:gd name="connsiteX309" fmla="*/ 17437548 w 23037085"/>
              <a:gd name="connsiteY309" fmla="*/ 7760682 h 9444169"/>
              <a:gd name="connsiteX310" fmla="*/ 17438228 w 23037085"/>
              <a:gd name="connsiteY310" fmla="*/ 7753301 h 9444169"/>
              <a:gd name="connsiteX311" fmla="*/ 17422442 w 23037085"/>
              <a:gd name="connsiteY311" fmla="*/ 7753301 h 9444169"/>
              <a:gd name="connsiteX312" fmla="*/ 18984864 w 23037085"/>
              <a:gd name="connsiteY312" fmla="*/ 7701875 h 9444169"/>
              <a:gd name="connsiteX313" fmla="*/ 18987292 w 23037085"/>
              <a:gd name="connsiteY313" fmla="*/ 7703455 h 9444169"/>
              <a:gd name="connsiteX314" fmla="*/ 18993922 w 23037085"/>
              <a:gd name="connsiteY314" fmla="*/ 7704814 h 9444169"/>
              <a:gd name="connsiteX315" fmla="*/ 18994392 w 23037085"/>
              <a:gd name="connsiteY315" fmla="*/ 7701875 h 9444169"/>
              <a:gd name="connsiteX316" fmla="*/ 18945456 w 23037085"/>
              <a:gd name="connsiteY316" fmla="*/ 7701875 h 9444169"/>
              <a:gd name="connsiteX317" fmla="*/ 18954416 w 23037085"/>
              <a:gd name="connsiteY317" fmla="*/ 7703693 h 9444169"/>
              <a:gd name="connsiteX318" fmla="*/ 18954416 w 23037085"/>
              <a:gd name="connsiteY318" fmla="*/ 7703455 h 9444169"/>
              <a:gd name="connsiteX319" fmla="*/ 18954416 w 23037085"/>
              <a:gd name="connsiteY319" fmla="*/ 7701875 h 9444169"/>
              <a:gd name="connsiteX320" fmla="*/ 17483572 w 23037085"/>
              <a:gd name="connsiteY320" fmla="*/ 7695761 h 9444169"/>
              <a:gd name="connsiteX321" fmla="*/ 17473440 w 23037085"/>
              <a:gd name="connsiteY321" fmla="*/ 7700028 h 9444169"/>
              <a:gd name="connsiteX322" fmla="*/ 17477776 w 23037085"/>
              <a:gd name="connsiteY322" fmla="*/ 7700028 h 9444169"/>
              <a:gd name="connsiteX323" fmla="*/ 17488334 w 23037085"/>
              <a:gd name="connsiteY323" fmla="*/ 7704213 h 9444169"/>
              <a:gd name="connsiteX324" fmla="*/ 17488910 w 23037085"/>
              <a:gd name="connsiteY324" fmla="*/ 7695857 h 9444169"/>
              <a:gd name="connsiteX325" fmla="*/ 13290092 w 23037085"/>
              <a:gd name="connsiteY325" fmla="*/ 7666651 h 9444169"/>
              <a:gd name="connsiteX326" fmla="*/ 13322344 w 23037085"/>
              <a:gd name="connsiteY326" fmla="*/ 7679790 h 9444169"/>
              <a:gd name="connsiteX327" fmla="*/ 13332350 w 23037085"/>
              <a:gd name="connsiteY327" fmla="*/ 7680508 h 9444169"/>
              <a:gd name="connsiteX328" fmla="*/ 13296870 w 23037085"/>
              <a:gd name="connsiteY328" fmla="*/ 7666889 h 9444169"/>
              <a:gd name="connsiteX329" fmla="*/ 20064616 w 23037085"/>
              <a:gd name="connsiteY329" fmla="*/ 7647405 h 9444169"/>
              <a:gd name="connsiteX330" fmla="*/ 20066566 w 23037085"/>
              <a:gd name="connsiteY330" fmla="*/ 7649939 h 9444169"/>
              <a:gd name="connsiteX331" fmla="*/ 20085114 w 23037085"/>
              <a:gd name="connsiteY331" fmla="*/ 7648267 h 9444169"/>
              <a:gd name="connsiteX332" fmla="*/ 20072864 w 23037085"/>
              <a:gd name="connsiteY332" fmla="*/ 7647405 h 9444169"/>
              <a:gd name="connsiteX333" fmla="*/ 2185956 w 23037085"/>
              <a:gd name="connsiteY333" fmla="*/ 7610098 h 9444169"/>
              <a:gd name="connsiteX334" fmla="*/ 2241238 w 23037085"/>
              <a:gd name="connsiteY334" fmla="*/ 7620103 h 9444169"/>
              <a:gd name="connsiteX335" fmla="*/ 2293750 w 23037085"/>
              <a:gd name="connsiteY335" fmla="*/ 7620103 h 9444169"/>
              <a:gd name="connsiteX336" fmla="*/ 2398781 w 23037085"/>
              <a:gd name="connsiteY336" fmla="*/ 7643818 h 9444169"/>
              <a:gd name="connsiteX337" fmla="*/ 2241238 w 23037085"/>
              <a:gd name="connsiteY337" fmla="*/ 7667533 h 9444169"/>
              <a:gd name="connsiteX338" fmla="*/ 2107296 w 23037085"/>
              <a:gd name="connsiteY338" fmla="*/ 7620103 h 9444169"/>
              <a:gd name="connsiteX339" fmla="*/ 2185956 w 23037085"/>
              <a:gd name="connsiteY339" fmla="*/ 7610098 h 9444169"/>
              <a:gd name="connsiteX340" fmla="*/ 2842533 w 23037085"/>
              <a:gd name="connsiteY340" fmla="*/ 7595132 h 9444169"/>
              <a:gd name="connsiteX341" fmla="*/ 2889212 w 23037085"/>
              <a:gd name="connsiteY341" fmla="*/ 7595132 h 9444169"/>
              <a:gd name="connsiteX342" fmla="*/ 2842533 w 23037085"/>
              <a:gd name="connsiteY342" fmla="*/ 7595132 h 9444169"/>
              <a:gd name="connsiteX343" fmla="*/ 5547070 w 23037085"/>
              <a:gd name="connsiteY343" fmla="*/ 7590174 h 9444169"/>
              <a:gd name="connsiteX344" fmla="*/ 5566795 w 23037085"/>
              <a:gd name="connsiteY344" fmla="*/ 7593776 h 9444169"/>
              <a:gd name="connsiteX345" fmla="*/ 5555223 w 23037085"/>
              <a:gd name="connsiteY345" fmla="*/ 7590174 h 9444169"/>
              <a:gd name="connsiteX346" fmla="*/ 11044900 w 23037085"/>
              <a:gd name="connsiteY346" fmla="*/ 7586847 h 9444169"/>
              <a:gd name="connsiteX347" fmla="*/ 11044900 w 23037085"/>
              <a:gd name="connsiteY347" fmla="*/ 7589110 h 9444169"/>
              <a:gd name="connsiteX348" fmla="*/ 11044900 w 23037085"/>
              <a:gd name="connsiteY348" fmla="*/ 7590815 h 9444169"/>
              <a:gd name="connsiteX349" fmla="*/ 11051371 w 23037085"/>
              <a:gd name="connsiteY349" fmla="*/ 7587295 h 9444169"/>
              <a:gd name="connsiteX350" fmla="*/ 11051480 w 23037085"/>
              <a:gd name="connsiteY350" fmla="*/ 7586847 h 9444169"/>
              <a:gd name="connsiteX351" fmla="*/ 11046876 w 23037085"/>
              <a:gd name="connsiteY351" fmla="*/ 7586847 h 9444169"/>
              <a:gd name="connsiteX352" fmla="*/ 5471194 w 23037085"/>
              <a:gd name="connsiteY352" fmla="*/ 7557171 h 9444169"/>
              <a:gd name="connsiteX353" fmla="*/ 5469298 w 23037085"/>
              <a:gd name="connsiteY353" fmla="*/ 7563748 h 9444169"/>
              <a:gd name="connsiteX354" fmla="*/ 5480209 w 23037085"/>
              <a:gd name="connsiteY354" fmla="*/ 7564064 h 9444169"/>
              <a:gd name="connsiteX355" fmla="*/ 15001168 w 23037085"/>
              <a:gd name="connsiteY355" fmla="*/ 7531154 h 9444169"/>
              <a:gd name="connsiteX356" fmla="*/ 15166560 w 23037085"/>
              <a:gd name="connsiteY356" fmla="*/ 7537577 h 9444169"/>
              <a:gd name="connsiteX357" fmla="*/ 15166178 w 23037085"/>
              <a:gd name="connsiteY357" fmla="*/ 7537548 h 9444169"/>
              <a:gd name="connsiteX358" fmla="*/ 15092616 w 23037085"/>
              <a:gd name="connsiteY358" fmla="*/ 7532360 h 9444169"/>
              <a:gd name="connsiteX359" fmla="*/ 15003390 w 23037085"/>
              <a:gd name="connsiteY359" fmla="*/ 7531178 h 9444169"/>
              <a:gd name="connsiteX360" fmla="*/ 7067700 w 23037085"/>
              <a:gd name="connsiteY360" fmla="*/ 7531139 h 9444169"/>
              <a:gd name="connsiteX361" fmla="*/ 7072572 w 23037085"/>
              <a:gd name="connsiteY361" fmla="*/ 7533908 h 9444169"/>
              <a:gd name="connsiteX362" fmla="*/ 7087155 w 23037085"/>
              <a:gd name="connsiteY362" fmla="*/ 7546940 h 9444169"/>
              <a:gd name="connsiteX363" fmla="*/ 7088394 w 23037085"/>
              <a:gd name="connsiteY363" fmla="*/ 7541104 h 9444169"/>
              <a:gd name="connsiteX364" fmla="*/ 7107906 w 23037085"/>
              <a:gd name="connsiteY364" fmla="*/ 7533250 h 9444169"/>
              <a:gd name="connsiteX365" fmla="*/ 7077447 w 23037085"/>
              <a:gd name="connsiteY365" fmla="*/ 7531734 h 9444169"/>
              <a:gd name="connsiteX366" fmla="*/ 21401916 w 23037085"/>
              <a:gd name="connsiteY366" fmla="*/ 7495997 h 9444169"/>
              <a:gd name="connsiteX367" fmla="*/ 21409400 w 23037085"/>
              <a:gd name="connsiteY367" fmla="*/ 7500598 h 9444169"/>
              <a:gd name="connsiteX368" fmla="*/ 21409400 w 23037085"/>
              <a:gd name="connsiteY368" fmla="*/ 7495997 h 9444169"/>
              <a:gd name="connsiteX369" fmla="*/ 4691246 w 23037085"/>
              <a:gd name="connsiteY369" fmla="*/ 7476858 h 9444169"/>
              <a:gd name="connsiteX370" fmla="*/ 4686645 w 23037085"/>
              <a:gd name="connsiteY370" fmla="*/ 7479360 h 9444169"/>
              <a:gd name="connsiteX371" fmla="*/ 4691367 w 23037085"/>
              <a:gd name="connsiteY371" fmla="*/ 7478545 h 9444169"/>
              <a:gd name="connsiteX372" fmla="*/ 3366351 w 23037085"/>
              <a:gd name="connsiteY372" fmla="*/ 7415649 h 9444169"/>
              <a:gd name="connsiteX373" fmla="*/ 3367166 w 23037085"/>
              <a:gd name="connsiteY373" fmla="*/ 7427257 h 9444169"/>
              <a:gd name="connsiteX374" fmla="*/ 3415721 w 23037085"/>
              <a:gd name="connsiteY374" fmla="*/ 7417706 h 9444169"/>
              <a:gd name="connsiteX375" fmla="*/ 3371401 w 23037085"/>
              <a:gd name="connsiteY375" fmla="*/ 7415649 h 9444169"/>
              <a:gd name="connsiteX376" fmla="*/ 10562306 w 23037085"/>
              <a:gd name="connsiteY376" fmla="*/ 7391339 h 9444169"/>
              <a:gd name="connsiteX377" fmla="*/ 10541708 w 23037085"/>
              <a:gd name="connsiteY377" fmla="*/ 7394492 h 9444169"/>
              <a:gd name="connsiteX378" fmla="*/ 10571850 w 23037085"/>
              <a:gd name="connsiteY378" fmla="*/ 7393507 h 9444169"/>
              <a:gd name="connsiteX379" fmla="*/ 12695018 w 23037085"/>
              <a:gd name="connsiteY379" fmla="*/ 7334322 h 9444169"/>
              <a:gd name="connsiteX380" fmla="*/ 12685728 w 23037085"/>
              <a:gd name="connsiteY380" fmla="*/ 7339781 h 9444169"/>
              <a:gd name="connsiteX381" fmla="*/ 12702540 w 23037085"/>
              <a:gd name="connsiteY381" fmla="*/ 7341058 h 9444169"/>
              <a:gd name="connsiteX382" fmla="*/ 12698266 w 23037085"/>
              <a:gd name="connsiteY382" fmla="*/ 7337472 h 9444169"/>
              <a:gd name="connsiteX383" fmla="*/ 12698266 w 23037085"/>
              <a:gd name="connsiteY383" fmla="*/ 7334504 h 9444169"/>
              <a:gd name="connsiteX384" fmla="*/ 3721153 w 23037085"/>
              <a:gd name="connsiteY384" fmla="*/ 7312998 h 9444169"/>
              <a:gd name="connsiteX385" fmla="*/ 3718612 w 23037085"/>
              <a:gd name="connsiteY385" fmla="*/ 7332600 h 9444169"/>
              <a:gd name="connsiteX386" fmla="*/ 3711245 w 23037085"/>
              <a:gd name="connsiteY386" fmla="*/ 7340710 h 9444169"/>
              <a:gd name="connsiteX387" fmla="*/ 3734448 w 23037085"/>
              <a:gd name="connsiteY387" fmla="*/ 7341948 h 9444169"/>
              <a:gd name="connsiteX388" fmla="*/ 3736893 w 23037085"/>
              <a:gd name="connsiteY388" fmla="*/ 7332418 h 9444169"/>
              <a:gd name="connsiteX389" fmla="*/ 3736893 w 23037085"/>
              <a:gd name="connsiteY389" fmla="*/ 7325575 h 9444169"/>
              <a:gd name="connsiteX390" fmla="*/ 3742231 w 23037085"/>
              <a:gd name="connsiteY390" fmla="*/ 7325575 h 9444169"/>
              <a:gd name="connsiteX391" fmla="*/ 3740794 w 23037085"/>
              <a:gd name="connsiteY391" fmla="*/ 7324856 h 9444169"/>
              <a:gd name="connsiteX392" fmla="*/ 3737399 w 23037085"/>
              <a:gd name="connsiteY392" fmla="*/ 7312998 h 9444169"/>
              <a:gd name="connsiteX393" fmla="*/ 2862650 w 23037085"/>
              <a:gd name="connsiteY393" fmla="*/ 7299956 h 9444169"/>
              <a:gd name="connsiteX394" fmla="*/ 2783853 w 23037085"/>
              <a:gd name="connsiteY394" fmla="*/ 7301639 h 9444169"/>
              <a:gd name="connsiteX395" fmla="*/ 2876347 w 23037085"/>
              <a:gd name="connsiteY395" fmla="*/ 7313376 h 9444169"/>
              <a:gd name="connsiteX396" fmla="*/ 2855973 w 23037085"/>
              <a:gd name="connsiteY396" fmla="*/ 7313376 h 9444169"/>
              <a:gd name="connsiteX397" fmla="*/ 2885899 w 23037085"/>
              <a:gd name="connsiteY397" fmla="*/ 7317557 h 9444169"/>
              <a:gd name="connsiteX398" fmla="*/ 2905788 w 23037085"/>
              <a:gd name="connsiteY398" fmla="*/ 7323924 h 9444169"/>
              <a:gd name="connsiteX399" fmla="*/ 2910244 w 23037085"/>
              <a:gd name="connsiteY399" fmla="*/ 7318290 h 9444169"/>
              <a:gd name="connsiteX400" fmla="*/ 2949756 w 23037085"/>
              <a:gd name="connsiteY400" fmla="*/ 7314913 h 9444169"/>
              <a:gd name="connsiteX401" fmla="*/ 3005214 w 23037085"/>
              <a:gd name="connsiteY401" fmla="*/ 7314913 h 9444169"/>
              <a:gd name="connsiteX402" fmla="*/ 3043681 w 23037085"/>
              <a:gd name="connsiteY402" fmla="*/ 7314913 h 9444169"/>
              <a:gd name="connsiteX403" fmla="*/ 2894333 w 23037085"/>
              <a:gd name="connsiteY403" fmla="*/ 7299956 h 9444169"/>
              <a:gd name="connsiteX404" fmla="*/ 2891376 w 23037085"/>
              <a:gd name="connsiteY404" fmla="*/ 7299956 h 9444169"/>
              <a:gd name="connsiteX405" fmla="*/ 4894202 w 23037085"/>
              <a:gd name="connsiteY405" fmla="*/ 7275450 h 9444169"/>
              <a:gd name="connsiteX406" fmla="*/ 4893981 w 23037085"/>
              <a:gd name="connsiteY406" fmla="*/ 7275750 h 9444169"/>
              <a:gd name="connsiteX407" fmla="*/ 4893793 w 23037085"/>
              <a:gd name="connsiteY407" fmla="*/ 7279287 h 9444169"/>
              <a:gd name="connsiteX408" fmla="*/ 4838932 w 23037085"/>
              <a:gd name="connsiteY408" fmla="*/ 7329543 h 9444169"/>
              <a:gd name="connsiteX409" fmla="*/ 4677517 w 23037085"/>
              <a:gd name="connsiteY409" fmla="*/ 7303066 h 9444169"/>
              <a:gd name="connsiteX410" fmla="*/ 4670211 w 23037085"/>
              <a:gd name="connsiteY410" fmla="*/ 7291422 h 9444169"/>
              <a:gd name="connsiteX411" fmla="*/ 4635260 w 23037085"/>
              <a:gd name="connsiteY411" fmla="*/ 7303233 h 9444169"/>
              <a:gd name="connsiteX412" fmla="*/ 4578443 w 23037085"/>
              <a:gd name="connsiteY412" fmla="*/ 7299888 h 9444169"/>
              <a:gd name="connsiteX413" fmla="*/ 4564457 w 23037085"/>
              <a:gd name="connsiteY413" fmla="*/ 7294130 h 9444169"/>
              <a:gd name="connsiteX414" fmla="*/ 4496357 w 23037085"/>
              <a:gd name="connsiteY414" fmla="*/ 7299956 h 9444169"/>
              <a:gd name="connsiteX415" fmla="*/ 4244349 w 23037085"/>
              <a:gd name="connsiteY415" fmla="*/ 7299956 h 9444169"/>
              <a:gd name="connsiteX416" fmla="*/ 3936956 w 23037085"/>
              <a:gd name="connsiteY416" fmla="*/ 7299956 h 9444169"/>
              <a:gd name="connsiteX417" fmla="*/ 3927846 w 23037085"/>
              <a:gd name="connsiteY417" fmla="*/ 7299845 h 9444169"/>
              <a:gd name="connsiteX418" fmla="*/ 3930212 w 23037085"/>
              <a:gd name="connsiteY418" fmla="*/ 7312998 h 9444169"/>
              <a:gd name="connsiteX419" fmla="*/ 3926319 w 23037085"/>
              <a:gd name="connsiteY419" fmla="*/ 7314735 h 9444169"/>
              <a:gd name="connsiteX420" fmla="*/ 4366497 w 23037085"/>
              <a:gd name="connsiteY420" fmla="*/ 7317586 h 9444169"/>
              <a:gd name="connsiteX421" fmla="*/ 4827786 w 23037085"/>
              <a:gd name="connsiteY421" fmla="*/ 7338507 h 9444169"/>
              <a:gd name="connsiteX422" fmla="*/ 4851479 w 23037085"/>
              <a:gd name="connsiteY422" fmla="*/ 7343649 h 9444169"/>
              <a:gd name="connsiteX423" fmla="*/ 4895234 w 23037085"/>
              <a:gd name="connsiteY423" fmla="*/ 7343133 h 9444169"/>
              <a:gd name="connsiteX424" fmla="*/ 4890540 w 23037085"/>
              <a:gd name="connsiteY424" fmla="*/ 7339628 h 9444169"/>
              <a:gd name="connsiteX425" fmla="*/ 4893793 w 23037085"/>
              <a:gd name="connsiteY425" fmla="*/ 7279287 h 9444169"/>
              <a:gd name="connsiteX426" fmla="*/ 4893981 w 23037085"/>
              <a:gd name="connsiteY426" fmla="*/ 7279112 h 9444169"/>
              <a:gd name="connsiteX427" fmla="*/ 4900643 w 23037085"/>
              <a:gd name="connsiteY427" fmla="*/ 7275450 h 9444169"/>
              <a:gd name="connsiteX428" fmla="*/ 20171740 w 23037085"/>
              <a:gd name="connsiteY428" fmla="*/ 7192230 h 9444169"/>
              <a:gd name="connsiteX429" fmla="*/ 20181526 w 23037085"/>
              <a:gd name="connsiteY429" fmla="*/ 7196422 h 9444169"/>
              <a:gd name="connsiteX430" fmla="*/ 20186938 w 23037085"/>
              <a:gd name="connsiteY430" fmla="*/ 7192230 h 9444169"/>
              <a:gd name="connsiteX431" fmla="*/ 20173258 w 23037085"/>
              <a:gd name="connsiteY431" fmla="*/ 7192230 h 9444169"/>
              <a:gd name="connsiteX432" fmla="*/ 5411569 w 23037085"/>
              <a:gd name="connsiteY432" fmla="*/ 7189672 h 9444169"/>
              <a:gd name="connsiteX433" fmla="*/ 5412170 w 23037085"/>
              <a:gd name="connsiteY433" fmla="*/ 7189960 h 9444169"/>
              <a:gd name="connsiteX434" fmla="*/ 5412501 w 23037085"/>
              <a:gd name="connsiteY434" fmla="*/ 7189679 h 9444169"/>
              <a:gd name="connsiteX435" fmla="*/ 5409953 w 23037085"/>
              <a:gd name="connsiteY435" fmla="*/ 7188889 h 9444169"/>
              <a:gd name="connsiteX436" fmla="*/ 5410963 w 23037085"/>
              <a:gd name="connsiteY436" fmla="*/ 7189380 h 9444169"/>
              <a:gd name="connsiteX437" fmla="*/ 5412533 w 23037085"/>
              <a:gd name="connsiteY437" fmla="*/ 7189661 h 9444169"/>
              <a:gd name="connsiteX438" fmla="*/ 5413237 w 23037085"/>
              <a:gd name="connsiteY438" fmla="*/ 7189063 h 9444169"/>
              <a:gd name="connsiteX439" fmla="*/ 5173758 w 23037085"/>
              <a:gd name="connsiteY439" fmla="*/ 7187287 h 9444169"/>
              <a:gd name="connsiteX440" fmla="*/ 5195125 w 23037085"/>
              <a:gd name="connsiteY440" fmla="*/ 7193561 h 9444169"/>
              <a:gd name="connsiteX441" fmla="*/ 5308758 w 23037085"/>
              <a:gd name="connsiteY441" fmla="*/ 7193561 h 9444169"/>
              <a:gd name="connsiteX442" fmla="*/ 5309868 w 23037085"/>
              <a:gd name="connsiteY442" fmla="*/ 7188650 h 9444169"/>
              <a:gd name="connsiteX443" fmla="*/ 20593054 w 23037085"/>
              <a:gd name="connsiteY443" fmla="*/ 7166675 h 9444169"/>
              <a:gd name="connsiteX444" fmla="*/ 20588338 w 23037085"/>
              <a:gd name="connsiteY444" fmla="*/ 7180892 h 9444169"/>
              <a:gd name="connsiteX445" fmla="*/ 20605736 w 23037085"/>
              <a:gd name="connsiteY445" fmla="*/ 7170117 h 9444169"/>
              <a:gd name="connsiteX446" fmla="*/ 20607772 w 23037085"/>
              <a:gd name="connsiteY446" fmla="*/ 7168102 h 9444169"/>
              <a:gd name="connsiteX447" fmla="*/ 5317082 w 23037085"/>
              <a:gd name="connsiteY447" fmla="*/ 7156640 h 9444169"/>
              <a:gd name="connsiteX448" fmla="*/ 5314310 w 23037085"/>
              <a:gd name="connsiteY448" fmla="*/ 7168946 h 9444169"/>
              <a:gd name="connsiteX449" fmla="*/ 5313316 w 23037085"/>
              <a:gd name="connsiteY449" fmla="*/ 7168985 h 9444169"/>
              <a:gd name="connsiteX450" fmla="*/ 5314246 w 23037085"/>
              <a:gd name="connsiteY450" fmla="*/ 7169230 h 9444169"/>
              <a:gd name="connsiteX451" fmla="*/ 5314310 w 23037085"/>
              <a:gd name="connsiteY451" fmla="*/ 7168946 h 9444169"/>
              <a:gd name="connsiteX452" fmla="*/ 5328712 w 23037085"/>
              <a:gd name="connsiteY452" fmla="*/ 7168330 h 9444169"/>
              <a:gd name="connsiteX453" fmla="*/ 5319288 w 23037085"/>
              <a:gd name="connsiteY453" fmla="*/ 7163256 h 9444169"/>
              <a:gd name="connsiteX454" fmla="*/ 4542920 w 23037085"/>
              <a:gd name="connsiteY454" fmla="*/ 7136120 h 9444169"/>
              <a:gd name="connsiteX455" fmla="*/ 4542920 w 23037085"/>
              <a:gd name="connsiteY455" fmla="*/ 7136530 h 9444169"/>
              <a:gd name="connsiteX456" fmla="*/ 4542920 w 23037085"/>
              <a:gd name="connsiteY456" fmla="*/ 7154562 h 9444169"/>
              <a:gd name="connsiteX457" fmla="*/ 4544002 w 23037085"/>
              <a:gd name="connsiteY457" fmla="*/ 7154038 h 9444169"/>
              <a:gd name="connsiteX458" fmla="*/ 4564425 w 23037085"/>
              <a:gd name="connsiteY458" fmla="*/ 7154038 h 9444169"/>
              <a:gd name="connsiteX459" fmla="*/ 4579638 w 23037085"/>
              <a:gd name="connsiteY459" fmla="*/ 7149498 h 9444169"/>
              <a:gd name="connsiteX460" fmla="*/ 4592300 w 23037085"/>
              <a:gd name="connsiteY460" fmla="*/ 7153440 h 9444169"/>
              <a:gd name="connsiteX461" fmla="*/ 4635260 w 23037085"/>
              <a:gd name="connsiteY461" fmla="*/ 7166814 h 9444169"/>
              <a:gd name="connsiteX462" fmla="*/ 4588834 w 23037085"/>
              <a:gd name="connsiteY462" fmla="*/ 7146754 h 9444169"/>
              <a:gd name="connsiteX463" fmla="*/ 4579638 w 23037085"/>
              <a:gd name="connsiteY463" fmla="*/ 7149498 h 9444169"/>
              <a:gd name="connsiteX464" fmla="*/ 4549340 w 23037085"/>
              <a:gd name="connsiteY464" fmla="*/ 7140064 h 9444169"/>
              <a:gd name="connsiteX465" fmla="*/ 10037568 w 23037085"/>
              <a:gd name="connsiteY465" fmla="*/ 7069726 h 9444169"/>
              <a:gd name="connsiteX466" fmla="*/ 10029997 w 23037085"/>
              <a:gd name="connsiteY466" fmla="*/ 7074626 h 9444169"/>
              <a:gd name="connsiteX467" fmla="*/ 10002472 w 23037085"/>
              <a:gd name="connsiteY467" fmla="*/ 7083363 h 9444169"/>
              <a:gd name="connsiteX468" fmla="*/ 10036502 w 23037085"/>
              <a:gd name="connsiteY468" fmla="*/ 7085619 h 9444169"/>
              <a:gd name="connsiteX469" fmla="*/ 10039718 w 23037085"/>
              <a:gd name="connsiteY469" fmla="*/ 7085662 h 9444169"/>
              <a:gd name="connsiteX470" fmla="*/ 10037964 w 23037085"/>
              <a:gd name="connsiteY470" fmla="*/ 7084559 h 9444169"/>
              <a:gd name="connsiteX471" fmla="*/ 21098526 w 23037085"/>
              <a:gd name="connsiteY471" fmla="*/ 7026039 h 9444169"/>
              <a:gd name="connsiteX472" fmla="*/ 21091516 w 23037085"/>
              <a:gd name="connsiteY472" fmla="*/ 7030698 h 9444169"/>
              <a:gd name="connsiteX473" fmla="*/ 21097782 w 23037085"/>
              <a:gd name="connsiteY473" fmla="*/ 7030698 h 9444169"/>
              <a:gd name="connsiteX474" fmla="*/ 21216376 w 23037085"/>
              <a:gd name="connsiteY474" fmla="*/ 6991111 h 9444169"/>
              <a:gd name="connsiteX475" fmla="*/ 21216718 w 23037085"/>
              <a:gd name="connsiteY475" fmla="*/ 6991524 h 9444169"/>
              <a:gd name="connsiteX476" fmla="*/ 21217728 w 23037085"/>
              <a:gd name="connsiteY476" fmla="*/ 6991524 h 9444169"/>
              <a:gd name="connsiteX477" fmla="*/ 20665594 w 23037085"/>
              <a:gd name="connsiteY477" fmla="*/ 6932375 h 9444169"/>
              <a:gd name="connsiteX478" fmla="*/ 20678938 w 23037085"/>
              <a:gd name="connsiteY478" fmla="*/ 6938592 h 9444169"/>
              <a:gd name="connsiteX479" fmla="*/ 20685266 w 23037085"/>
              <a:gd name="connsiteY479" fmla="*/ 6936698 h 9444169"/>
              <a:gd name="connsiteX480" fmla="*/ 20674042 w 23037085"/>
              <a:gd name="connsiteY480" fmla="*/ 6932375 h 9444169"/>
              <a:gd name="connsiteX481" fmla="*/ 20658576 w 23037085"/>
              <a:gd name="connsiteY481" fmla="*/ 6926417 h 9444169"/>
              <a:gd name="connsiteX482" fmla="*/ 20657726 w 23037085"/>
              <a:gd name="connsiteY482" fmla="*/ 6928709 h 9444169"/>
              <a:gd name="connsiteX483" fmla="*/ 20658942 w 23037085"/>
              <a:gd name="connsiteY483" fmla="*/ 6929275 h 9444169"/>
              <a:gd name="connsiteX484" fmla="*/ 20665028 w 23037085"/>
              <a:gd name="connsiteY484" fmla="*/ 6928901 h 9444169"/>
              <a:gd name="connsiteX485" fmla="*/ 16193196 w 23037085"/>
              <a:gd name="connsiteY485" fmla="*/ 6907030 h 9444169"/>
              <a:gd name="connsiteX486" fmla="*/ 16171254 w 23037085"/>
              <a:gd name="connsiteY486" fmla="*/ 6919414 h 9444169"/>
              <a:gd name="connsiteX487" fmla="*/ 16165072 w 23037085"/>
              <a:gd name="connsiteY487" fmla="*/ 6919083 h 9444169"/>
              <a:gd name="connsiteX488" fmla="*/ 16148292 w 23037085"/>
              <a:gd name="connsiteY488" fmla="*/ 6919083 h 9444169"/>
              <a:gd name="connsiteX489" fmla="*/ 16167740 w 23037085"/>
              <a:gd name="connsiteY489" fmla="*/ 6921400 h 9444169"/>
              <a:gd name="connsiteX490" fmla="*/ 16171254 w 23037085"/>
              <a:gd name="connsiteY490" fmla="*/ 6919414 h 9444169"/>
              <a:gd name="connsiteX491" fmla="*/ 16235452 w 23037085"/>
              <a:gd name="connsiteY491" fmla="*/ 6922876 h 9444169"/>
              <a:gd name="connsiteX492" fmla="*/ 16208108 w 23037085"/>
              <a:gd name="connsiteY492" fmla="*/ 6914019 h 9444169"/>
              <a:gd name="connsiteX493" fmla="*/ 19740348 w 23037085"/>
              <a:gd name="connsiteY493" fmla="*/ 6840535 h 9444169"/>
              <a:gd name="connsiteX494" fmla="*/ 19806620 w 23037085"/>
              <a:gd name="connsiteY494" fmla="*/ 6850500 h 9444169"/>
              <a:gd name="connsiteX495" fmla="*/ 19921656 w 23037085"/>
              <a:gd name="connsiteY495" fmla="*/ 6861008 h 9444169"/>
              <a:gd name="connsiteX496" fmla="*/ 19920596 w 23037085"/>
              <a:gd name="connsiteY496" fmla="*/ 6860165 h 9444169"/>
              <a:gd name="connsiteX497" fmla="*/ 19813084 w 23037085"/>
              <a:gd name="connsiteY497" fmla="*/ 6845781 h 9444169"/>
              <a:gd name="connsiteX498" fmla="*/ 21484794 w 23037085"/>
              <a:gd name="connsiteY498" fmla="*/ 6819123 h 9444169"/>
              <a:gd name="connsiteX499" fmla="*/ 21523068 w 23037085"/>
              <a:gd name="connsiteY499" fmla="*/ 6829418 h 9444169"/>
              <a:gd name="connsiteX500" fmla="*/ 21499870 w 23037085"/>
              <a:gd name="connsiteY500" fmla="*/ 6819788 h 9444169"/>
              <a:gd name="connsiteX501" fmla="*/ 20597410 w 23037085"/>
              <a:gd name="connsiteY501" fmla="*/ 6797461 h 9444169"/>
              <a:gd name="connsiteX502" fmla="*/ 20598694 w 23037085"/>
              <a:gd name="connsiteY502" fmla="*/ 6798938 h 9444169"/>
              <a:gd name="connsiteX503" fmla="*/ 20599498 w 23037085"/>
              <a:gd name="connsiteY503" fmla="*/ 6797560 h 9444169"/>
              <a:gd name="connsiteX504" fmla="*/ 6347744 w 23037085"/>
              <a:gd name="connsiteY504" fmla="*/ 6794144 h 9444169"/>
              <a:gd name="connsiteX505" fmla="*/ 6498682 w 23037085"/>
              <a:gd name="connsiteY505" fmla="*/ 6822738 h 9444169"/>
              <a:gd name="connsiteX506" fmla="*/ 6667283 w 23037085"/>
              <a:gd name="connsiteY506" fmla="*/ 6836503 h 9444169"/>
              <a:gd name="connsiteX507" fmla="*/ 6500796 w 23037085"/>
              <a:gd name="connsiteY507" fmla="*/ 6808977 h 9444169"/>
              <a:gd name="connsiteX508" fmla="*/ 6461224 w 23037085"/>
              <a:gd name="connsiteY508" fmla="*/ 6805190 h 9444169"/>
              <a:gd name="connsiteX509" fmla="*/ 6458174 w 23037085"/>
              <a:gd name="connsiteY509" fmla="*/ 6800874 h 9444169"/>
              <a:gd name="connsiteX510" fmla="*/ 3791729 w 23037085"/>
              <a:gd name="connsiteY510" fmla="*/ 6771127 h 9444169"/>
              <a:gd name="connsiteX511" fmla="*/ 3801280 w 23037085"/>
              <a:gd name="connsiteY511" fmla="*/ 6771233 h 9444169"/>
              <a:gd name="connsiteX512" fmla="*/ 3801274 w 23037085"/>
              <a:gd name="connsiteY512" fmla="*/ 6771127 h 9444169"/>
              <a:gd name="connsiteX513" fmla="*/ 20615914 w 23037085"/>
              <a:gd name="connsiteY513" fmla="*/ 6761404 h 9444169"/>
              <a:gd name="connsiteX514" fmla="*/ 20625484 w 23037085"/>
              <a:gd name="connsiteY514" fmla="*/ 6764094 h 9444169"/>
              <a:gd name="connsiteX515" fmla="*/ 20627722 w 23037085"/>
              <a:gd name="connsiteY515" fmla="*/ 6762468 h 9444169"/>
              <a:gd name="connsiteX516" fmla="*/ 9727600 w 23037085"/>
              <a:gd name="connsiteY516" fmla="*/ 6716871 h 9444169"/>
              <a:gd name="connsiteX517" fmla="*/ 9715394 w 23037085"/>
              <a:gd name="connsiteY517" fmla="*/ 6720170 h 9444169"/>
              <a:gd name="connsiteX518" fmla="*/ 9786008 w 23037085"/>
              <a:gd name="connsiteY518" fmla="*/ 6730276 h 9444169"/>
              <a:gd name="connsiteX519" fmla="*/ 9810130 w 23037085"/>
              <a:gd name="connsiteY519" fmla="*/ 6726127 h 9444169"/>
              <a:gd name="connsiteX520" fmla="*/ 22388226 w 23037085"/>
              <a:gd name="connsiteY520" fmla="*/ 6713942 h 9444169"/>
              <a:gd name="connsiteX521" fmla="*/ 22383768 w 23037085"/>
              <a:gd name="connsiteY521" fmla="*/ 6718077 h 9444169"/>
              <a:gd name="connsiteX522" fmla="*/ 22404992 w 23037085"/>
              <a:gd name="connsiteY522" fmla="*/ 6719127 h 9444169"/>
              <a:gd name="connsiteX523" fmla="*/ 4491521 w 23037085"/>
              <a:gd name="connsiteY523" fmla="*/ 6666031 h 9444169"/>
              <a:gd name="connsiteX524" fmla="*/ 4503126 w 23037085"/>
              <a:gd name="connsiteY524" fmla="*/ 6667768 h 9444169"/>
              <a:gd name="connsiteX525" fmla="*/ 4507336 w 23037085"/>
              <a:gd name="connsiteY525" fmla="*/ 6667085 h 9444169"/>
              <a:gd name="connsiteX526" fmla="*/ 4415650 w 23037085"/>
              <a:gd name="connsiteY526" fmla="*/ 6660971 h 9444169"/>
              <a:gd name="connsiteX527" fmla="*/ 4409284 w 23037085"/>
              <a:gd name="connsiteY527" fmla="*/ 6662014 h 9444169"/>
              <a:gd name="connsiteX528" fmla="*/ 4431284 w 23037085"/>
              <a:gd name="connsiteY528" fmla="*/ 6662014 h 9444169"/>
              <a:gd name="connsiteX529" fmla="*/ 10273875 w 23037085"/>
              <a:gd name="connsiteY529" fmla="*/ 6629412 h 9444169"/>
              <a:gd name="connsiteX530" fmla="*/ 10274468 w 23037085"/>
              <a:gd name="connsiteY530" fmla="*/ 6635544 h 9444169"/>
              <a:gd name="connsiteX531" fmla="*/ 10295036 w 23037085"/>
              <a:gd name="connsiteY531" fmla="*/ 6629412 h 9444169"/>
              <a:gd name="connsiteX532" fmla="*/ 16303540 w 23037085"/>
              <a:gd name="connsiteY532" fmla="*/ 6607935 h 9444169"/>
              <a:gd name="connsiteX533" fmla="*/ 16298132 w 23037085"/>
              <a:gd name="connsiteY533" fmla="*/ 6612523 h 9444169"/>
              <a:gd name="connsiteX534" fmla="*/ 16302776 w 23037085"/>
              <a:gd name="connsiteY534" fmla="*/ 6622181 h 9444169"/>
              <a:gd name="connsiteX535" fmla="*/ 13588242 w 23037085"/>
              <a:gd name="connsiteY535" fmla="*/ 6607832 h 9444169"/>
              <a:gd name="connsiteX536" fmla="*/ 13473940 w 23037085"/>
              <a:gd name="connsiteY536" fmla="*/ 6612056 h 9444169"/>
              <a:gd name="connsiteX537" fmla="*/ 13496386 w 23037085"/>
              <a:gd name="connsiteY537" fmla="*/ 6628579 h 9444169"/>
              <a:gd name="connsiteX538" fmla="*/ 13577414 w 23037085"/>
              <a:gd name="connsiteY538" fmla="*/ 6611519 h 9444169"/>
              <a:gd name="connsiteX539" fmla="*/ 2066509 w 23037085"/>
              <a:gd name="connsiteY539" fmla="*/ 6606281 h 9444169"/>
              <a:gd name="connsiteX540" fmla="*/ 2065174 w 23037085"/>
              <a:gd name="connsiteY540" fmla="*/ 6609064 h 9444169"/>
              <a:gd name="connsiteX541" fmla="*/ 2075036 w 23037085"/>
              <a:gd name="connsiteY541" fmla="*/ 6609064 h 9444169"/>
              <a:gd name="connsiteX542" fmla="*/ 13876162 w 23037085"/>
              <a:gd name="connsiteY542" fmla="*/ 6540292 h 9444169"/>
              <a:gd name="connsiteX543" fmla="*/ 13878090 w 23037085"/>
              <a:gd name="connsiteY543" fmla="*/ 6542683 h 9444169"/>
              <a:gd name="connsiteX544" fmla="*/ 13876916 w 23037085"/>
              <a:gd name="connsiteY544" fmla="*/ 6540292 h 9444169"/>
              <a:gd name="connsiteX545" fmla="*/ 15616144 w 23037085"/>
              <a:gd name="connsiteY545" fmla="*/ 6534366 h 9444169"/>
              <a:gd name="connsiteX546" fmla="*/ 15615766 w 23037085"/>
              <a:gd name="connsiteY546" fmla="*/ 6542683 h 9444169"/>
              <a:gd name="connsiteX547" fmla="*/ 15602862 w 23037085"/>
              <a:gd name="connsiteY547" fmla="*/ 6553281 h 9444169"/>
              <a:gd name="connsiteX548" fmla="*/ 15624516 w 23037085"/>
              <a:gd name="connsiteY548" fmla="*/ 6554192 h 9444169"/>
              <a:gd name="connsiteX549" fmla="*/ 15635790 w 23037085"/>
              <a:gd name="connsiteY549" fmla="*/ 6554420 h 9444169"/>
              <a:gd name="connsiteX550" fmla="*/ 15632624 w 23037085"/>
              <a:gd name="connsiteY550" fmla="*/ 6549028 h 9444169"/>
              <a:gd name="connsiteX551" fmla="*/ 17035910 w 23037085"/>
              <a:gd name="connsiteY551" fmla="*/ 6524100 h 9444169"/>
              <a:gd name="connsiteX552" fmla="*/ 17037466 w 23037085"/>
              <a:gd name="connsiteY552" fmla="*/ 6524185 h 9444169"/>
              <a:gd name="connsiteX553" fmla="*/ 17037390 w 23037085"/>
              <a:gd name="connsiteY553" fmla="*/ 6524100 h 9444169"/>
              <a:gd name="connsiteX554" fmla="*/ 13098338 w 23037085"/>
              <a:gd name="connsiteY554" fmla="*/ 6366634 h 9444169"/>
              <a:gd name="connsiteX555" fmla="*/ 13103808 w 23037085"/>
              <a:gd name="connsiteY555" fmla="*/ 6373773 h 9444169"/>
              <a:gd name="connsiteX556" fmla="*/ 13110758 w 23037085"/>
              <a:gd name="connsiteY556" fmla="*/ 6367805 h 9444169"/>
              <a:gd name="connsiteX557" fmla="*/ 12867874 w 23037085"/>
              <a:gd name="connsiteY557" fmla="*/ 6348638 h 9444169"/>
              <a:gd name="connsiteX558" fmla="*/ 12835326 w 23037085"/>
              <a:gd name="connsiteY558" fmla="*/ 6351588 h 9444169"/>
              <a:gd name="connsiteX559" fmla="*/ 13034076 w 23037085"/>
              <a:gd name="connsiteY559" fmla="*/ 6363649 h 9444169"/>
              <a:gd name="connsiteX560" fmla="*/ 13044566 w 23037085"/>
              <a:gd name="connsiteY560" fmla="*/ 6361570 h 9444169"/>
              <a:gd name="connsiteX561" fmla="*/ 12913862 w 23037085"/>
              <a:gd name="connsiteY561" fmla="*/ 6349257 h 9444169"/>
              <a:gd name="connsiteX562" fmla="*/ 8536436 w 23037085"/>
              <a:gd name="connsiteY562" fmla="*/ 6318467 h 9444169"/>
              <a:gd name="connsiteX563" fmla="*/ 8449502 w 23037085"/>
              <a:gd name="connsiteY563" fmla="*/ 6328254 h 9444169"/>
              <a:gd name="connsiteX564" fmla="*/ 8626286 w 23037085"/>
              <a:gd name="connsiteY564" fmla="*/ 6330624 h 9444169"/>
              <a:gd name="connsiteX565" fmla="*/ 12967034 w 23037085"/>
              <a:gd name="connsiteY565" fmla="*/ 6296678 h 9444169"/>
              <a:gd name="connsiteX566" fmla="*/ 12963904 w 23037085"/>
              <a:gd name="connsiteY566" fmla="*/ 6299364 h 9444169"/>
              <a:gd name="connsiteX567" fmla="*/ 12968678 w 23037085"/>
              <a:gd name="connsiteY567" fmla="*/ 6300361 h 9444169"/>
              <a:gd name="connsiteX568" fmla="*/ 13329020 w 23037085"/>
              <a:gd name="connsiteY568" fmla="*/ 6293126 h 9444169"/>
              <a:gd name="connsiteX569" fmla="*/ 13318582 w 23037085"/>
              <a:gd name="connsiteY569" fmla="*/ 6293315 h 9444169"/>
              <a:gd name="connsiteX570" fmla="*/ 13298102 w 23037085"/>
              <a:gd name="connsiteY570" fmla="*/ 6295695 h 9444169"/>
              <a:gd name="connsiteX571" fmla="*/ 13294254 w 23037085"/>
              <a:gd name="connsiteY571" fmla="*/ 6297532 h 9444169"/>
              <a:gd name="connsiteX572" fmla="*/ 13315476 w 23037085"/>
              <a:gd name="connsiteY572" fmla="*/ 6297532 h 9444169"/>
              <a:gd name="connsiteX573" fmla="*/ 13315476 w 23037085"/>
              <a:gd name="connsiteY573" fmla="*/ 6304194 h 9444169"/>
              <a:gd name="connsiteX574" fmla="*/ 13319158 w 23037085"/>
              <a:gd name="connsiteY574" fmla="*/ 6297930 h 9444169"/>
              <a:gd name="connsiteX575" fmla="*/ 13324540 w 23037085"/>
              <a:gd name="connsiteY575" fmla="*/ 6298372 h 9444169"/>
              <a:gd name="connsiteX576" fmla="*/ 3925316 w 23037085"/>
              <a:gd name="connsiteY576" fmla="*/ 6279543 h 9444169"/>
              <a:gd name="connsiteX577" fmla="*/ 3927657 w 23037085"/>
              <a:gd name="connsiteY577" fmla="*/ 6286813 h 9444169"/>
              <a:gd name="connsiteX578" fmla="*/ 3881800 w 23037085"/>
              <a:gd name="connsiteY578" fmla="*/ 6313717 h 9444169"/>
              <a:gd name="connsiteX579" fmla="*/ 3936771 w 23037085"/>
              <a:gd name="connsiteY579" fmla="*/ 6304062 h 9444169"/>
              <a:gd name="connsiteX580" fmla="*/ 3940237 w 23037085"/>
              <a:gd name="connsiteY580" fmla="*/ 6290781 h 9444169"/>
              <a:gd name="connsiteX581" fmla="*/ 3950122 w 23037085"/>
              <a:gd name="connsiteY581" fmla="*/ 6285375 h 9444169"/>
              <a:gd name="connsiteX582" fmla="*/ 3936212 w 23037085"/>
              <a:gd name="connsiteY582" fmla="*/ 6285375 h 9444169"/>
              <a:gd name="connsiteX583" fmla="*/ 15420928 w 23037085"/>
              <a:gd name="connsiteY583" fmla="*/ 6263553 h 9444169"/>
              <a:gd name="connsiteX584" fmla="*/ 15427372 w 23037085"/>
              <a:gd name="connsiteY584" fmla="*/ 6267208 h 9444169"/>
              <a:gd name="connsiteX585" fmla="*/ 15455042 w 23037085"/>
              <a:gd name="connsiteY585" fmla="*/ 6266820 h 9444169"/>
              <a:gd name="connsiteX586" fmla="*/ 15459112 w 23037085"/>
              <a:gd name="connsiteY586" fmla="*/ 6264802 h 9444169"/>
              <a:gd name="connsiteX587" fmla="*/ 9478654 w 23037085"/>
              <a:gd name="connsiteY587" fmla="*/ 6260407 h 9444169"/>
              <a:gd name="connsiteX588" fmla="*/ 9476928 w 23037085"/>
              <a:gd name="connsiteY588" fmla="*/ 6260870 h 9444169"/>
              <a:gd name="connsiteX589" fmla="*/ 9473484 w 23037085"/>
              <a:gd name="connsiteY589" fmla="*/ 6274318 h 9444169"/>
              <a:gd name="connsiteX590" fmla="*/ 9467781 w 23037085"/>
              <a:gd name="connsiteY590" fmla="*/ 6277500 h 9444169"/>
              <a:gd name="connsiteX591" fmla="*/ 9484782 w 23037085"/>
              <a:gd name="connsiteY591" fmla="*/ 6277500 h 9444169"/>
              <a:gd name="connsiteX592" fmla="*/ 9172980 w 23037085"/>
              <a:gd name="connsiteY592" fmla="*/ 6237756 h 9444169"/>
              <a:gd name="connsiteX593" fmla="*/ 9164094 w 23037085"/>
              <a:gd name="connsiteY593" fmla="*/ 6251642 h 9444169"/>
              <a:gd name="connsiteX594" fmla="*/ 9212706 w 23037085"/>
              <a:gd name="connsiteY594" fmla="*/ 6252685 h 9444169"/>
              <a:gd name="connsiteX595" fmla="*/ 9180724 w 23037085"/>
              <a:gd name="connsiteY595" fmla="*/ 6238372 h 9444169"/>
              <a:gd name="connsiteX596" fmla="*/ 14276134 w 23037085"/>
              <a:gd name="connsiteY596" fmla="*/ 6219892 h 9444169"/>
              <a:gd name="connsiteX597" fmla="*/ 14742826 w 23037085"/>
              <a:gd name="connsiteY597" fmla="*/ 6234742 h 9444169"/>
              <a:gd name="connsiteX598" fmla="*/ 14922778 w 23037085"/>
              <a:gd name="connsiteY598" fmla="*/ 6247265 h 9444169"/>
              <a:gd name="connsiteX599" fmla="*/ 15053150 w 23037085"/>
              <a:gd name="connsiteY599" fmla="*/ 6251528 h 9444169"/>
              <a:gd name="connsiteX600" fmla="*/ 14943486 w 23037085"/>
              <a:gd name="connsiteY600" fmla="*/ 6241550 h 9444169"/>
              <a:gd name="connsiteX601" fmla="*/ 14813850 w 23037085"/>
              <a:gd name="connsiteY601" fmla="*/ 6237002 h 9444169"/>
              <a:gd name="connsiteX602" fmla="*/ 14742826 w 23037085"/>
              <a:gd name="connsiteY602" fmla="*/ 6234742 h 9444169"/>
              <a:gd name="connsiteX603" fmla="*/ 14608866 w 23037085"/>
              <a:gd name="connsiteY603" fmla="*/ 6225418 h 9444169"/>
              <a:gd name="connsiteX604" fmla="*/ 14503272 w 23037085"/>
              <a:gd name="connsiteY604" fmla="*/ 6222461 h 9444169"/>
              <a:gd name="connsiteX605" fmla="*/ 7638364 w 23037085"/>
              <a:gd name="connsiteY605" fmla="*/ 6154572 h 9444169"/>
              <a:gd name="connsiteX606" fmla="*/ 7629051 w 23037085"/>
              <a:gd name="connsiteY606" fmla="*/ 6156372 h 9444169"/>
              <a:gd name="connsiteX607" fmla="*/ 7638364 w 23037085"/>
              <a:gd name="connsiteY607" fmla="*/ 6156372 h 9444169"/>
              <a:gd name="connsiteX608" fmla="*/ 1409410 w 23037085"/>
              <a:gd name="connsiteY608" fmla="*/ 6088572 h 9444169"/>
              <a:gd name="connsiteX609" fmla="*/ 1414058 w 23037085"/>
              <a:gd name="connsiteY609" fmla="*/ 6099494 h 9444169"/>
              <a:gd name="connsiteX610" fmla="*/ 1415994 w 23037085"/>
              <a:gd name="connsiteY610" fmla="*/ 6107270 h 9444169"/>
              <a:gd name="connsiteX611" fmla="*/ 1420393 w 23037085"/>
              <a:gd name="connsiteY611" fmla="*/ 6094387 h 9444169"/>
              <a:gd name="connsiteX612" fmla="*/ 9345826 w 23037085"/>
              <a:gd name="connsiteY612" fmla="*/ 6069270 h 9444169"/>
              <a:gd name="connsiteX613" fmla="*/ 9345826 w 23037085"/>
              <a:gd name="connsiteY613" fmla="*/ 6091604 h 9444169"/>
              <a:gd name="connsiteX614" fmla="*/ 9345826 w 23037085"/>
              <a:gd name="connsiteY614" fmla="*/ 6095366 h 9444169"/>
              <a:gd name="connsiteX615" fmla="*/ 9294396 w 23037085"/>
              <a:gd name="connsiteY615" fmla="*/ 6120227 h 9444169"/>
              <a:gd name="connsiteX616" fmla="*/ 9347324 w 23037085"/>
              <a:gd name="connsiteY616" fmla="*/ 6115294 h 9444169"/>
              <a:gd name="connsiteX617" fmla="*/ 9343410 w 23037085"/>
              <a:gd name="connsiteY617" fmla="*/ 6110060 h 9444169"/>
              <a:gd name="connsiteX618" fmla="*/ 9364192 w 23037085"/>
              <a:gd name="connsiteY618" fmla="*/ 6080291 h 9444169"/>
              <a:gd name="connsiteX619" fmla="*/ 9391576 w 23037085"/>
              <a:gd name="connsiteY619" fmla="*/ 6069270 h 9444169"/>
              <a:gd name="connsiteX620" fmla="*/ 9364626 w 23037085"/>
              <a:gd name="connsiteY620" fmla="*/ 6069270 h 9444169"/>
              <a:gd name="connsiteX621" fmla="*/ 17341684 w 23037085"/>
              <a:gd name="connsiteY621" fmla="*/ 6053985 h 9444169"/>
              <a:gd name="connsiteX622" fmla="*/ 17340964 w 23037085"/>
              <a:gd name="connsiteY622" fmla="*/ 6055124 h 9444169"/>
              <a:gd name="connsiteX623" fmla="*/ 17342146 w 23037085"/>
              <a:gd name="connsiteY623" fmla="*/ 6056754 h 9444169"/>
              <a:gd name="connsiteX624" fmla="*/ 1016947 w 23037085"/>
              <a:gd name="connsiteY624" fmla="*/ 6051331 h 9444169"/>
              <a:gd name="connsiteX625" fmla="*/ 999609 w 23037085"/>
              <a:gd name="connsiteY625" fmla="*/ 6065633 h 9444169"/>
              <a:gd name="connsiteX626" fmla="*/ 999374 w 23037085"/>
              <a:gd name="connsiteY626" fmla="*/ 6065751 h 9444169"/>
              <a:gd name="connsiteX627" fmla="*/ 999374 w 23037085"/>
              <a:gd name="connsiteY627" fmla="*/ 6069907 h 9444169"/>
              <a:gd name="connsiteX628" fmla="*/ 1006983 w 23037085"/>
              <a:gd name="connsiteY628" fmla="*/ 6069907 h 9444169"/>
              <a:gd name="connsiteX629" fmla="*/ 1016947 w 23037085"/>
              <a:gd name="connsiteY629" fmla="*/ 6059900 h 9444169"/>
              <a:gd name="connsiteX630" fmla="*/ 1016947 w 23037085"/>
              <a:gd name="connsiteY630" fmla="*/ 6054484 h 9444169"/>
              <a:gd name="connsiteX631" fmla="*/ 698365 w 23037085"/>
              <a:gd name="connsiteY631" fmla="*/ 6051299 h 9444169"/>
              <a:gd name="connsiteX632" fmla="*/ 709504 w 23037085"/>
              <a:gd name="connsiteY632" fmla="*/ 6051299 h 9444169"/>
              <a:gd name="connsiteX633" fmla="*/ 709504 w 23037085"/>
              <a:gd name="connsiteY633" fmla="*/ 6062437 h 9444169"/>
              <a:gd name="connsiteX634" fmla="*/ 698365 w 23037085"/>
              <a:gd name="connsiteY634" fmla="*/ 6051299 h 9444169"/>
              <a:gd name="connsiteX635" fmla="*/ 17345160 w 23037085"/>
              <a:gd name="connsiteY635" fmla="*/ 6048476 h 9444169"/>
              <a:gd name="connsiteX636" fmla="*/ 17343410 w 23037085"/>
              <a:gd name="connsiteY636" fmla="*/ 6051249 h 9444169"/>
              <a:gd name="connsiteX637" fmla="*/ 17349228 w 23037085"/>
              <a:gd name="connsiteY637" fmla="*/ 6048761 h 9444169"/>
              <a:gd name="connsiteX638" fmla="*/ 14410426 w 23037085"/>
              <a:gd name="connsiteY638" fmla="*/ 6005416 h 9444169"/>
              <a:gd name="connsiteX639" fmla="*/ 14378590 w 23037085"/>
              <a:gd name="connsiteY639" fmla="*/ 6009235 h 9444169"/>
              <a:gd name="connsiteX640" fmla="*/ 14368408 w 23037085"/>
              <a:gd name="connsiteY640" fmla="*/ 6020000 h 9444169"/>
              <a:gd name="connsiteX641" fmla="*/ 14394852 w 23037085"/>
              <a:gd name="connsiteY641" fmla="*/ 6021921 h 9444169"/>
              <a:gd name="connsiteX642" fmla="*/ 14398244 w 23037085"/>
              <a:gd name="connsiteY642" fmla="*/ 6022249 h 9444169"/>
              <a:gd name="connsiteX643" fmla="*/ 8891594 w 23037085"/>
              <a:gd name="connsiteY643" fmla="*/ 6004701 h 9444169"/>
              <a:gd name="connsiteX644" fmla="*/ 8879986 w 23037085"/>
              <a:gd name="connsiteY644" fmla="*/ 6008612 h 9444169"/>
              <a:gd name="connsiteX645" fmla="*/ 8824552 w 23037085"/>
              <a:gd name="connsiteY645" fmla="*/ 6008612 h 9444169"/>
              <a:gd name="connsiteX646" fmla="*/ 8805515 w 23037085"/>
              <a:gd name="connsiteY646" fmla="*/ 6012018 h 9444169"/>
              <a:gd name="connsiteX647" fmla="*/ 8843460 w 23037085"/>
              <a:gd name="connsiteY647" fmla="*/ 6013427 h 9444169"/>
              <a:gd name="connsiteX648" fmla="*/ 8797624 w 23037085"/>
              <a:gd name="connsiteY648" fmla="*/ 6013427 h 9444169"/>
              <a:gd name="connsiteX649" fmla="*/ 8762652 w 23037085"/>
              <a:gd name="connsiteY649" fmla="*/ 6019687 h 9444169"/>
              <a:gd name="connsiteX650" fmla="*/ 8800173 w 23037085"/>
              <a:gd name="connsiteY650" fmla="*/ 6023925 h 9444169"/>
              <a:gd name="connsiteX651" fmla="*/ 8859947 w 23037085"/>
              <a:gd name="connsiteY651" fmla="*/ 6017434 h 9444169"/>
              <a:gd name="connsiteX652" fmla="*/ 8887676 w 23037085"/>
              <a:gd name="connsiteY652" fmla="*/ 6017434 h 9444169"/>
              <a:gd name="connsiteX653" fmla="*/ 8898830 w 23037085"/>
              <a:gd name="connsiteY653" fmla="*/ 6017434 h 9444169"/>
              <a:gd name="connsiteX654" fmla="*/ 1360823 w 23037085"/>
              <a:gd name="connsiteY654" fmla="*/ 5992164 h 9444169"/>
              <a:gd name="connsiteX655" fmla="*/ 1363307 w 23037085"/>
              <a:gd name="connsiteY655" fmla="*/ 5995317 h 9444169"/>
              <a:gd name="connsiteX656" fmla="*/ 1369026 w 23037085"/>
              <a:gd name="connsiteY656" fmla="*/ 5996694 h 9444169"/>
              <a:gd name="connsiteX657" fmla="*/ 21244888 w 23037085"/>
              <a:gd name="connsiteY657" fmla="*/ 5983640 h 9444169"/>
              <a:gd name="connsiteX658" fmla="*/ 21244888 w 23037085"/>
              <a:gd name="connsiteY658" fmla="*/ 5987192 h 9444169"/>
              <a:gd name="connsiteX659" fmla="*/ 21253704 w 23037085"/>
              <a:gd name="connsiteY659" fmla="*/ 5987192 h 9444169"/>
              <a:gd name="connsiteX660" fmla="*/ 19780404 w 23037085"/>
              <a:gd name="connsiteY660" fmla="*/ 5981164 h 9444169"/>
              <a:gd name="connsiteX661" fmla="*/ 19788820 w 23037085"/>
              <a:gd name="connsiteY661" fmla="*/ 5982594 h 9444169"/>
              <a:gd name="connsiteX662" fmla="*/ 19781496 w 23037085"/>
              <a:gd name="connsiteY662" fmla="*/ 5981189 h 9444169"/>
              <a:gd name="connsiteX663" fmla="*/ 21546346 w 23037085"/>
              <a:gd name="connsiteY663" fmla="*/ 5952164 h 9444169"/>
              <a:gd name="connsiteX664" fmla="*/ 21555594 w 23037085"/>
              <a:gd name="connsiteY664" fmla="*/ 5966787 h 9444169"/>
              <a:gd name="connsiteX665" fmla="*/ 21590096 w 23037085"/>
              <a:gd name="connsiteY665" fmla="*/ 5966787 h 9444169"/>
              <a:gd name="connsiteX666" fmla="*/ 21590734 w 23037085"/>
              <a:gd name="connsiteY666" fmla="*/ 5966947 h 9444169"/>
              <a:gd name="connsiteX667" fmla="*/ 21590178 w 23037085"/>
              <a:gd name="connsiteY667" fmla="*/ 5952164 h 9444169"/>
              <a:gd name="connsiteX668" fmla="*/ 21577188 w 23037085"/>
              <a:gd name="connsiteY668" fmla="*/ 5952164 h 9444169"/>
              <a:gd name="connsiteX669" fmla="*/ 1323140 w 23037085"/>
              <a:gd name="connsiteY669" fmla="*/ 5948207 h 9444169"/>
              <a:gd name="connsiteX670" fmla="*/ 1314308 w 23037085"/>
              <a:gd name="connsiteY670" fmla="*/ 5949609 h 9444169"/>
              <a:gd name="connsiteX671" fmla="*/ 1308340 w 23037085"/>
              <a:gd name="connsiteY671" fmla="*/ 5949773 h 9444169"/>
              <a:gd name="connsiteX672" fmla="*/ 1308340 w 23037085"/>
              <a:gd name="connsiteY672" fmla="*/ 5955879 h 9444169"/>
              <a:gd name="connsiteX673" fmla="*/ 1314126 w 23037085"/>
              <a:gd name="connsiteY673" fmla="*/ 5955879 h 9444169"/>
              <a:gd name="connsiteX674" fmla="*/ 1323140 w 23037085"/>
              <a:gd name="connsiteY674" fmla="*/ 5957032 h 9444169"/>
              <a:gd name="connsiteX675" fmla="*/ 1488773 w 23037085"/>
              <a:gd name="connsiteY675" fmla="*/ 5904791 h 9444169"/>
              <a:gd name="connsiteX676" fmla="*/ 1488410 w 23037085"/>
              <a:gd name="connsiteY676" fmla="*/ 5905858 h 9444169"/>
              <a:gd name="connsiteX677" fmla="*/ 1489855 w 23037085"/>
              <a:gd name="connsiteY677" fmla="*/ 5905801 h 9444169"/>
              <a:gd name="connsiteX678" fmla="*/ 1809984 w 23037085"/>
              <a:gd name="connsiteY678" fmla="*/ 5805133 h 9444169"/>
              <a:gd name="connsiteX679" fmla="*/ 1813201 w 23037085"/>
              <a:gd name="connsiteY679" fmla="*/ 5810400 h 9444169"/>
              <a:gd name="connsiteX680" fmla="*/ 1829988 w 23037085"/>
              <a:gd name="connsiteY680" fmla="*/ 5805133 h 9444169"/>
              <a:gd name="connsiteX681" fmla="*/ 2575154 w 23037085"/>
              <a:gd name="connsiteY681" fmla="*/ 5801969 h 9444169"/>
              <a:gd name="connsiteX682" fmla="*/ 2549737 w 23037085"/>
              <a:gd name="connsiteY682" fmla="*/ 5802948 h 9444169"/>
              <a:gd name="connsiteX683" fmla="*/ 2561374 w 23037085"/>
              <a:gd name="connsiteY683" fmla="*/ 5804937 h 9444169"/>
              <a:gd name="connsiteX684" fmla="*/ 9301994 w 23037085"/>
              <a:gd name="connsiteY684" fmla="*/ 5790610 h 9444169"/>
              <a:gd name="connsiteX685" fmla="*/ 9299446 w 23037085"/>
              <a:gd name="connsiteY685" fmla="*/ 5790788 h 9444169"/>
              <a:gd name="connsiteX686" fmla="*/ 9302852 w 23037085"/>
              <a:gd name="connsiteY686" fmla="*/ 5793763 h 9444169"/>
              <a:gd name="connsiteX687" fmla="*/ 9304695 w 23037085"/>
              <a:gd name="connsiteY687" fmla="*/ 5795325 h 9444169"/>
              <a:gd name="connsiteX688" fmla="*/ 2928336 w 23037085"/>
              <a:gd name="connsiteY688" fmla="*/ 5788318 h 9444169"/>
              <a:gd name="connsiteX689" fmla="*/ 2920781 w 23037085"/>
              <a:gd name="connsiteY689" fmla="*/ 5788610 h 9444169"/>
              <a:gd name="connsiteX690" fmla="*/ 2980460 w 23037085"/>
              <a:gd name="connsiteY690" fmla="*/ 5790610 h 9444169"/>
              <a:gd name="connsiteX691" fmla="*/ 1786180 w 23037085"/>
              <a:gd name="connsiteY691" fmla="*/ 5761062 h 9444169"/>
              <a:gd name="connsiteX692" fmla="*/ 1786180 w 23037085"/>
              <a:gd name="connsiteY692" fmla="*/ 5780628 h 9444169"/>
              <a:gd name="connsiteX693" fmla="*/ 1758846 w 23037085"/>
              <a:gd name="connsiteY693" fmla="*/ 5780628 h 9444169"/>
              <a:gd name="connsiteX694" fmla="*/ 1761607 w 23037085"/>
              <a:gd name="connsiteY694" fmla="*/ 5784535 h 9444169"/>
              <a:gd name="connsiteX695" fmla="*/ 1748728 w 23037085"/>
              <a:gd name="connsiteY695" fmla="*/ 5795450 h 9444169"/>
              <a:gd name="connsiteX696" fmla="*/ 1792287 w 23037085"/>
              <a:gd name="connsiteY696" fmla="*/ 5795450 h 9444169"/>
              <a:gd name="connsiteX697" fmla="*/ 1794486 w 23037085"/>
              <a:gd name="connsiteY697" fmla="*/ 5795962 h 9444169"/>
              <a:gd name="connsiteX698" fmla="*/ 1794486 w 23037085"/>
              <a:gd name="connsiteY698" fmla="*/ 5781418 h 9444169"/>
              <a:gd name="connsiteX699" fmla="*/ 1790689 w 23037085"/>
              <a:gd name="connsiteY699" fmla="*/ 5766596 h 9444169"/>
              <a:gd name="connsiteX700" fmla="*/ 18228454 w 23037085"/>
              <a:gd name="connsiteY700" fmla="*/ 5754905 h 9444169"/>
              <a:gd name="connsiteX701" fmla="*/ 18225312 w 23037085"/>
              <a:gd name="connsiteY701" fmla="*/ 5767179 h 9444169"/>
              <a:gd name="connsiteX702" fmla="*/ 18204244 w 23037085"/>
              <a:gd name="connsiteY702" fmla="*/ 5778930 h 9444169"/>
              <a:gd name="connsiteX703" fmla="*/ 18217212 w 23037085"/>
              <a:gd name="connsiteY703" fmla="*/ 5784976 h 9444169"/>
              <a:gd name="connsiteX704" fmla="*/ 18219824 w 23037085"/>
              <a:gd name="connsiteY704" fmla="*/ 5784976 h 9444169"/>
              <a:gd name="connsiteX705" fmla="*/ 18230668 w 23037085"/>
              <a:gd name="connsiteY705" fmla="*/ 5755229 h 9444169"/>
              <a:gd name="connsiteX706" fmla="*/ 1747095 w 23037085"/>
              <a:gd name="connsiteY706" fmla="*/ 5742116 h 9444169"/>
              <a:gd name="connsiteX707" fmla="*/ 1758102 w 23037085"/>
              <a:gd name="connsiteY707" fmla="*/ 5756721 h 9444169"/>
              <a:gd name="connsiteX708" fmla="*/ 1782643 w 23037085"/>
              <a:gd name="connsiteY708" fmla="*/ 5756721 h 9444169"/>
              <a:gd name="connsiteX709" fmla="*/ 1779461 w 23037085"/>
              <a:gd name="connsiteY709" fmla="*/ 5752820 h 9444169"/>
              <a:gd name="connsiteX710" fmla="*/ 1768682 w 23037085"/>
              <a:gd name="connsiteY710" fmla="*/ 5756123 h 9444169"/>
              <a:gd name="connsiteX711" fmla="*/ 1764198 w 23037085"/>
              <a:gd name="connsiteY711" fmla="*/ 5753212 h 9444169"/>
              <a:gd name="connsiteX712" fmla="*/ 1764166 w 23037085"/>
              <a:gd name="connsiteY712" fmla="*/ 5753244 h 9444169"/>
              <a:gd name="connsiteX713" fmla="*/ 1764166 w 23037085"/>
              <a:gd name="connsiteY713" fmla="*/ 5753190 h 9444169"/>
              <a:gd name="connsiteX714" fmla="*/ 12231430 w 23037085"/>
              <a:gd name="connsiteY714" fmla="*/ 5701973 h 9444169"/>
              <a:gd name="connsiteX715" fmla="*/ 12282640 w 23037085"/>
              <a:gd name="connsiteY715" fmla="*/ 5711706 h 9444169"/>
              <a:gd name="connsiteX716" fmla="*/ 12330568 w 23037085"/>
              <a:gd name="connsiteY716" fmla="*/ 5711706 h 9444169"/>
              <a:gd name="connsiteX717" fmla="*/ 11740020 w 23037085"/>
              <a:gd name="connsiteY717" fmla="*/ 5693759 h 9444169"/>
              <a:gd name="connsiteX718" fmla="*/ 11698376 w 23037085"/>
              <a:gd name="connsiteY718" fmla="*/ 5698514 h 9444169"/>
              <a:gd name="connsiteX719" fmla="*/ 11696166 w 23037085"/>
              <a:gd name="connsiteY719" fmla="*/ 5698493 h 9444169"/>
              <a:gd name="connsiteX720" fmla="*/ 11723608 w 23037085"/>
              <a:gd name="connsiteY720" fmla="*/ 5702240 h 9444169"/>
              <a:gd name="connsiteX721" fmla="*/ 11726138 w 23037085"/>
              <a:gd name="connsiteY721" fmla="*/ 5701973 h 9444169"/>
              <a:gd name="connsiteX722" fmla="*/ 11781664 w 23037085"/>
              <a:gd name="connsiteY722" fmla="*/ 5701973 h 9444169"/>
              <a:gd name="connsiteX723" fmla="*/ 11740020 w 23037085"/>
              <a:gd name="connsiteY723" fmla="*/ 5693759 h 9444169"/>
              <a:gd name="connsiteX724" fmla="*/ 11617042 w 23037085"/>
              <a:gd name="connsiteY724" fmla="*/ 5664141 h 9444169"/>
              <a:gd name="connsiteX725" fmla="*/ 11596896 w 23037085"/>
              <a:gd name="connsiteY725" fmla="*/ 5671094 h 9444169"/>
              <a:gd name="connsiteX726" fmla="*/ 11578462 w 23037085"/>
              <a:gd name="connsiteY726" fmla="*/ 5686180 h 9444169"/>
              <a:gd name="connsiteX727" fmla="*/ 11606006 w 23037085"/>
              <a:gd name="connsiteY727" fmla="*/ 5686180 h 9444169"/>
              <a:gd name="connsiteX728" fmla="*/ 11645274 w 23037085"/>
              <a:gd name="connsiteY728" fmla="*/ 5691543 h 9444169"/>
              <a:gd name="connsiteX729" fmla="*/ 11615084 w 23037085"/>
              <a:gd name="connsiteY729" fmla="*/ 5674304 h 9444169"/>
              <a:gd name="connsiteX730" fmla="*/ 17370624 w 23037085"/>
              <a:gd name="connsiteY730" fmla="*/ 5640828 h 9444169"/>
              <a:gd name="connsiteX731" fmla="*/ 17373772 w 23037085"/>
              <a:gd name="connsiteY731" fmla="*/ 5642785 h 9444169"/>
              <a:gd name="connsiteX732" fmla="*/ 17377320 w 23037085"/>
              <a:gd name="connsiteY732" fmla="*/ 5643479 h 9444169"/>
              <a:gd name="connsiteX733" fmla="*/ 17417114 w 23037085"/>
              <a:gd name="connsiteY733" fmla="*/ 5647735 h 9444169"/>
              <a:gd name="connsiteX734" fmla="*/ 17479434 w 23037085"/>
              <a:gd name="connsiteY734" fmla="*/ 5651529 h 9444169"/>
              <a:gd name="connsiteX735" fmla="*/ 17465864 w 23037085"/>
              <a:gd name="connsiteY735" fmla="*/ 5649749 h 9444169"/>
              <a:gd name="connsiteX736" fmla="*/ 1649729 w 23037085"/>
              <a:gd name="connsiteY736" fmla="*/ 5597167 h 9444169"/>
              <a:gd name="connsiteX737" fmla="*/ 1652807 w 23037085"/>
              <a:gd name="connsiteY737" fmla="*/ 5599131 h 9444169"/>
              <a:gd name="connsiteX738" fmla="*/ 1658174 w 23037085"/>
              <a:gd name="connsiteY738" fmla="*/ 5599131 h 9444169"/>
              <a:gd name="connsiteX739" fmla="*/ 1655861 w 23037085"/>
              <a:gd name="connsiteY739" fmla="*/ 5597249 h 9444169"/>
              <a:gd name="connsiteX740" fmla="*/ 18379150 w 23037085"/>
              <a:gd name="connsiteY740" fmla="*/ 5534124 h 9444169"/>
              <a:gd name="connsiteX741" fmla="*/ 18375770 w 23037085"/>
              <a:gd name="connsiteY741" fmla="*/ 5534288 h 9444169"/>
              <a:gd name="connsiteX742" fmla="*/ 18375770 w 23037085"/>
              <a:gd name="connsiteY742" fmla="*/ 5552569 h 9444169"/>
              <a:gd name="connsiteX743" fmla="*/ 18387918 w 23037085"/>
              <a:gd name="connsiteY743" fmla="*/ 5537917 h 9444169"/>
              <a:gd name="connsiteX744" fmla="*/ 15759914 w 23037085"/>
              <a:gd name="connsiteY744" fmla="*/ 5507021 h 9444169"/>
              <a:gd name="connsiteX745" fmla="*/ 16011066 w 23037085"/>
              <a:gd name="connsiteY745" fmla="*/ 5529743 h 9444169"/>
              <a:gd name="connsiteX746" fmla="*/ 16031428 w 23037085"/>
              <a:gd name="connsiteY746" fmla="*/ 5530010 h 9444169"/>
              <a:gd name="connsiteX747" fmla="*/ 15718584 w 23037085"/>
              <a:gd name="connsiteY747" fmla="*/ 5504509 h 9444169"/>
              <a:gd name="connsiteX748" fmla="*/ 15715804 w 23037085"/>
              <a:gd name="connsiteY748" fmla="*/ 5504705 h 9444169"/>
              <a:gd name="connsiteX749" fmla="*/ 15751670 w 23037085"/>
              <a:gd name="connsiteY749" fmla="*/ 5506323 h 9444169"/>
              <a:gd name="connsiteX750" fmla="*/ 15741306 w 23037085"/>
              <a:gd name="connsiteY750" fmla="*/ 5505444 h 9444169"/>
              <a:gd name="connsiteX751" fmla="*/ 1581882 w 23037085"/>
              <a:gd name="connsiteY751" fmla="*/ 5394769 h 9444169"/>
              <a:gd name="connsiteX752" fmla="*/ 1544680 w 23037085"/>
              <a:gd name="connsiteY752" fmla="*/ 5403556 h 9444169"/>
              <a:gd name="connsiteX753" fmla="*/ 1627615 w 23037085"/>
              <a:gd name="connsiteY753" fmla="*/ 5394769 h 9444169"/>
              <a:gd name="connsiteX754" fmla="*/ 1600747 w 23037085"/>
              <a:gd name="connsiteY754" fmla="*/ 5309094 h 9444169"/>
              <a:gd name="connsiteX755" fmla="*/ 1633088 w 23037085"/>
              <a:gd name="connsiteY755" fmla="*/ 5315318 h 9444169"/>
              <a:gd name="connsiteX756" fmla="*/ 1635391 w 23037085"/>
              <a:gd name="connsiteY756" fmla="*/ 5311684 h 9444169"/>
              <a:gd name="connsiteX757" fmla="*/ 1631964 w 23037085"/>
              <a:gd name="connsiteY757" fmla="*/ 5310086 h 9444169"/>
              <a:gd name="connsiteX758" fmla="*/ 1068662 w 23037085"/>
              <a:gd name="connsiteY758" fmla="*/ 5281240 h 9444169"/>
              <a:gd name="connsiteX759" fmla="*/ 1132373 w 23037085"/>
              <a:gd name="connsiteY759" fmla="*/ 5287595 h 9444169"/>
              <a:gd name="connsiteX760" fmla="*/ 1114242 w 23037085"/>
              <a:gd name="connsiteY760" fmla="*/ 5282670 h 9444169"/>
              <a:gd name="connsiteX761" fmla="*/ 15819420 w 23037085"/>
              <a:gd name="connsiteY761" fmla="*/ 5264414 h 9444169"/>
              <a:gd name="connsiteX762" fmla="*/ 15813484 w 23037085"/>
              <a:gd name="connsiteY762" fmla="*/ 5272525 h 9444169"/>
              <a:gd name="connsiteX763" fmla="*/ 15812248 w 23037085"/>
              <a:gd name="connsiteY763" fmla="*/ 5272525 h 9444169"/>
              <a:gd name="connsiteX764" fmla="*/ 15820878 w 23037085"/>
              <a:gd name="connsiteY764" fmla="*/ 5285072 h 9444169"/>
              <a:gd name="connsiteX765" fmla="*/ 15822672 w 23037085"/>
              <a:gd name="connsiteY765" fmla="*/ 5285097 h 9444169"/>
              <a:gd name="connsiteX766" fmla="*/ 22740484 w 23037085"/>
              <a:gd name="connsiteY766" fmla="*/ 5205866 h 9444169"/>
              <a:gd name="connsiteX767" fmla="*/ 22763822 w 23037085"/>
              <a:gd name="connsiteY767" fmla="*/ 5205866 h 9444169"/>
              <a:gd name="connsiteX768" fmla="*/ 22787160 w 23037085"/>
              <a:gd name="connsiteY768" fmla="*/ 5217005 h 9444169"/>
              <a:gd name="connsiteX769" fmla="*/ 22763822 w 23037085"/>
              <a:gd name="connsiteY769" fmla="*/ 5217005 h 9444169"/>
              <a:gd name="connsiteX770" fmla="*/ 22740484 w 23037085"/>
              <a:gd name="connsiteY770" fmla="*/ 5205866 h 9444169"/>
              <a:gd name="connsiteX771" fmla="*/ 15560898 w 23037085"/>
              <a:gd name="connsiteY771" fmla="*/ 5190390 h 9444169"/>
              <a:gd name="connsiteX772" fmla="*/ 15568186 w 23037085"/>
              <a:gd name="connsiteY772" fmla="*/ 5198607 h 9444169"/>
              <a:gd name="connsiteX773" fmla="*/ 15573728 w 23037085"/>
              <a:gd name="connsiteY773" fmla="*/ 5198268 h 9444169"/>
              <a:gd name="connsiteX774" fmla="*/ 11809008 w 23037085"/>
              <a:gd name="connsiteY774" fmla="*/ 5183194 h 9444169"/>
              <a:gd name="connsiteX775" fmla="*/ 11793998 w 23037085"/>
              <a:gd name="connsiteY775" fmla="*/ 5200112 h 9444169"/>
              <a:gd name="connsiteX776" fmla="*/ 11791226 w 23037085"/>
              <a:gd name="connsiteY776" fmla="*/ 5209318 h 9444169"/>
              <a:gd name="connsiteX777" fmla="*/ 11806824 w 23037085"/>
              <a:gd name="connsiteY777" fmla="*/ 5209318 h 9444169"/>
              <a:gd name="connsiteX778" fmla="*/ 11823066 w 23037085"/>
              <a:gd name="connsiteY778" fmla="*/ 5210087 h 9444169"/>
              <a:gd name="connsiteX779" fmla="*/ 11812204 w 23037085"/>
              <a:gd name="connsiteY779" fmla="*/ 5198429 h 9444169"/>
              <a:gd name="connsiteX780" fmla="*/ 11817710 w 23037085"/>
              <a:gd name="connsiteY780" fmla="*/ 5142959 h 9444169"/>
              <a:gd name="connsiteX781" fmla="*/ 11821760 w 23037085"/>
              <a:gd name="connsiteY781" fmla="*/ 5145347 h 9444169"/>
              <a:gd name="connsiteX782" fmla="*/ 11820878 w 23037085"/>
              <a:gd name="connsiteY782" fmla="*/ 5152329 h 9444169"/>
              <a:gd name="connsiteX783" fmla="*/ 11839820 w 23037085"/>
              <a:gd name="connsiteY783" fmla="*/ 5143166 h 9444169"/>
              <a:gd name="connsiteX784" fmla="*/ 11828184 w 23037085"/>
              <a:gd name="connsiteY784" fmla="*/ 5143166 h 9444169"/>
              <a:gd name="connsiteX785" fmla="*/ 8831320 w 23037085"/>
              <a:gd name="connsiteY785" fmla="*/ 5089060 h 9444169"/>
              <a:gd name="connsiteX786" fmla="*/ 8836776 w 23037085"/>
              <a:gd name="connsiteY786" fmla="*/ 5093063 h 9444169"/>
              <a:gd name="connsiteX787" fmla="*/ 8839174 w 23037085"/>
              <a:gd name="connsiteY787" fmla="*/ 5089060 h 9444169"/>
              <a:gd name="connsiteX788" fmla="*/ 4949010 w 23037085"/>
              <a:gd name="connsiteY788" fmla="*/ 5089060 h 9444169"/>
              <a:gd name="connsiteX789" fmla="*/ 4942031 w 23037085"/>
              <a:gd name="connsiteY789" fmla="*/ 5089526 h 9444169"/>
              <a:gd name="connsiteX790" fmla="*/ 4962102 w 23037085"/>
              <a:gd name="connsiteY790" fmla="*/ 5089060 h 9444169"/>
              <a:gd name="connsiteX791" fmla="*/ 9244246 w 23037085"/>
              <a:gd name="connsiteY791" fmla="*/ 5060700 h 9444169"/>
              <a:gd name="connsiteX792" fmla="*/ 9241692 w 23037085"/>
              <a:gd name="connsiteY792" fmla="*/ 5061650 h 9444169"/>
              <a:gd name="connsiteX793" fmla="*/ 9249808 w 23037085"/>
              <a:gd name="connsiteY793" fmla="*/ 5060700 h 9444169"/>
              <a:gd name="connsiteX794" fmla="*/ 9255418 w 23037085"/>
              <a:gd name="connsiteY794" fmla="*/ 5060814 h 9444169"/>
              <a:gd name="connsiteX795" fmla="*/ 9255176 w 23037085"/>
              <a:gd name="connsiteY795" fmla="*/ 5060700 h 9444169"/>
              <a:gd name="connsiteX796" fmla="*/ 9249808 w 23037085"/>
              <a:gd name="connsiteY796" fmla="*/ 5060700 h 9444169"/>
              <a:gd name="connsiteX797" fmla="*/ 8815474 w 23037085"/>
              <a:gd name="connsiteY797" fmla="*/ 5060700 h 9444169"/>
              <a:gd name="connsiteX798" fmla="*/ 8809820 w 23037085"/>
              <a:gd name="connsiteY798" fmla="*/ 5063141 h 9444169"/>
              <a:gd name="connsiteX799" fmla="*/ 8820866 w 23037085"/>
              <a:gd name="connsiteY799" fmla="*/ 5063141 h 9444169"/>
              <a:gd name="connsiteX800" fmla="*/ 8825624 w 23037085"/>
              <a:gd name="connsiteY800" fmla="*/ 5060700 h 9444169"/>
              <a:gd name="connsiteX801" fmla="*/ 16784542 w 23037085"/>
              <a:gd name="connsiteY801" fmla="*/ 5050764 h 9444169"/>
              <a:gd name="connsiteX802" fmla="*/ 16922566 w 23037085"/>
              <a:gd name="connsiteY802" fmla="*/ 5063063 h 9444169"/>
              <a:gd name="connsiteX803" fmla="*/ 16982988 w 23037085"/>
              <a:gd name="connsiteY803" fmla="*/ 5069248 h 9444169"/>
              <a:gd name="connsiteX804" fmla="*/ 16879330 w 23037085"/>
              <a:gd name="connsiteY804" fmla="*/ 5050764 h 9444169"/>
              <a:gd name="connsiteX805" fmla="*/ 5946398 w 23037085"/>
              <a:gd name="connsiteY805" fmla="*/ 5032420 h 9444169"/>
              <a:gd name="connsiteX806" fmla="*/ 5787064 w 23037085"/>
              <a:gd name="connsiteY806" fmla="*/ 5042729 h 9444169"/>
              <a:gd name="connsiteX807" fmla="*/ 5930124 w 23037085"/>
              <a:gd name="connsiteY807" fmla="*/ 5037223 h 9444169"/>
              <a:gd name="connsiteX808" fmla="*/ 1908620 w 23037085"/>
              <a:gd name="connsiteY808" fmla="*/ 5011355 h 9444169"/>
              <a:gd name="connsiteX809" fmla="*/ 1908934 w 23037085"/>
              <a:gd name="connsiteY809" fmla="*/ 5023356 h 9444169"/>
              <a:gd name="connsiteX810" fmla="*/ 1942094 w 23037085"/>
              <a:gd name="connsiteY810" fmla="*/ 5023356 h 9444169"/>
              <a:gd name="connsiteX811" fmla="*/ 1944136 w 23037085"/>
              <a:gd name="connsiteY811" fmla="*/ 5020961 h 9444169"/>
              <a:gd name="connsiteX812" fmla="*/ 1936403 w 23037085"/>
              <a:gd name="connsiteY812" fmla="*/ 5020961 h 9444169"/>
              <a:gd name="connsiteX813" fmla="*/ 21677406 w 23037085"/>
              <a:gd name="connsiteY813" fmla="*/ 5004989 h 9444169"/>
              <a:gd name="connsiteX814" fmla="*/ 21666134 w 23037085"/>
              <a:gd name="connsiteY814" fmla="*/ 5009433 h 9444169"/>
              <a:gd name="connsiteX815" fmla="*/ 21677406 w 23037085"/>
              <a:gd name="connsiteY815" fmla="*/ 5009744 h 9444169"/>
              <a:gd name="connsiteX816" fmla="*/ 16515720 w 23037085"/>
              <a:gd name="connsiteY816" fmla="*/ 4994964 h 9444169"/>
              <a:gd name="connsiteX817" fmla="*/ 16515720 w 23037085"/>
              <a:gd name="connsiteY817" fmla="*/ 4996006 h 9444169"/>
              <a:gd name="connsiteX818" fmla="*/ 16517034 w 23037085"/>
              <a:gd name="connsiteY818" fmla="*/ 4996006 h 9444169"/>
              <a:gd name="connsiteX819" fmla="*/ 18698596 w 23037085"/>
              <a:gd name="connsiteY819" fmla="*/ 4973088 h 9444169"/>
              <a:gd name="connsiteX820" fmla="*/ 18689162 w 23037085"/>
              <a:gd name="connsiteY820" fmla="*/ 4976989 h 9444169"/>
              <a:gd name="connsiteX821" fmla="*/ 18696332 w 23037085"/>
              <a:gd name="connsiteY821" fmla="*/ 4977576 h 9444169"/>
              <a:gd name="connsiteX822" fmla="*/ 21674230 w 23037085"/>
              <a:gd name="connsiteY822" fmla="*/ 4962889 h 9444169"/>
              <a:gd name="connsiteX823" fmla="*/ 21681828 w 23037085"/>
              <a:gd name="connsiteY823" fmla="*/ 4972125 h 9444169"/>
              <a:gd name="connsiteX824" fmla="*/ 21695918 w 23037085"/>
              <a:gd name="connsiteY824" fmla="*/ 4969046 h 9444169"/>
              <a:gd name="connsiteX825" fmla="*/ 21694042 w 23037085"/>
              <a:gd name="connsiteY825" fmla="*/ 4968530 h 9444169"/>
              <a:gd name="connsiteX826" fmla="*/ 18400008 w 23037085"/>
              <a:gd name="connsiteY826" fmla="*/ 4914256 h 9444169"/>
              <a:gd name="connsiteX827" fmla="*/ 18379484 w 23037085"/>
              <a:gd name="connsiteY827" fmla="*/ 4932313 h 9444169"/>
              <a:gd name="connsiteX828" fmla="*/ 18410528 w 23037085"/>
              <a:gd name="connsiteY828" fmla="*/ 4924541 h 9444169"/>
              <a:gd name="connsiteX829" fmla="*/ 18418530 w 23037085"/>
              <a:gd name="connsiteY829" fmla="*/ 4921576 h 9444169"/>
              <a:gd name="connsiteX830" fmla="*/ 18418204 w 23037085"/>
              <a:gd name="connsiteY830" fmla="*/ 4918000 h 9444169"/>
              <a:gd name="connsiteX831" fmla="*/ 1852631 w 23037085"/>
              <a:gd name="connsiteY831" fmla="*/ 4848478 h 9444169"/>
              <a:gd name="connsiteX832" fmla="*/ 1829699 w 23037085"/>
              <a:gd name="connsiteY832" fmla="*/ 4849271 h 9444169"/>
              <a:gd name="connsiteX833" fmla="*/ 1835959 w 23037085"/>
              <a:gd name="connsiteY833" fmla="*/ 4855808 h 9444169"/>
              <a:gd name="connsiteX834" fmla="*/ 3786785 w 23037085"/>
              <a:gd name="connsiteY834" fmla="*/ 4799598 h 9444169"/>
              <a:gd name="connsiteX835" fmla="*/ 3786785 w 23037085"/>
              <a:gd name="connsiteY835" fmla="*/ 4805872 h 9444169"/>
              <a:gd name="connsiteX836" fmla="*/ 3790156 w 23037085"/>
              <a:gd name="connsiteY836" fmla="*/ 4805353 h 9444169"/>
              <a:gd name="connsiteX837" fmla="*/ 3799195 w 23037085"/>
              <a:gd name="connsiteY837" fmla="*/ 4806050 h 9444169"/>
              <a:gd name="connsiteX838" fmla="*/ 3792434 w 23037085"/>
              <a:gd name="connsiteY838" fmla="*/ 4801627 h 9444169"/>
              <a:gd name="connsiteX839" fmla="*/ 2970055 w 23037085"/>
              <a:gd name="connsiteY839" fmla="*/ 4725674 h 9444169"/>
              <a:gd name="connsiteX840" fmla="*/ 2908817 w 23037085"/>
              <a:gd name="connsiteY840" fmla="*/ 4748642 h 9444169"/>
              <a:gd name="connsiteX841" fmla="*/ 2983706 w 23037085"/>
              <a:gd name="connsiteY841" fmla="*/ 4748642 h 9444169"/>
              <a:gd name="connsiteX842" fmla="*/ 2999574 w 23037085"/>
              <a:gd name="connsiteY842" fmla="*/ 4739151 h 9444169"/>
              <a:gd name="connsiteX843" fmla="*/ 2983863 w 23037085"/>
              <a:gd name="connsiteY843" fmla="*/ 4739151 h 9444169"/>
              <a:gd name="connsiteX844" fmla="*/ 22794070 w 23037085"/>
              <a:gd name="connsiteY844" fmla="*/ 4715852 h 9444169"/>
              <a:gd name="connsiteX845" fmla="*/ 22783516 w 23037085"/>
              <a:gd name="connsiteY845" fmla="*/ 4717432 h 9444169"/>
              <a:gd name="connsiteX846" fmla="*/ 22760248 w 23037085"/>
              <a:gd name="connsiteY846" fmla="*/ 4743770 h 9444169"/>
              <a:gd name="connsiteX847" fmla="*/ 22764124 w 23037085"/>
              <a:gd name="connsiteY847" fmla="*/ 4742503 h 9444169"/>
              <a:gd name="connsiteX848" fmla="*/ 22774550 w 23037085"/>
              <a:gd name="connsiteY848" fmla="*/ 4729449 h 9444169"/>
              <a:gd name="connsiteX849" fmla="*/ 22780206 w 23037085"/>
              <a:gd name="connsiteY849" fmla="*/ 4729449 h 9444169"/>
              <a:gd name="connsiteX850" fmla="*/ 22792436 w 23037085"/>
              <a:gd name="connsiteY850" fmla="*/ 4717457 h 9444169"/>
              <a:gd name="connsiteX851" fmla="*/ 13049766 w 23037085"/>
              <a:gd name="connsiteY851" fmla="*/ 4706400 h 9444169"/>
              <a:gd name="connsiteX852" fmla="*/ 13027484 w 23037085"/>
              <a:gd name="connsiteY852" fmla="*/ 4713037 h 9444169"/>
              <a:gd name="connsiteX853" fmla="*/ 13018046 w 23037085"/>
              <a:gd name="connsiteY853" fmla="*/ 4712428 h 9444169"/>
              <a:gd name="connsiteX854" fmla="*/ 13032282 w 23037085"/>
              <a:gd name="connsiteY854" fmla="*/ 4719492 h 9444169"/>
              <a:gd name="connsiteX855" fmla="*/ 13051140 w 23037085"/>
              <a:gd name="connsiteY855" fmla="*/ 4720371 h 9444169"/>
              <a:gd name="connsiteX856" fmla="*/ 17892574 w 23037085"/>
              <a:gd name="connsiteY856" fmla="*/ 4695215 h 9444169"/>
              <a:gd name="connsiteX857" fmla="*/ 17896570 w 23037085"/>
              <a:gd name="connsiteY857" fmla="*/ 4696240 h 9444169"/>
              <a:gd name="connsiteX858" fmla="*/ 17897886 w 23037085"/>
              <a:gd name="connsiteY858" fmla="*/ 4695838 h 9444169"/>
              <a:gd name="connsiteX859" fmla="*/ 10731281 w 23037085"/>
              <a:gd name="connsiteY859" fmla="*/ 4694852 h 9444169"/>
              <a:gd name="connsiteX860" fmla="*/ 10837678 w 23037085"/>
              <a:gd name="connsiteY860" fmla="*/ 4700347 h 9444169"/>
              <a:gd name="connsiteX861" fmla="*/ 10927592 w 23037085"/>
              <a:gd name="connsiteY861" fmla="*/ 4700347 h 9444169"/>
              <a:gd name="connsiteX862" fmla="*/ 10870114 w 23037085"/>
              <a:gd name="connsiteY862" fmla="*/ 4694852 h 9444169"/>
              <a:gd name="connsiteX863" fmla="*/ 10125902 w 23037085"/>
              <a:gd name="connsiteY863" fmla="*/ 4693300 h 9444169"/>
              <a:gd name="connsiteX864" fmla="*/ 10140216 w 23037085"/>
              <a:gd name="connsiteY864" fmla="*/ 4694852 h 9444169"/>
              <a:gd name="connsiteX865" fmla="*/ 10132270 w 23037085"/>
              <a:gd name="connsiteY865" fmla="*/ 4693300 h 9444169"/>
              <a:gd name="connsiteX866" fmla="*/ 12663110 w 23037085"/>
              <a:gd name="connsiteY866" fmla="*/ 4689539 h 9444169"/>
              <a:gd name="connsiteX867" fmla="*/ 12655256 w 23037085"/>
              <a:gd name="connsiteY867" fmla="*/ 4698176 h 9444169"/>
              <a:gd name="connsiteX868" fmla="*/ 12665672 w 23037085"/>
              <a:gd name="connsiteY868" fmla="*/ 4699286 h 9444169"/>
              <a:gd name="connsiteX869" fmla="*/ 12665896 w 23037085"/>
              <a:gd name="connsiteY869" fmla="*/ 4694852 h 9444169"/>
              <a:gd name="connsiteX870" fmla="*/ 12690010 w 23037085"/>
              <a:gd name="connsiteY870" fmla="*/ 4691272 h 9444169"/>
              <a:gd name="connsiteX871" fmla="*/ 8465540 w 23037085"/>
              <a:gd name="connsiteY871" fmla="*/ 4666535 h 9444169"/>
              <a:gd name="connsiteX872" fmla="*/ 8471298 w 23037085"/>
              <a:gd name="connsiteY872" fmla="*/ 4667475 h 9444169"/>
              <a:gd name="connsiteX873" fmla="*/ 8501918 w 23037085"/>
              <a:gd name="connsiteY873" fmla="*/ 4667475 h 9444169"/>
              <a:gd name="connsiteX874" fmla="*/ 9803968 w 23037085"/>
              <a:gd name="connsiteY874" fmla="*/ 4663425 h 9444169"/>
              <a:gd name="connsiteX875" fmla="*/ 9767265 w 23037085"/>
              <a:gd name="connsiteY875" fmla="*/ 4667194 h 9444169"/>
              <a:gd name="connsiteX876" fmla="*/ 9770342 w 23037085"/>
              <a:gd name="connsiteY876" fmla="*/ 4667475 h 9444169"/>
              <a:gd name="connsiteX877" fmla="*/ 9804452 w 23037085"/>
              <a:gd name="connsiteY877" fmla="*/ 4667475 h 9444169"/>
              <a:gd name="connsiteX878" fmla="*/ 9818304 w 23037085"/>
              <a:gd name="connsiteY878" fmla="*/ 4667475 h 9444169"/>
              <a:gd name="connsiteX879" fmla="*/ 3131772 w 23037085"/>
              <a:gd name="connsiteY879" fmla="*/ 4661507 h 9444169"/>
              <a:gd name="connsiteX880" fmla="*/ 3123993 w 23037085"/>
              <a:gd name="connsiteY880" fmla="*/ 4663539 h 9444169"/>
              <a:gd name="connsiteX881" fmla="*/ 3131164 w 23037085"/>
              <a:gd name="connsiteY881" fmla="*/ 4664105 h 9444169"/>
              <a:gd name="connsiteX882" fmla="*/ 9966110 w 23037085"/>
              <a:gd name="connsiteY882" fmla="*/ 4656528 h 9444169"/>
              <a:gd name="connsiteX883" fmla="*/ 9942612 w 23037085"/>
              <a:gd name="connsiteY883" fmla="*/ 4663425 h 9444169"/>
              <a:gd name="connsiteX884" fmla="*/ 9920800 w 23037085"/>
              <a:gd name="connsiteY884" fmla="*/ 4669589 h 9444169"/>
              <a:gd name="connsiteX885" fmla="*/ 9942060 w 23037085"/>
              <a:gd name="connsiteY885" fmla="*/ 4669589 h 9444169"/>
              <a:gd name="connsiteX886" fmla="*/ 9983006 w 23037085"/>
              <a:gd name="connsiteY886" fmla="*/ 4670660 h 9444169"/>
              <a:gd name="connsiteX887" fmla="*/ 13493168 w 23037085"/>
              <a:gd name="connsiteY887" fmla="*/ 4654201 h 9444169"/>
              <a:gd name="connsiteX888" fmla="*/ 13455052 w 23037085"/>
              <a:gd name="connsiteY888" fmla="*/ 4665952 h 9444169"/>
              <a:gd name="connsiteX889" fmla="*/ 13445542 w 23037085"/>
              <a:gd name="connsiteY889" fmla="*/ 4665952 h 9444169"/>
              <a:gd name="connsiteX890" fmla="*/ 13448036 w 23037085"/>
              <a:gd name="connsiteY890" fmla="*/ 4668083 h 9444169"/>
              <a:gd name="connsiteX891" fmla="*/ 13458424 w 23037085"/>
              <a:gd name="connsiteY891" fmla="*/ 4668083 h 9444169"/>
              <a:gd name="connsiteX892" fmla="*/ 13488592 w 23037085"/>
              <a:gd name="connsiteY892" fmla="*/ 4669653 h 9444169"/>
              <a:gd name="connsiteX893" fmla="*/ 15316334 w 23037085"/>
              <a:gd name="connsiteY893" fmla="*/ 4609852 h 9444169"/>
              <a:gd name="connsiteX894" fmla="*/ 15402252 w 23037085"/>
              <a:gd name="connsiteY894" fmla="*/ 4630831 h 9444169"/>
              <a:gd name="connsiteX895" fmla="*/ 15571776 w 23037085"/>
              <a:gd name="connsiteY895" fmla="*/ 4634208 h 9444169"/>
              <a:gd name="connsiteX896" fmla="*/ 16981242 w 23037085"/>
              <a:gd name="connsiteY896" fmla="*/ 4590397 h 9444169"/>
              <a:gd name="connsiteX897" fmla="*/ 17045418 w 23037085"/>
              <a:gd name="connsiteY897" fmla="*/ 4608646 h 9444169"/>
              <a:gd name="connsiteX898" fmla="*/ 17058934 w 23037085"/>
              <a:gd name="connsiteY898" fmla="*/ 4610255 h 9444169"/>
              <a:gd name="connsiteX899" fmla="*/ 17110842 w 23037085"/>
              <a:gd name="connsiteY899" fmla="*/ 4601714 h 9444169"/>
              <a:gd name="connsiteX900" fmla="*/ 16463568 w 23037085"/>
              <a:gd name="connsiteY900" fmla="*/ 4583600 h 9444169"/>
              <a:gd name="connsiteX901" fmla="*/ 16461322 w 23037085"/>
              <a:gd name="connsiteY901" fmla="*/ 4586714 h 9444169"/>
              <a:gd name="connsiteX902" fmla="*/ 16474472 w 23037085"/>
              <a:gd name="connsiteY902" fmla="*/ 4586714 h 9444169"/>
              <a:gd name="connsiteX903" fmla="*/ 16476272 w 23037085"/>
              <a:gd name="connsiteY903" fmla="*/ 4588518 h 9444169"/>
              <a:gd name="connsiteX904" fmla="*/ 16477674 w 23037085"/>
              <a:gd name="connsiteY904" fmla="*/ 4584710 h 9444169"/>
              <a:gd name="connsiteX905" fmla="*/ 16479076 w 23037085"/>
              <a:gd name="connsiteY905" fmla="*/ 4584344 h 9444169"/>
              <a:gd name="connsiteX906" fmla="*/ 16878224 w 23037085"/>
              <a:gd name="connsiteY906" fmla="*/ 4581404 h 9444169"/>
              <a:gd name="connsiteX907" fmla="*/ 16884876 w 23037085"/>
              <a:gd name="connsiteY907" fmla="*/ 4583600 h 9444169"/>
              <a:gd name="connsiteX908" fmla="*/ 16891072 w 23037085"/>
              <a:gd name="connsiteY908" fmla="*/ 4582525 h 9444169"/>
              <a:gd name="connsiteX909" fmla="*/ 15458878 w 23037085"/>
              <a:gd name="connsiteY909" fmla="*/ 4568902 h 9444169"/>
              <a:gd name="connsiteX910" fmla="*/ 15453660 w 23037085"/>
              <a:gd name="connsiteY910" fmla="*/ 4576127 h 9444169"/>
              <a:gd name="connsiteX911" fmla="*/ 15458198 w 23037085"/>
              <a:gd name="connsiteY911" fmla="*/ 4579262 h 9444169"/>
              <a:gd name="connsiteX912" fmla="*/ 15462912 w 23037085"/>
              <a:gd name="connsiteY912" fmla="*/ 4579550 h 9444169"/>
              <a:gd name="connsiteX913" fmla="*/ 13149608 w 23037085"/>
              <a:gd name="connsiteY913" fmla="*/ 4554177 h 9444169"/>
              <a:gd name="connsiteX914" fmla="*/ 13158918 w 23037085"/>
              <a:gd name="connsiteY914" fmla="*/ 4556817 h 9444169"/>
              <a:gd name="connsiteX915" fmla="*/ 13158918 w 23037085"/>
              <a:gd name="connsiteY915" fmla="*/ 4555362 h 9444169"/>
              <a:gd name="connsiteX916" fmla="*/ 13158918 w 23037085"/>
              <a:gd name="connsiteY916" fmla="*/ 4554177 h 9444169"/>
              <a:gd name="connsiteX917" fmla="*/ 1300577 w 23037085"/>
              <a:gd name="connsiteY917" fmla="*/ 4539204 h 9444169"/>
              <a:gd name="connsiteX918" fmla="*/ 1304646 w 23037085"/>
              <a:gd name="connsiteY918" fmla="*/ 4541870 h 9444169"/>
              <a:gd name="connsiteX919" fmla="*/ 1308657 w 23037085"/>
              <a:gd name="connsiteY919" fmla="*/ 4555362 h 9444169"/>
              <a:gd name="connsiteX920" fmla="*/ 13372486 w 23037085"/>
              <a:gd name="connsiteY920" fmla="*/ 4528498 h 9444169"/>
              <a:gd name="connsiteX921" fmla="*/ 13368606 w 23037085"/>
              <a:gd name="connsiteY921" fmla="*/ 4528647 h 9444169"/>
              <a:gd name="connsiteX922" fmla="*/ 13379250 w 23037085"/>
              <a:gd name="connsiteY922" fmla="*/ 4529009 h 9444169"/>
              <a:gd name="connsiteX923" fmla="*/ 13373614 w 23037085"/>
              <a:gd name="connsiteY923" fmla="*/ 4528547 h 9444169"/>
              <a:gd name="connsiteX924" fmla="*/ 2908618 w 23037085"/>
              <a:gd name="connsiteY924" fmla="*/ 4480138 h 9444169"/>
              <a:gd name="connsiteX925" fmla="*/ 2909817 w 23037085"/>
              <a:gd name="connsiteY925" fmla="*/ 4493526 h 9444169"/>
              <a:gd name="connsiteX926" fmla="*/ 2921813 w 23037085"/>
              <a:gd name="connsiteY926" fmla="*/ 4499543 h 9444169"/>
              <a:gd name="connsiteX927" fmla="*/ 2927952 w 23037085"/>
              <a:gd name="connsiteY927" fmla="*/ 4492419 h 9444169"/>
              <a:gd name="connsiteX928" fmla="*/ 2922685 w 23037085"/>
              <a:gd name="connsiteY928" fmla="*/ 4494099 h 9444169"/>
              <a:gd name="connsiteX929" fmla="*/ 839051 w 23037085"/>
              <a:gd name="connsiteY929" fmla="*/ 4465709 h 9444169"/>
              <a:gd name="connsiteX930" fmla="*/ 899449 w 23037085"/>
              <a:gd name="connsiteY930" fmla="*/ 4483640 h 9444169"/>
              <a:gd name="connsiteX931" fmla="*/ 954043 w 23037085"/>
              <a:gd name="connsiteY931" fmla="*/ 4483640 h 9444169"/>
              <a:gd name="connsiteX932" fmla="*/ 1063238 w 23037085"/>
              <a:gd name="connsiteY932" fmla="*/ 4507547 h 9444169"/>
              <a:gd name="connsiteX933" fmla="*/ 1063238 w 23037085"/>
              <a:gd name="connsiteY933" fmla="*/ 4531455 h 9444169"/>
              <a:gd name="connsiteX934" fmla="*/ 842122 w 23037085"/>
              <a:gd name="connsiteY934" fmla="*/ 4531455 h 9444169"/>
              <a:gd name="connsiteX935" fmla="*/ 787525 w 23037085"/>
              <a:gd name="connsiteY935" fmla="*/ 4531455 h 9444169"/>
              <a:gd name="connsiteX936" fmla="*/ 593708 w 23037085"/>
              <a:gd name="connsiteY936" fmla="*/ 4531455 h 9444169"/>
              <a:gd name="connsiteX937" fmla="*/ 566412 w 23037085"/>
              <a:gd name="connsiteY937" fmla="*/ 4507547 h 9444169"/>
              <a:gd name="connsiteX938" fmla="*/ 556174 w 23037085"/>
              <a:gd name="connsiteY938" fmla="*/ 4486626 h 9444169"/>
              <a:gd name="connsiteX939" fmla="*/ 566412 w 23037085"/>
              <a:gd name="connsiteY939" fmla="*/ 4483640 h 9444169"/>
              <a:gd name="connsiteX940" fmla="*/ 678333 w 23037085"/>
              <a:gd name="connsiteY940" fmla="*/ 4483640 h 9444169"/>
              <a:gd name="connsiteX941" fmla="*/ 760226 w 23037085"/>
              <a:gd name="connsiteY941" fmla="*/ 4483640 h 9444169"/>
              <a:gd name="connsiteX942" fmla="*/ 839051 w 23037085"/>
              <a:gd name="connsiteY942" fmla="*/ 4465709 h 9444169"/>
              <a:gd name="connsiteX943" fmla="*/ 17854644 w 23037085"/>
              <a:gd name="connsiteY943" fmla="*/ 4446985 h 9444169"/>
              <a:gd name="connsiteX944" fmla="*/ 17855566 w 23037085"/>
              <a:gd name="connsiteY944" fmla="*/ 4447459 h 9444169"/>
              <a:gd name="connsiteX945" fmla="*/ 17855578 w 23037085"/>
              <a:gd name="connsiteY945" fmla="*/ 4447459 h 9444169"/>
              <a:gd name="connsiteX946" fmla="*/ 17913236 w 23037085"/>
              <a:gd name="connsiteY946" fmla="*/ 4446793 h 9444169"/>
              <a:gd name="connsiteX947" fmla="*/ 17912944 w 23037085"/>
              <a:gd name="connsiteY947" fmla="*/ 4446985 h 9444169"/>
              <a:gd name="connsiteX948" fmla="*/ 17911314 w 23037085"/>
              <a:gd name="connsiteY948" fmla="*/ 4448889 h 9444169"/>
              <a:gd name="connsiteX949" fmla="*/ 17926234 w 23037085"/>
              <a:gd name="connsiteY949" fmla="*/ 4451516 h 9444169"/>
              <a:gd name="connsiteX950" fmla="*/ 6796485 w 23037085"/>
              <a:gd name="connsiteY950" fmla="*/ 4385195 h 9444169"/>
              <a:gd name="connsiteX951" fmla="*/ 6758232 w 23037085"/>
              <a:gd name="connsiteY951" fmla="*/ 4387651 h 9444169"/>
              <a:gd name="connsiteX952" fmla="*/ 7054557 w 23037085"/>
              <a:gd name="connsiteY952" fmla="*/ 4386078 h 9444169"/>
              <a:gd name="connsiteX953" fmla="*/ 7049042 w 23037085"/>
              <a:gd name="connsiteY953" fmla="*/ 4385195 h 9444169"/>
              <a:gd name="connsiteX954" fmla="*/ 6796485 w 23037085"/>
              <a:gd name="connsiteY954" fmla="*/ 4385195 h 9444169"/>
              <a:gd name="connsiteX955" fmla="*/ 869909 w 23037085"/>
              <a:gd name="connsiteY955" fmla="*/ 4361655 h 9444169"/>
              <a:gd name="connsiteX956" fmla="*/ 892371 w 23037085"/>
              <a:gd name="connsiteY956" fmla="*/ 4384993 h 9444169"/>
              <a:gd name="connsiteX957" fmla="*/ 892371 w 23037085"/>
              <a:gd name="connsiteY957" fmla="*/ 4408331 h 9444169"/>
              <a:gd name="connsiteX958" fmla="*/ 869909 w 23037085"/>
              <a:gd name="connsiteY958" fmla="*/ 4384993 h 9444169"/>
              <a:gd name="connsiteX959" fmla="*/ 746272 w 23037085"/>
              <a:gd name="connsiteY959" fmla="*/ 4361655 h 9444169"/>
              <a:gd name="connsiteX960" fmla="*/ 746272 w 23037085"/>
              <a:gd name="connsiteY960" fmla="*/ 4384993 h 9444169"/>
              <a:gd name="connsiteX961" fmla="*/ 735134 w 23037085"/>
              <a:gd name="connsiteY961" fmla="*/ 4384993 h 9444169"/>
              <a:gd name="connsiteX962" fmla="*/ 746272 w 23037085"/>
              <a:gd name="connsiteY962" fmla="*/ 4361655 h 9444169"/>
              <a:gd name="connsiteX963" fmla="*/ 8056963 w 23037085"/>
              <a:gd name="connsiteY963" fmla="*/ 4359601 h 9444169"/>
              <a:gd name="connsiteX964" fmla="*/ 8057062 w 23037085"/>
              <a:gd name="connsiteY964" fmla="*/ 4360680 h 9444169"/>
              <a:gd name="connsiteX965" fmla="*/ 8065162 w 23037085"/>
              <a:gd name="connsiteY965" fmla="*/ 4360680 h 9444169"/>
              <a:gd name="connsiteX966" fmla="*/ 8064088 w 23037085"/>
              <a:gd name="connsiteY966" fmla="*/ 4360516 h 9444169"/>
              <a:gd name="connsiteX967" fmla="*/ 17161422 w 23037085"/>
              <a:gd name="connsiteY967" fmla="*/ 4344708 h 9444169"/>
              <a:gd name="connsiteX968" fmla="*/ 17159746 w 23037085"/>
              <a:gd name="connsiteY968" fmla="*/ 4347065 h 9444169"/>
              <a:gd name="connsiteX969" fmla="*/ 17141728 w 23037085"/>
              <a:gd name="connsiteY969" fmla="*/ 4346577 h 9444169"/>
              <a:gd name="connsiteX970" fmla="*/ 17157944 w 23037085"/>
              <a:gd name="connsiteY970" fmla="*/ 4357957 h 9444169"/>
              <a:gd name="connsiteX971" fmla="*/ 17167592 w 23037085"/>
              <a:gd name="connsiteY971" fmla="*/ 4359438 h 9444169"/>
              <a:gd name="connsiteX972" fmla="*/ 8330338 w 23037085"/>
              <a:gd name="connsiteY972" fmla="*/ 4340032 h 9444169"/>
              <a:gd name="connsiteX973" fmla="*/ 8322930 w 23037085"/>
              <a:gd name="connsiteY973" fmla="*/ 4340438 h 9444169"/>
              <a:gd name="connsiteX974" fmla="*/ 8361573 w 23037085"/>
              <a:gd name="connsiteY974" fmla="*/ 4360516 h 9444169"/>
              <a:gd name="connsiteX975" fmla="*/ 8372567 w 23037085"/>
              <a:gd name="connsiteY975" fmla="*/ 4361754 h 9444169"/>
              <a:gd name="connsiteX976" fmla="*/ 8377338 w 23037085"/>
              <a:gd name="connsiteY976" fmla="*/ 4358616 h 9444169"/>
              <a:gd name="connsiteX977" fmla="*/ 8381028 w 23037085"/>
              <a:gd name="connsiteY977" fmla="*/ 4358616 h 9444169"/>
              <a:gd name="connsiteX978" fmla="*/ 8373637 w 23037085"/>
              <a:gd name="connsiteY978" fmla="*/ 4348427 h 9444169"/>
              <a:gd name="connsiteX979" fmla="*/ 8385520 w 23037085"/>
              <a:gd name="connsiteY979" fmla="*/ 4346406 h 9444169"/>
              <a:gd name="connsiteX980" fmla="*/ 8375412 w 23037085"/>
              <a:gd name="connsiteY980" fmla="*/ 4347065 h 9444169"/>
              <a:gd name="connsiteX981" fmla="*/ 8008180 w 23037085"/>
              <a:gd name="connsiteY981" fmla="*/ 4321199 h 9444169"/>
              <a:gd name="connsiteX982" fmla="*/ 7996323 w 23037085"/>
              <a:gd name="connsiteY982" fmla="*/ 4322445 h 9444169"/>
              <a:gd name="connsiteX983" fmla="*/ 8031632 w 23037085"/>
              <a:gd name="connsiteY983" fmla="*/ 4332072 h 9444169"/>
              <a:gd name="connsiteX984" fmla="*/ 8038063 w 23037085"/>
              <a:gd name="connsiteY984" fmla="*/ 4336466 h 9444169"/>
              <a:gd name="connsiteX985" fmla="*/ 8063176 w 23037085"/>
              <a:gd name="connsiteY985" fmla="*/ 4330064 h 9444169"/>
              <a:gd name="connsiteX986" fmla="*/ 12126810 w 23037085"/>
              <a:gd name="connsiteY986" fmla="*/ 4264186 h 9444169"/>
              <a:gd name="connsiteX987" fmla="*/ 12111423 w 23037085"/>
              <a:gd name="connsiteY987" fmla="*/ 4267961 h 9444169"/>
              <a:gd name="connsiteX988" fmla="*/ 12091558 w 23037085"/>
              <a:gd name="connsiteY988" fmla="*/ 4279374 h 9444169"/>
              <a:gd name="connsiteX989" fmla="*/ 12117622 w 23037085"/>
              <a:gd name="connsiteY989" fmla="*/ 4279374 h 9444169"/>
              <a:gd name="connsiteX990" fmla="*/ 12138177 w 23037085"/>
              <a:gd name="connsiteY990" fmla="*/ 4279958 h 9444169"/>
              <a:gd name="connsiteX991" fmla="*/ 22899870 w 23037085"/>
              <a:gd name="connsiteY991" fmla="*/ 4239421 h 9444169"/>
              <a:gd name="connsiteX992" fmla="*/ 22895618 w 23037085"/>
              <a:gd name="connsiteY992" fmla="*/ 4239499 h 9444169"/>
              <a:gd name="connsiteX993" fmla="*/ 22896994 w 23037085"/>
              <a:gd name="connsiteY993" fmla="*/ 4240083 h 9444169"/>
              <a:gd name="connsiteX994" fmla="*/ 22892472 w 23037085"/>
              <a:gd name="connsiteY994" fmla="*/ 4244467 h 9444169"/>
              <a:gd name="connsiteX995" fmla="*/ 22899870 w 23037085"/>
              <a:gd name="connsiteY995" fmla="*/ 4243926 h 9444169"/>
              <a:gd name="connsiteX996" fmla="*/ 7344722 w 23037085"/>
              <a:gd name="connsiteY996" fmla="*/ 4187780 h 9444169"/>
              <a:gd name="connsiteX997" fmla="*/ 7346392 w 23037085"/>
              <a:gd name="connsiteY997" fmla="*/ 4188741 h 9444169"/>
              <a:gd name="connsiteX998" fmla="*/ 7348470 w 23037085"/>
              <a:gd name="connsiteY998" fmla="*/ 4187780 h 9444169"/>
              <a:gd name="connsiteX999" fmla="*/ 7755318 w 23037085"/>
              <a:gd name="connsiteY999" fmla="*/ 4181916 h 9444169"/>
              <a:gd name="connsiteX1000" fmla="*/ 7757734 w 23037085"/>
              <a:gd name="connsiteY1000" fmla="*/ 4189086 h 9444169"/>
              <a:gd name="connsiteX1001" fmla="*/ 7756178 w 23037085"/>
              <a:gd name="connsiteY1001" fmla="*/ 4182336 h 9444169"/>
              <a:gd name="connsiteX1002" fmla="*/ 7716876 w 23037085"/>
              <a:gd name="connsiteY1002" fmla="*/ 4163015 h 9444169"/>
              <a:gd name="connsiteX1003" fmla="*/ 7717079 w 23037085"/>
              <a:gd name="connsiteY1003" fmla="*/ 4164442 h 9444169"/>
              <a:gd name="connsiteX1004" fmla="*/ 7722581 w 23037085"/>
              <a:gd name="connsiteY1004" fmla="*/ 4169891 h 9444169"/>
              <a:gd name="connsiteX1005" fmla="*/ 7723560 w 23037085"/>
              <a:gd name="connsiteY1005" fmla="*/ 4170044 h 9444169"/>
              <a:gd name="connsiteX1006" fmla="*/ 7731172 w 23037085"/>
              <a:gd name="connsiteY1006" fmla="*/ 4170044 h 9444169"/>
              <a:gd name="connsiteX1007" fmla="*/ 7728481 w 23037085"/>
              <a:gd name="connsiteY1007" fmla="*/ 4168720 h 9444169"/>
              <a:gd name="connsiteX1008" fmla="*/ 7709268 w 23037085"/>
              <a:gd name="connsiteY1008" fmla="*/ 4138364 h 9444169"/>
              <a:gd name="connsiteX1009" fmla="*/ 7698688 w 23037085"/>
              <a:gd name="connsiteY1009" fmla="*/ 4141105 h 9444169"/>
              <a:gd name="connsiteX1010" fmla="*/ 7709396 w 23037085"/>
              <a:gd name="connsiteY1010" fmla="*/ 4141105 h 9444169"/>
              <a:gd name="connsiteX1011" fmla="*/ 1985791 w 23037085"/>
              <a:gd name="connsiteY1011" fmla="*/ 4124026 h 9444169"/>
              <a:gd name="connsiteX1012" fmla="*/ 1987987 w 23037085"/>
              <a:gd name="connsiteY1012" fmla="*/ 4137372 h 9444169"/>
              <a:gd name="connsiteX1013" fmla="*/ 1992350 w 23037085"/>
              <a:gd name="connsiteY1013" fmla="*/ 4135404 h 9444169"/>
              <a:gd name="connsiteX1014" fmla="*/ 2007709 w 23037085"/>
              <a:gd name="connsiteY1014" fmla="*/ 4126517 h 9444169"/>
              <a:gd name="connsiteX1015" fmla="*/ 1989930 w 23037085"/>
              <a:gd name="connsiteY1015" fmla="*/ 4126517 h 9444169"/>
              <a:gd name="connsiteX1016" fmla="*/ 1876817 w 23037085"/>
              <a:gd name="connsiteY1016" fmla="*/ 4077507 h 9444169"/>
              <a:gd name="connsiteX1017" fmla="*/ 1869792 w 23037085"/>
              <a:gd name="connsiteY1017" fmla="*/ 4097610 h 9444169"/>
              <a:gd name="connsiteX1018" fmla="*/ 1880339 w 23037085"/>
              <a:gd name="connsiteY1018" fmla="*/ 4092312 h 9444169"/>
              <a:gd name="connsiteX1019" fmla="*/ 1933126 w 23037085"/>
              <a:gd name="connsiteY1019" fmla="*/ 4092312 h 9444169"/>
              <a:gd name="connsiteX1020" fmla="*/ 1911165 w 23037085"/>
              <a:gd name="connsiteY1020" fmla="*/ 4079087 h 9444169"/>
              <a:gd name="connsiteX1021" fmla="*/ 1921403 w 23037085"/>
              <a:gd name="connsiteY1021" fmla="*/ 4077507 h 9444169"/>
              <a:gd name="connsiteX1022" fmla="*/ 1910674 w 23037085"/>
              <a:gd name="connsiteY1022" fmla="*/ 4077507 h 9444169"/>
              <a:gd name="connsiteX1023" fmla="*/ 1883229 w 23037085"/>
              <a:gd name="connsiteY1023" fmla="*/ 4077507 h 9444169"/>
              <a:gd name="connsiteX1024" fmla="*/ 15917087 w 23037085"/>
              <a:gd name="connsiteY1024" fmla="*/ 4066596 h 9444169"/>
              <a:gd name="connsiteX1025" fmla="*/ 15921062 w 23037085"/>
              <a:gd name="connsiteY1025" fmla="*/ 4075184 h 9444169"/>
              <a:gd name="connsiteX1026" fmla="*/ 15930048 w 23037085"/>
              <a:gd name="connsiteY1026" fmla="*/ 4075184 h 9444169"/>
              <a:gd name="connsiteX1027" fmla="*/ 15935927 w 23037085"/>
              <a:gd name="connsiteY1027" fmla="*/ 4075301 h 9444169"/>
              <a:gd name="connsiteX1028" fmla="*/ 15933034 w 23037085"/>
              <a:gd name="connsiteY1028" fmla="*/ 4071126 h 9444169"/>
              <a:gd name="connsiteX1029" fmla="*/ 10710977 w 23037085"/>
              <a:gd name="connsiteY1029" fmla="*/ 3991739 h 9444169"/>
              <a:gd name="connsiteX1030" fmla="*/ 10711649 w 23037085"/>
              <a:gd name="connsiteY1030" fmla="*/ 3992245 h 9444169"/>
              <a:gd name="connsiteX1031" fmla="*/ 10716500 w 23037085"/>
              <a:gd name="connsiteY1031" fmla="*/ 3995034 h 9444169"/>
              <a:gd name="connsiteX1032" fmla="*/ 10719083 w 23037085"/>
              <a:gd name="connsiteY1032" fmla="*/ 3991739 h 9444169"/>
              <a:gd name="connsiteX1033" fmla="*/ 7827680 w 23037085"/>
              <a:gd name="connsiteY1033" fmla="*/ 3990326 h 9444169"/>
              <a:gd name="connsiteX1034" fmla="*/ 7891996 w 23037085"/>
              <a:gd name="connsiteY1034" fmla="*/ 4001326 h 9444169"/>
              <a:gd name="connsiteX1035" fmla="*/ 7893228 w 23037085"/>
              <a:gd name="connsiteY1035" fmla="*/ 4001162 h 9444169"/>
              <a:gd name="connsiteX1036" fmla="*/ 7884548 w 23037085"/>
              <a:gd name="connsiteY1036" fmla="*/ 3998885 h 9444169"/>
              <a:gd name="connsiteX1037" fmla="*/ 7864634 w 23037085"/>
              <a:gd name="connsiteY1037" fmla="*/ 3990326 h 9444169"/>
              <a:gd name="connsiteX1038" fmla="*/ 10908495 w 23037085"/>
              <a:gd name="connsiteY1038" fmla="*/ 3934917 h 9444169"/>
              <a:gd name="connsiteX1039" fmla="*/ 10900466 w 23037085"/>
              <a:gd name="connsiteY1039" fmla="*/ 3944092 h 9444169"/>
              <a:gd name="connsiteX1040" fmla="*/ 10902473 w 23037085"/>
              <a:gd name="connsiteY1040" fmla="*/ 3944092 h 9444169"/>
              <a:gd name="connsiteX1041" fmla="*/ 10653457 w 23037085"/>
              <a:gd name="connsiteY1041" fmla="*/ 3934917 h 9444169"/>
              <a:gd name="connsiteX1042" fmla="*/ 10655721 w 23037085"/>
              <a:gd name="connsiteY1042" fmla="*/ 3938262 h 9444169"/>
              <a:gd name="connsiteX1043" fmla="*/ 10657546 w 23037085"/>
              <a:gd name="connsiteY1043" fmla="*/ 3938178 h 9444169"/>
              <a:gd name="connsiteX1044" fmla="*/ 6071095 w 23037085"/>
              <a:gd name="connsiteY1044" fmla="*/ 3879715 h 9444169"/>
              <a:gd name="connsiteX1045" fmla="*/ 6083984 w 23037085"/>
              <a:gd name="connsiteY1045" fmla="*/ 3882818 h 9444169"/>
              <a:gd name="connsiteX1046" fmla="*/ 6080752 w 23037085"/>
              <a:gd name="connsiteY1046" fmla="*/ 3879715 h 9444169"/>
              <a:gd name="connsiteX1047" fmla="*/ 10673582 w 23037085"/>
              <a:gd name="connsiteY1047" fmla="*/ 3877381 h 9444169"/>
              <a:gd name="connsiteX1048" fmla="*/ 10683939 w 23037085"/>
              <a:gd name="connsiteY1048" fmla="*/ 3880320 h 9444169"/>
              <a:gd name="connsiteX1049" fmla="*/ 10709482 w 23037085"/>
              <a:gd name="connsiteY1049" fmla="*/ 3877886 h 9444169"/>
              <a:gd name="connsiteX1050" fmla="*/ 10706535 w 23037085"/>
              <a:gd name="connsiteY1050" fmla="*/ 3877381 h 9444169"/>
              <a:gd name="connsiteX1051" fmla="*/ 6641066 w 23037085"/>
              <a:gd name="connsiteY1051" fmla="*/ 3874836 h 9444169"/>
              <a:gd name="connsiteX1052" fmla="*/ 6637692 w 23037085"/>
              <a:gd name="connsiteY1052" fmla="*/ 3877274 h 9444169"/>
              <a:gd name="connsiteX1053" fmla="*/ 6617955 w 23037085"/>
              <a:gd name="connsiteY1053" fmla="*/ 3883800 h 9444169"/>
              <a:gd name="connsiteX1054" fmla="*/ 6633842 w 23037085"/>
              <a:gd name="connsiteY1054" fmla="*/ 3883800 h 9444169"/>
              <a:gd name="connsiteX1055" fmla="*/ 6646539 w 23037085"/>
              <a:gd name="connsiteY1055" fmla="*/ 3883800 h 9444169"/>
              <a:gd name="connsiteX1056" fmla="*/ 22054804 w 23037085"/>
              <a:gd name="connsiteY1056" fmla="*/ 3850854 h 9444169"/>
              <a:gd name="connsiteX1057" fmla="*/ 22056506 w 23037085"/>
              <a:gd name="connsiteY1057" fmla="*/ 3853822 h 9444169"/>
              <a:gd name="connsiteX1058" fmla="*/ 22056506 w 23037085"/>
              <a:gd name="connsiteY1058" fmla="*/ 3851523 h 9444169"/>
              <a:gd name="connsiteX1059" fmla="*/ 22027438 w 23037085"/>
              <a:gd name="connsiteY1059" fmla="*/ 3826206 h 9444169"/>
              <a:gd name="connsiteX1060" fmla="*/ 22027438 w 23037085"/>
              <a:gd name="connsiteY1060" fmla="*/ 3826655 h 9444169"/>
              <a:gd name="connsiteX1061" fmla="*/ 22028790 w 23037085"/>
              <a:gd name="connsiteY1061" fmla="*/ 3826206 h 9444169"/>
              <a:gd name="connsiteX1062" fmla="*/ 22042082 w 23037085"/>
              <a:gd name="connsiteY1062" fmla="*/ 3829519 h 9444169"/>
              <a:gd name="connsiteX1063" fmla="*/ 22042082 w 23037085"/>
              <a:gd name="connsiteY1063" fmla="*/ 3826206 h 9444169"/>
              <a:gd name="connsiteX1064" fmla="*/ 22028790 w 23037085"/>
              <a:gd name="connsiteY1064" fmla="*/ 3826206 h 9444169"/>
              <a:gd name="connsiteX1065" fmla="*/ 1372233 w 23037085"/>
              <a:gd name="connsiteY1065" fmla="*/ 3818071 h 9444169"/>
              <a:gd name="connsiteX1066" fmla="*/ 1316924 w 23037085"/>
              <a:gd name="connsiteY1066" fmla="*/ 3828160 h 9444169"/>
              <a:gd name="connsiteX1067" fmla="*/ 1360727 w 23037085"/>
              <a:gd name="connsiteY1067" fmla="*/ 3832117 h 9444169"/>
              <a:gd name="connsiteX1068" fmla="*/ 1423314 w 23037085"/>
              <a:gd name="connsiteY1068" fmla="*/ 3826413 h 9444169"/>
              <a:gd name="connsiteX1069" fmla="*/ 1506520 w 23037085"/>
              <a:gd name="connsiteY1069" fmla="*/ 3826413 h 9444169"/>
              <a:gd name="connsiteX1070" fmla="*/ 1590711 w 23037085"/>
              <a:gd name="connsiteY1070" fmla="*/ 3818071 h 9444169"/>
              <a:gd name="connsiteX1071" fmla="*/ 1491182 w 23037085"/>
              <a:gd name="connsiteY1071" fmla="*/ 3818071 h 9444169"/>
              <a:gd name="connsiteX1072" fmla="*/ 1474993 w 23037085"/>
              <a:gd name="connsiteY1072" fmla="*/ 3824370 h 9444169"/>
              <a:gd name="connsiteX1073" fmla="*/ 1377051 w 23037085"/>
              <a:gd name="connsiteY1073" fmla="*/ 3818071 h 9444169"/>
              <a:gd name="connsiteX1074" fmla="*/ 1877820 w 23037085"/>
              <a:gd name="connsiteY1074" fmla="*/ 3810997 h 9444169"/>
              <a:gd name="connsiteX1075" fmla="*/ 1819916 w 23037085"/>
              <a:gd name="connsiteY1075" fmla="*/ 3818071 h 9444169"/>
              <a:gd name="connsiteX1076" fmla="*/ 1807194 w 23037085"/>
              <a:gd name="connsiteY1076" fmla="*/ 3818071 h 9444169"/>
              <a:gd name="connsiteX1077" fmla="*/ 1852208 w 23037085"/>
              <a:gd name="connsiteY1077" fmla="*/ 3828591 h 9444169"/>
              <a:gd name="connsiteX1078" fmla="*/ 1883229 w 23037085"/>
              <a:gd name="connsiteY1078" fmla="*/ 3815608 h 9444169"/>
              <a:gd name="connsiteX1079" fmla="*/ 1897083 w 23037085"/>
              <a:gd name="connsiteY1079" fmla="*/ 3814779 h 9444169"/>
              <a:gd name="connsiteX1080" fmla="*/ 720223 w 23037085"/>
              <a:gd name="connsiteY1080" fmla="*/ 3798068 h 9444169"/>
              <a:gd name="connsiteX1081" fmla="*/ 720223 w 23037085"/>
              <a:gd name="connsiteY1081" fmla="*/ 3821783 h 9444169"/>
              <a:gd name="connsiteX1082" fmla="*/ 477837 w 23037085"/>
              <a:gd name="connsiteY1082" fmla="*/ 3845498 h 9444169"/>
              <a:gd name="connsiteX1083" fmla="*/ 720223 w 23037085"/>
              <a:gd name="connsiteY1083" fmla="*/ 3798068 h 9444169"/>
              <a:gd name="connsiteX1084" fmla="*/ 1567331 w 23037085"/>
              <a:gd name="connsiteY1084" fmla="*/ 3785616 h 9444169"/>
              <a:gd name="connsiteX1085" fmla="*/ 1562103 w 23037085"/>
              <a:gd name="connsiteY1085" fmla="*/ 3790473 h 9444169"/>
              <a:gd name="connsiteX1086" fmla="*/ 1559633 w 23037085"/>
              <a:gd name="connsiteY1086" fmla="*/ 3791434 h 9444169"/>
              <a:gd name="connsiteX1087" fmla="*/ 1568441 w 23037085"/>
              <a:gd name="connsiteY1087" fmla="*/ 3791434 h 9444169"/>
              <a:gd name="connsiteX1088" fmla="*/ 1572182 w 23037085"/>
              <a:gd name="connsiteY1088" fmla="*/ 3789541 h 9444169"/>
              <a:gd name="connsiteX1089" fmla="*/ 10618714 w 23037085"/>
              <a:gd name="connsiteY1089" fmla="*/ 3774534 h 9444169"/>
              <a:gd name="connsiteX1090" fmla="*/ 10617899 w 23037085"/>
              <a:gd name="connsiteY1090" fmla="*/ 3775168 h 9444169"/>
              <a:gd name="connsiteX1091" fmla="*/ 10618436 w 23037085"/>
              <a:gd name="connsiteY1091" fmla="*/ 3775879 h 9444169"/>
              <a:gd name="connsiteX1092" fmla="*/ 19402388 w 23037085"/>
              <a:gd name="connsiteY1092" fmla="*/ 3767477 h 9444169"/>
              <a:gd name="connsiteX1093" fmla="*/ 19402292 w 23037085"/>
              <a:gd name="connsiteY1093" fmla="*/ 3767488 h 9444169"/>
              <a:gd name="connsiteX1094" fmla="*/ 19403076 w 23037085"/>
              <a:gd name="connsiteY1094" fmla="*/ 3767997 h 9444169"/>
              <a:gd name="connsiteX1095" fmla="*/ 19405100 w 23037085"/>
              <a:gd name="connsiteY1095" fmla="*/ 3768086 h 9444169"/>
              <a:gd name="connsiteX1096" fmla="*/ 722091 w 23037085"/>
              <a:gd name="connsiteY1096" fmla="*/ 3737061 h 9444169"/>
              <a:gd name="connsiteX1097" fmla="*/ 745806 w 23037085"/>
              <a:gd name="connsiteY1097" fmla="*/ 3737061 h 9444169"/>
              <a:gd name="connsiteX1098" fmla="*/ 769521 w 23037085"/>
              <a:gd name="connsiteY1098" fmla="*/ 3792196 h 9444169"/>
              <a:gd name="connsiteX1099" fmla="*/ 769521 w 23037085"/>
              <a:gd name="connsiteY1099" fmla="*/ 3818452 h 9444169"/>
              <a:gd name="connsiteX1100" fmla="*/ 769521 w 23037085"/>
              <a:gd name="connsiteY1100" fmla="*/ 3844708 h 9444169"/>
              <a:gd name="connsiteX1101" fmla="*/ 722091 w 23037085"/>
              <a:gd name="connsiteY1101" fmla="*/ 3818452 h 9444169"/>
              <a:gd name="connsiteX1102" fmla="*/ 722091 w 23037085"/>
              <a:gd name="connsiteY1102" fmla="*/ 3792196 h 9444169"/>
              <a:gd name="connsiteX1103" fmla="*/ 698376 w 23037085"/>
              <a:gd name="connsiteY1103" fmla="*/ 3765940 h 9444169"/>
              <a:gd name="connsiteX1104" fmla="*/ 722091 w 23037085"/>
              <a:gd name="connsiteY1104" fmla="*/ 3737061 h 9444169"/>
              <a:gd name="connsiteX1105" fmla="*/ 8606001 w 23037085"/>
              <a:gd name="connsiteY1105" fmla="*/ 3736118 h 9444169"/>
              <a:gd name="connsiteX1106" fmla="*/ 8596219 w 23037085"/>
              <a:gd name="connsiteY1106" fmla="*/ 3738517 h 9444169"/>
              <a:gd name="connsiteX1107" fmla="*/ 8581656 w 23037085"/>
              <a:gd name="connsiteY1107" fmla="*/ 3741605 h 9444169"/>
              <a:gd name="connsiteX1108" fmla="*/ 8601749 w 23037085"/>
              <a:gd name="connsiteY1108" fmla="*/ 3741605 h 9444169"/>
              <a:gd name="connsiteX1109" fmla="*/ 10203411 w 23037085"/>
              <a:gd name="connsiteY1109" fmla="*/ 3728848 h 9444169"/>
              <a:gd name="connsiteX1110" fmla="*/ 10227514 w 23037085"/>
              <a:gd name="connsiteY1110" fmla="*/ 3741605 h 9444169"/>
              <a:gd name="connsiteX1111" fmla="*/ 10230973 w 23037085"/>
              <a:gd name="connsiteY1111" fmla="*/ 3742673 h 9444169"/>
              <a:gd name="connsiteX1112" fmla="*/ 10230692 w 23037085"/>
              <a:gd name="connsiteY1112" fmla="*/ 3742182 h 9444169"/>
              <a:gd name="connsiteX1113" fmla="*/ 10235289 w 23037085"/>
              <a:gd name="connsiteY1113" fmla="*/ 3737178 h 9444169"/>
              <a:gd name="connsiteX1114" fmla="*/ 10230791 w 23037085"/>
              <a:gd name="connsiteY1114" fmla="*/ 3737178 h 9444169"/>
              <a:gd name="connsiteX1115" fmla="*/ 10123016 w 23037085"/>
              <a:gd name="connsiteY1115" fmla="*/ 3713567 h 9444169"/>
              <a:gd name="connsiteX1116" fmla="*/ 10116899 w 23037085"/>
              <a:gd name="connsiteY1116" fmla="*/ 3714481 h 9444169"/>
              <a:gd name="connsiteX1117" fmla="*/ 10141657 w 23037085"/>
              <a:gd name="connsiteY1117" fmla="*/ 3715004 h 9444169"/>
              <a:gd name="connsiteX1118" fmla="*/ 10165120 w 23037085"/>
              <a:gd name="connsiteY1118" fmla="*/ 3716869 h 9444169"/>
              <a:gd name="connsiteX1119" fmla="*/ 10158201 w 23037085"/>
              <a:gd name="connsiteY1119" fmla="*/ 3714659 h 9444169"/>
              <a:gd name="connsiteX1120" fmla="*/ 16991968 w 23037085"/>
              <a:gd name="connsiteY1120" fmla="*/ 3683293 h 9444169"/>
              <a:gd name="connsiteX1121" fmla="*/ 16971284 w 23037085"/>
              <a:gd name="connsiteY1121" fmla="*/ 3684958 h 9444169"/>
              <a:gd name="connsiteX1122" fmla="*/ 16990052 w 23037085"/>
              <a:gd name="connsiteY1122" fmla="*/ 3685457 h 9444169"/>
              <a:gd name="connsiteX1123" fmla="*/ 5247705 w 23037085"/>
              <a:gd name="connsiteY1123" fmla="*/ 3657072 h 9444169"/>
              <a:gd name="connsiteX1124" fmla="*/ 5256922 w 23037085"/>
              <a:gd name="connsiteY1124" fmla="*/ 3662848 h 9444169"/>
              <a:gd name="connsiteX1125" fmla="*/ 5258997 w 23037085"/>
              <a:gd name="connsiteY1125" fmla="*/ 3657072 h 9444169"/>
              <a:gd name="connsiteX1126" fmla="*/ 5688638 w 23037085"/>
              <a:gd name="connsiteY1126" fmla="*/ 3651560 h 9444169"/>
              <a:gd name="connsiteX1127" fmla="*/ 5674147 w 23037085"/>
              <a:gd name="connsiteY1127" fmla="*/ 3657414 h 9444169"/>
              <a:gd name="connsiteX1128" fmla="*/ 5662460 w 23037085"/>
              <a:gd name="connsiteY1128" fmla="*/ 3662944 h 9444169"/>
              <a:gd name="connsiteX1129" fmla="*/ 5672254 w 23037085"/>
              <a:gd name="connsiteY1129" fmla="*/ 3667044 h 9444169"/>
              <a:gd name="connsiteX1130" fmla="*/ 5692122 w 23037085"/>
              <a:gd name="connsiteY1130" fmla="*/ 3667044 h 9444169"/>
              <a:gd name="connsiteX1131" fmla="*/ 4199046 w 23037085"/>
              <a:gd name="connsiteY1131" fmla="*/ 3639695 h 9444169"/>
              <a:gd name="connsiteX1132" fmla="*/ 4196594 w 23037085"/>
              <a:gd name="connsiteY1132" fmla="*/ 3682229 h 9444169"/>
              <a:gd name="connsiteX1133" fmla="*/ 4184640 w 23037085"/>
              <a:gd name="connsiteY1133" fmla="*/ 3692930 h 9444169"/>
              <a:gd name="connsiteX1134" fmla="*/ 4210577 w 23037085"/>
              <a:gd name="connsiteY1134" fmla="*/ 3692930 h 9444169"/>
              <a:gd name="connsiteX1135" fmla="*/ 4216684 w 23037085"/>
              <a:gd name="connsiteY1135" fmla="*/ 3693150 h 9444169"/>
              <a:gd name="connsiteX1136" fmla="*/ 4216684 w 23037085"/>
              <a:gd name="connsiteY1136" fmla="*/ 3684883 h 9444169"/>
              <a:gd name="connsiteX1137" fmla="*/ 4216684 w 23037085"/>
              <a:gd name="connsiteY1137" fmla="*/ 3684367 h 9444169"/>
              <a:gd name="connsiteX1138" fmla="*/ 4214495 w 23037085"/>
              <a:gd name="connsiteY1138" fmla="*/ 3683499 h 9444169"/>
              <a:gd name="connsiteX1139" fmla="*/ 4216684 w 23037085"/>
              <a:gd name="connsiteY1139" fmla="*/ 3683264 h 9444169"/>
              <a:gd name="connsiteX1140" fmla="*/ 4216684 w 23037085"/>
              <a:gd name="connsiteY1140" fmla="*/ 3681581 h 9444169"/>
              <a:gd name="connsiteX1141" fmla="*/ 4213221 w 23037085"/>
              <a:gd name="connsiteY1141" fmla="*/ 3655154 h 9444169"/>
              <a:gd name="connsiteX1142" fmla="*/ 16081232 w 23037085"/>
              <a:gd name="connsiteY1142" fmla="*/ 3620620 h 9444169"/>
              <a:gd name="connsiteX1143" fmla="*/ 16074830 w 23037085"/>
              <a:gd name="connsiteY1143" fmla="*/ 3624158 h 9444169"/>
              <a:gd name="connsiteX1144" fmla="*/ 16060450 w 23037085"/>
              <a:gd name="connsiteY1144" fmla="*/ 3623973 h 9444169"/>
              <a:gd name="connsiteX1145" fmla="*/ 16075760 w 23037085"/>
              <a:gd name="connsiteY1145" fmla="*/ 3631642 h 9444169"/>
              <a:gd name="connsiteX1146" fmla="*/ 16095154 w 23037085"/>
              <a:gd name="connsiteY1146" fmla="*/ 3637190 h 9444169"/>
              <a:gd name="connsiteX1147" fmla="*/ 16100086 w 23037085"/>
              <a:gd name="connsiteY1147" fmla="*/ 3623517 h 9444169"/>
              <a:gd name="connsiteX1148" fmla="*/ 11121550 w 23037085"/>
              <a:gd name="connsiteY1148" fmla="*/ 3578649 h 9444169"/>
              <a:gd name="connsiteX1149" fmla="*/ 11111251 w 23037085"/>
              <a:gd name="connsiteY1149" fmla="*/ 3581998 h 9444169"/>
              <a:gd name="connsiteX1150" fmla="*/ 11130984 w 23037085"/>
              <a:gd name="connsiteY1150" fmla="*/ 3581998 h 9444169"/>
              <a:gd name="connsiteX1151" fmla="*/ 11129831 w 23037085"/>
              <a:gd name="connsiteY1151" fmla="*/ 3578649 h 9444169"/>
              <a:gd name="connsiteX1152" fmla="*/ 1041370 w 23037085"/>
              <a:gd name="connsiteY1152" fmla="*/ 3561802 h 9444169"/>
              <a:gd name="connsiteX1153" fmla="*/ 1027605 w 23037085"/>
              <a:gd name="connsiteY1153" fmla="*/ 3564062 h 9444169"/>
              <a:gd name="connsiteX1154" fmla="*/ 1001854 w 23037085"/>
              <a:gd name="connsiteY1154" fmla="*/ 3573112 h 9444169"/>
              <a:gd name="connsiteX1155" fmla="*/ 1006367 w 23037085"/>
              <a:gd name="connsiteY1155" fmla="*/ 3577001 h 9444169"/>
              <a:gd name="connsiteX1156" fmla="*/ 1033797 w 23037085"/>
              <a:gd name="connsiteY1156" fmla="*/ 3580383 h 9444169"/>
              <a:gd name="connsiteX1157" fmla="*/ 1061228 w 23037085"/>
              <a:gd name="connsiteY1157" fmla="*/ 3580383 h 9444169"/>
              <a:gd name="connsiteX1158" fmla="*/ 1106961 w 23037085"/>
              <a:gd name="connsiteY1158" fmla="*/ 3589892 h 9444169"/>
              <a:gd name="connsiteX1159" fmla="*/ 1065879 w 23037085"/>
              <a:gd name="connsiteY1159" fmla="*/ 3570831 h 9444169"/>
              <a:gd name="connsiteX1160" fmla="*/ 1146843 w 23037085"/>
              <a:gd name="connsiteY1160" fmla="*/ 3562895 h 9444169"/>
              <a:gd name="connsiteX1161" fmla="*/ 1068480 w 23037085"/>
              <a:gd name="connsiteY1161" fmla="*/ 3562895 h 9444169"/>
              <a:gd name="connsiteX1162" fmla="*/ 1041370 w 23037085"/>
              <a:gd name="connsiteY1162" fmla="*/ 3562895 h 9444169"/>
              <a:gd name="connsiteX1163" fmla="*/ 18108984 w 23037085"/>
              <a:gd name="connsiteY1163" fmla="*/ 3520240 h 9444169"/>
              <a:gd name="connsiteX1164" fmla="*/ 18099672 w 23037085"/>
              <a:gd name="connsiteY1164" fmla="*/ 3531585 h 9444169"/>
              <a:gd name="connsiteX1165" fmla="*/ 18108984 w 23037085"/>
              <a:gd name="connsiteY1165" fmla="*/ 3533657 h 9444169"/>
              <a:gd name="connsiteX1166" fmla="*/ 12399666 w 23037085"/>
              <a:gd name="connsiteY1166" fmla="*/ 3467198 h 9444169"/>
              <a:gd name="connsiteX1167" fmla="*/ 12394296 w 23037085"/>
              <a:gd name="connsiteY1167" fmla="*/ 3479056 h 9444169"/>
              <a:gd name="connsiteX1168" fmla="*/ 12399798 w 23037085"/>
              <a:gd name="connsiteY1168" fmla="*/ 3487675 h 9444169"/>
              <a:gd name="connsiteX1169" fmla="*/ 12401873 w 23037085"/>
              <a:gd name="connsiteY1169" fmla="*/ 3487746 h 9444169"/>
              <a:gd name="connsiteX1170" fmla="*/ 9895602 w 23037085"/>
              <a:gd name="connsiteY1170" fmla="*/ 3452226 h 9444169"/>
              <a:gd name="connsiteX1171" fmla="*/ 9920274 w 23037085"/>
              <a:gd name="connsiteY1171" fmla="*/ 3462661 h 9444169"/>
              <a:gd name="connsiteX1172" fmla="*/ 9914993 w 23037085"/>
              <a:gd name="connsiteY1172" fmla="*/ 3453515 h 9444169"/>
              <a:gd name="connsiteX1173" fmla="*/ 1041370 w 23037085"/>
              <a:gd name="connsiteY1173" fmla="*/ 3416978 h 9444169"/>
              <a:gd name="connsiteX1174" fmla="*/ 1064708 w 23037085"/>
              <a:gd name="connsiteY1174" fmla="*/ 3416978 h 9444169"/>
              <a:gd name="connsiteX1175" fmla="*/ 1064708 w 23037085"/>
              <a:gd name="connsiteY1175" fmla="*/ 3428116 h 9444169"/>
              <a:gd name="connsiteX1176" fmla="*/ 1041370 w 23037085"/>
              <a:gd name="connsiteY1176" fmla="*/ 3428116 h 9444169"/>
              <a:gd name="connsiteX1177" fmla="*/ 16423306 w 23037085"/>
              <a:gd name="connsiteY1177" fmla="*/ 3391128 h 9444169"/>
              <a:gd name="connsiteX1178" fmla="*/ 16424550 w 23037085"/>
              <a:gd name="connsiteY1178" fmla="*/ 3392153 h 9444169"/>
              <a:gd name="connsiteX1179" fmla="*/ 16425112 w 23037085"/>
              <a:gd name="connsiteY1179" fmla="*/ 3391152 h 9444169"/>
              <a:gd name="connsiteX1180" fmla="*/ 12424648 w 23037085"/>
              <a:gd name="connsiteY1180" fmla="*/ 3385230 h 9444169"/>
              <a:gd name="connsiteX1181" fmla="*/ 12415324 w 23037085"/>
              <a:gd name="connsiteY1181" fmla="*/ 3389003 h 9444169"/>
              <a:gd name="connsiteX1182" fmla="*/ 12414310 w 23037085"/>
              <a:gd name="connsiteY1182" fmla="*/ 3404672 h 9444169"/>
              <a:gd name="connsiteX1183" fmla="*/ 12429559 w 23037085"/>
              <a:gd name="connsiteY1183" fmla="*/ 3385230 h 9444169"/>
              <a:gd name="connsiteX1184" fmla="*/ 14950916 w 23037085"/>
              <a:gd name="connsiteY1184" fmla="*/ 3322576 h 9444169"/>
              <a:gd name="connsiteX1185" fmla="*/ 14950916 w 23037085"/>
              <a:gd name="connsiteY1185" fmla="*/ 3325014 h 9444169"/>
              <a:gd name="connsiteX1186" fmla="*/ 14950916 w 23037085"/>
              <a:gd name="connsiteY1186" fmla="*/ 3347373 h 9444169"/>
              <a:gd name="connsiteX1187" fmla="*/ 14957717 w 23037085"/>
              <a:gd name="connsiteY1187" fmla="*/ 3348206 h 9444169"/>
              <a:gd name="connsiteX1188" fmla="*/ 14960055 w 23037085"/>
              <a:gd name="connsiteY1188" fmla="*/ 3348384 h 9444169"/>
              <a:gd name="connsiteX1189" fmla="*/ 14960055 w 23037085"/>
              <a:gd name="connsiteY1189" fmla="*/ 3347427 h 9444169"/>
              <a:gd name="connsiteX1190" fmla="*/ 14960055 w 23037085"/>
              <a:gd name="connsiteY1190" fmla="*/ 3324669 h 9444169"/>
              <a:gd name="connsiteX1191" fmla="*/ 14955364 w 23037085"/>
              <a:gd name="connsiteY1191" fmla="*/ 3322576 h 9444169"/>
              <a:gd name="connsiteX1192" fmla="*/ 13442499 w 23037085"/>
              <a:gd name="connsiteY1192" fmla="*/ 3316508 h 9444169"/>
              <a:gd name="connsiteX1193" fmla="*/ 13442940 w 23037085"/>
              <a:gd name="connsiteY1193" fmla="*/ 3316704 h 9444169"/>
              <a:gd name="connsiteX1194" fmla="*/ 13443019 w 23037085"/>
              <a:gd name="connsiteY1194" fmla="*/ 3316565 h 9444169"/>
              <a:gd name="connsiteX1195" fmla="*/ 11117842 w 23037085"/>
              <a:gd name="connsiteY1195" fmla="*/ 3313729 h 9444169"/>
              <a:gd name="connsiteX1196" fmla="*/ 11041234 w 23037085"/>
              <a:gd name="connsiteY1196" fmla="*/ 3338683 h 9444169"/>
              <a:gd name="connsiteX1197" fmla="*/ 11086152 w 23037085"/>
              <a:gd name="connsiteY1197" fmla="*/ 3335775 h 9444169"/>
              <a:gd name="connsiteX1198" fmla="*/ 11098590 w 23037085"/>
              <a:gd name="connsiteY1198" fmla="*/ 3332772 h 9444169"/>
              <a:gd name="connsiteX1199" fmla="*/ 11129084 w 23037085"/>
              <a:gd name="connsiteY1199" fmla="*/ 3332772 h 9444169"/>
              <a:gd name="connsiteX1200" fmla="*/ 11130500 w 23037085"/>
              <a:gd name="connsiteY1200" fmla="*/ 3332907 h 9444169"/>
              <a:gd name="connsiteX1201" fmla="*/ 11134479 w 23037085"/>
              <a:gd name="connsiteY1201" fmla="*/ 3332647 h 9444169"/>
              <a:gd name="connsiteX1202" fmla="*/ 11134109 w 23037085"/>
              <a:gd name="connsiteY1202" fmla="*/ 3333241 h 9444169"/>
              <a:gd name="connsiteX1203" fmla="*/ 11137351 w 23037085"/>
              <a:gd name="connsiteY1203" fmla="*/ 3333544 h 9444169"/>
              <a:gd name="connsiteX1204" fmla="*/ 11137351 w 23037085"/>
              <a:gd name="connsiteY1204" fmla="*/ 3313729 h 9444169"/>
              <a:gd name="connsiteX1205" fmla="*/ 11124863 w 23037085"/>
              <a:gd name="connsiteY1205" fmla="*/ 3313729 h 9444169"/>
              <a:gd name="connsiteX1206" fmla="*/ 1285383 w 23037085"/>
              <a:gd name="connsiteY1206" fmla="*/ 3254189 h 9444169"/>
              <a:gd name="connsiteX1207" fmla="*/ 1279248 w 23037085"/>
              <a:gd name="connsiteY1207" fmla="*/ 3256036 h 9444169"/>
              <a:gd name="connsiteX1208" fmla="*/ 1285472 w 23037085"/>
              <a:gd name="connsiteY1208" fmla="*/ 3262000 h 9444169"/>
              <a:gd name="connsiteX1209" fmla="*/ 1287774 w 23037085"/>
              <a:gd name="connsiteY1209" fmla="*/ 3263242 h 9444169"/>
              <a:gd name="connsiteX1210" fmla="*/ 1305226 w 23037085"/>
              <a:gd name="connsiteY1210" fmla="*/ 3254189 h 9444169"/>
              <a:gd name="connsiteX1211" fmla="*/ 9244670 w 23037085"/>
              <a:gd name="connsiteY1211" fmla="*/ 3236402 h 9444169"/>
              <a:gd name="connsiteX1212" fmla="*/ 9248228 w 23037085"/>
              <a:gd name="connsiteY1212" fmla="*/ 3239164 h 9444169"/>
              <a:gd name="connsiteX1213" fmla="*/ 9252122 w 23037085"/>
              <a:gd name="connsiteY1213" fmla="*/ 3237282 h 9444169"/>
              <a:gd name="connsiteX1214" fmla="*/ 9251478 w 23037085"/>
              <a:gd name="connsiteY1214" fmla="*/ 3237431 h 9444169"/>
              <a:gd name="connsiteX1215" fmla="*/ 9318659 w 23037085"/>
              <a:gd name="connsiteY1215" fmla="*/ 3229851 h 9444169"/>
              <a:gd name="connsiteX1216" fmla="*/ 9321485 w 23037085"/>
              <a:gd name="connsiteY1216" fmla="*/ 3232075 h 9444169"/>
              <a:gd name="connsiteX1217" fmla="*/ 9316595 w 23037085"/>
              <a:gd name="connsiteY1217" fmla="*/ 3232075 h 9444169"/>
              <a:gd name="connsiteX1218" fmla="*/ 9331292 w 23037085"/>
              <a:gd name="connsiteY1218" fmla="*/ 3239164 h 9444169"/>
              <a:gd name="connsiteX1219" fmla="*/ 9393117 w 23037085"/>
              <a:gd name="connsiteY1219" fmla="*/ 3239164 h 9444169"/>
              <a:gd name="connsiteX1220" fmla="*/ 16159794 w 23037085"/>
              <a:gd name="connsiteY1220" fmla="*/ 3227185 h 9444169"/>
              <a:gd name="connsiteX1221" fmla="*/ 16157232 w 23037085"/>
              <a:gd name="connsiteY1221" fmla="*/ 3227395 h 9444169"/>
              <a:gd name="connsiteX1222" fmla="*/ 16191478 w 23037085"/>
              <a:gd name="connsiteY1222" fmla="*/ 3234883 h 9444169"/>
              <a:gd name="connsiteX1223" fmla="*/ 16181466 w 23037085"/>
              <a:gd name="connsiteY1223" fmla="*/ 3229566 h 9444169"/>
              <a:gd name="connsiteX1224" fmla="*/ 13662313 w 23037085"/>
              <a:gd name="connsiteY1224" fmla="*/ 3222701 h 9444169"/>
              <a:gd name="connsiteX1225" fmla="*/ 13643889 w 23037085"/>
              <a:gd name="connsiteY1225" fmla="*/ 3238096 h 9444169"/>
              <a:gd name="connsiteX1226" fmla="*/ 13658643 w 23037085"/>
              <a:gd name="connsiteY1226" fmla="*/ 3240388 h 9444169"/>
              <a:gd name="connsiteX1227" fmla="*/ 13666309 w 23037085"/>
              <a:gd name="connsiteY1227" fmla="*/ 3227185 h 9444169"/>
              <a:gd name="connsiteX1228" fmla="*/ 13662732 w 23037085"/>
              <a:gd name="connsiteY1228" fmla="*/ 3227185 h 9444169"/>
              <a:gd name="connsiteX1229" fmla="*/ 12601686 w 23037085"/>
              <a:gd name="connsiteY1229" fmla="*/ 3199417 h 9444169"/>
              <a:gd name="connsiteX1230" fmla="*/ 12601686 w 23037085"/>
              <a:gd name="connsiteY1230" fmla="*/ 3203684 h 9444169"/>
              <a:gd name="connsiteX1231" fmla="*/ 12605142 w 23037085"/>
              <a:gd name="connsiteY1231" fmla="*/ 3199555 h 9444169"/>
              <a:gd name="connsiteX1232" fmla="*/ 5752029 w 23037085"/>
              <a:gd name="connsiteY1232" fmla="*/ 3172182 h 9444169"/>
              <a:gd name="connsiteX1233" fmla="*/ 5753132 w 23037085"/>
              <a:gd name="connsiteY1233" fmla="*/ 3180926 h 9444169"/>
              <a:gd name="connsiteX1234" fmla="*/ 5758780 w 23037085"/>
              <a:gd name="connsiteY1234" fmla="*/ 3178976 h 9444169"/>
              <a:gd name="connsiteX1235" fmla="*/ 5768161 w 23037085"/>
              <a:gd name="connsiteY1235" fmla="*/ 3178976 h 9444169"/>
              <a:gd name="connsiteX1236" fmla="*/ 5759829 w 23037085"/>
              <a:gd name="connsiteY1236" fmla="*/ 3172182 h 9444169"/>
              <a:gd name="connsiteX1237" fmla="*/ 10366822 w 23037085"/>
              <a:gd name="connsiteY1237" fmla="*/ 3118866 h 9444169"/>
              <a:gd name="connsiteX1238" fmla="*/ 10368452 w 23037085"/>
              <a:gd name="connsiteY1238" fmla="*/ 3125140 h 9444169"/>
              <a:gd name="connsiteX1239" fmla="*/ 10368452 w 23037085"/>
              <a:gd name="connsiteY1239" fmla="*/ 3118866 h 9444169"/>
              <a:gd name="connsiteX1240" fmla="*/ 10150877 w 23037085"/>
              <a:gd name="connsiteY1240" fmla="*/ 3091912 h 9444169"/>
              <a:gd name="connsiteX1241" fmla="*/ 10148298 w 23037085"/>
              <a:gd name="connsiteY1241" fmla="*/ 3092165 h 9444169"/>
              <a:gd name="connsiteX1242" fmla="*/ 10145554 w 23037085"/>
              <a:gd name="connsiteY1242" fmla="*/ 3097471 h 9444169"/>
              <a:gd name="connsiteX1243" fmla="*/ 18693368 w 23037085"/>
              <a:gd name="connsiteY1243" fmla="*/ 3090752 h 9444169"/>
              <a:gd name="connsiteX1244" fmla="*/ 18694122 w 23037085"/>
              <a:gd name="connsiteY1244" fmla="*/ 3091442 h 9444169"/>
              <a:gd name="connsiteX1245" fmla="*/ 18726084 w 23037085"/>
              <a:gd name="connsiteY1245" fmla="*/ 3095610 h 9444169"/>
              <a:gd name="connsiteX1246" fmla="*/ 18700554 w 23037085"/>
              <a:gd name="connsiteY1246" fmla="*/ 3090752 h 9444169"/>
              <a:gd name="connsiteX1247" fmla="*/ 6240200 w 23037085"/>
              <a:gd name="connsiteY1247" fmla="*/ 3004076 h 9444169"/>
              <a:gd name="connsiteX1248" fmla="*/ 6239638 w 23037085"/>
              <a:gd name="connsiteY1248" fmla="*/ 3004407 h 9444169"/>
              <a:gd name="connsiteX1249" fmla="*/ 6240528 w 23037085"/>
              <a:gd name="connsiteY1249" fmla="*/ 3004344 h 9444169"/>
              <a:gd name="connsiteX1250" fmla="*/ 11411847 w 23037085"/>
              <a:gd name="connsiteY1250" fmla="*/ 2953838 h 9444169"/>
              <a:gd name="connsiteX1251" fmla="*/ 11412506 w 23037085"/>
              <a:gd name="connsiteY1251" fmla="*/ 2953945 h 9444169"/>
              <a:gd name="connsiteX1252" fmla="*/ 11412762 w 23037085"/>
              <a:gd name="connsiteY1252" fmla="*/ 2953863 h 9444169"/>
              <a:gd name="connsiteX1253" fmla="*/ 16543796 w 23037085"/>
              <a:gd name="connsiteY1253" fmla="*/ 2947707 h 9444169"/>
              <a:gd name="connsiteX1254" fmla="*/ 16534838 w 23037085"/>
              <a:gd name="connsiteY1254" fmla="*/ 2948315 h 9444169"/>
              <a:gd name="connsiteX1255" fmla="*/ 16550998 w 23037085"/>
              <a:gd name="connsiteY1255" fmla="*/ 2953543 h 9444169"/>
              <a:gd name="connsiteX1256" fmla="*/ 16551710 w 23037085"/>
              <a:gd name="connsiteY1256" fmla="*/ 2953664 h 9444169"/>
              <a:gd name="connsiteX1257" fmla="*/ 16550910 w 23037085"/>
              <a:gd name="connsiteY1257" fmla="*/ 2947707 h 9444169"/>
              <a:gd name="connsiteX1258" fmla="*/ 9618955 w 23037085"/>
              <a:gd name="connsiteY1258" fmla="*/ 2938013 h 9444169"/>
              <a:gd name="connsiteX1259" fmla="*/ 9639799 w 23037085"/>
              <a:gd name="connsiteY1259" fmla="*/ 2952814 h 9444169"/>
              <a:gd name="connsiteX1260" fmla="*/ 9628414 w 23037085"/>
              <a:gd name="connsiteY1260" fmla="*/ 2941717 h 9444169"/>
              <a:gd name="connsiteX1261" fmla="*/ 9508936 w 23037085"/>
              <a:gd name="connsiteY1261" fmla="*/ 2917582 h 9444169"/>
              <a:gd name="connsiteX1262" fmla="*/ 9511882 w 23037085"/>
              <a:gd name="connsiteY1262" fmla="*/ 2920550 h 9444169"/>
              <a:gd name="connsiteX1263" fmla="*/ 9520935 w 23037085"/>
              <a:gd name="connsiteY1263" fmla="*/ 2922066 h 9444169"/>
              <a:gd name="connsiteX1264" fmla="*/ 9521707 w 23037085"/>
              <a:gd name="connsiteY1264" fmla="*/ 2919991 h 9444169"/>
              <a:gd name="connsiteX1265" fmla="*/ 9520522 w 23037085"/>
              <a:gd name="connsiteY1265" fmla="*/ 2919991 h 9444169"/>
              <a:gd name="connsiteX1266" fmla="*/ 9582308 w 23037085"/>
              <a:gd name="connsiteY1266" fmla="*/ 2898678 h 9444169"/>
              <a:gd name="connsiteX1267" fmla="*/ 9582215 w 23037085"/>
              <a:gd name="connsiteY1267" fmla="*/ 2898984 h 9444169"/>
              <a:gd name="connsiteX1268" fmla="*/ 9584639 w 23037085"/>
              <a:gd name="connsiteY1268" fmla="*/ 2898984 h 9444169"/>
              <a:gd name="connsiteX1269" fmla="*/ 9601852 w 23037085"/>
              <a:gd name="connsiteY1269" fmla="*/ 2925899 h 9444169"/>
              <a:gd name="connsiteX1270" fmla="*/ 9604920 w 23037085"/>
              <a:gd name="connsiteY1270" fmla="*/ 2928091 h 9444169"/>
              <a:gd name="connsiteX1271" fmla="*/ 9614479 w 23037085"/>
              <a:gd name="connsiteY1271" fmla="*/ 2928091 h 9444169"/>
              <a:gd name="connsiteX1272" fmla="*/ 9612208 w 23037085"/>
              <a:gd name="connsiteY1272" fmla="*/ 2925899 h 9444169"/>
              <a:gd name="connsiteX1273" fmla="*/ 9584639 w 23037085"/>
              <a:gd name="connsiteY1273" fmla="*/ 2898984 h 9444169"/>
              <a:gd name="connsiteX1274" fmla="*/ 19249796 w 23037085"/>
              <a:gd name="connsiteY1274" fmla="*/ 2894333 h 9444169"/>
              <a:gd name="connsiteX1275" fmla="*/ 19243170 w 23037085"/>
              <a:gd name="connsiteY1275" fmla="*/ 2911831 h 9444169"/>
              <a:gd name="connsiteX1276" fmla="*/ 19251688 w 23037085"/>
              <a:gd name="connsiteY1276" fmla="*/ 2926657 h 9444169"/>
              <a:gd name="connsiteX1277" fmla="*/ 19251688 w 23037085"/>
              <a:gd name="connsiteY1277" fmla="*/ 2894504 h 9444169"/>
              <a:gd name="connsiteX1278" fmla="*/ 13239849 w 23037085"/>
              <a:gd name="connsiteY1278" fmla="*/ 2798679 h 9444169"/>
              <a:gd name="connsiteX1279" fmla="*/ 13220639 w 23037085"/>
              <a:gd name="connsiteY1279" fmla="*/ 2805110 h 9444169"/>
              <a:gd name="connsiteX1280" fmla="*/ 13218789 w 23037085"/>
              <a:gd name="connsiteY1280" fmla="*/ 2817779 h 9444169"/>
              <a:gd name="connsiteX1281" fmla="*/ 13227180 w 23037085"/>
              <a:gd name="connsiteY1281" fmla="*/ 2817779 h 9444169"/>
              <a:gd name="connsiteX1282" fmla="*/ 13234077 w 23037085"/>
              <a:gd name="connsiteY1282" fmla="*/ 2819821 h 9444169"/>
              <a:gd name="connsiteX1283" fmla="*/ 13231098 w 23037085"/>
              <a:gd name="connsiteY1283" fmla="*/ 2816060 h 9444169"/>
              <a:gd name="connsiteX1284" fmla="*/ 11433246 w 23037085"/>
              <a:gd name="connsiteY1284" fmla="*/ 2731409 h 9444169"/>
              <a:gd name="connsiteX1285" fmla="*/ 11425303 w 23037085"/>
              <a:gd name="connsiteY1285" fmla="*/ 2732776 h 9444169"/>
              <a:gd name="connsiteX1286" fmla="*/ 11366463 w 23037085"/>
              <a:gd name="connsiteY1286" fmla="*/ 2746469 h 9444169"/>
              <a:gd name="connsiteX1287" fmla="*/ 11357801 w 23037085"/>
              <a:gd name="connsiteY1287" fmla="*/ 2763046 h 9444169"/>
              <a:gd name="connsiteX1288" fmla="*/ 11373253 w 23037085"/>
              <a:gd name="connsiteY1288" fmla="*/ 2761729 h 9444169"/>
              <a:gd name="connsiteX1289" fmla="*/ 11384815 w 23037085"/>
              <a:gd name="connsiteY1289" fmla="*/ 2768299 h 9444169"/>
              <a:gd name="connsiteX1290" fmla="*/ 11384815 w 23037085"/>
              <a:gd name="connsiteY1290" fmla="*/ 2761985 h 9444169"/>
              <a:gd name="connsiteX1291" fmla="*/ 11397470 w 23037085"/>
              <a:gd name="connsiteY1291" fmla="*/ 2753985 h 9444169"/>
              <a:gd name="connsiteX1292" fmla="*/ 1636217 w 23037085"/>
              <a:gd name="connsiteY1292" fmla="*/ 2716384 h 9444169"/>
              <a:gd name="connsiteX1293" fmla="*/ 1639017 w 23037085"/>
              <a:gd name="connsiteY1293" fmla="*/ 2724932 h 9444169"/>
              <a:gd name="connsiteX1294" fmla="*/ 1637576 w 23037085"/>
              <a:gd name="connsiteY1294" fmla="*/ 2726288 h 9444169"/>
              <a:gd name="connsiteX1295" fmla="*/ 1650658 w 23037085"/>
              <a:gd name="connsiteY1295" fmla="*/ 2722345 h 9444169"/>
              <a:gd name="connsiteX1296" fmla="*/ 13568576 w 23037085"/>
              <a:gd name="connsiteY1296" fmla="*/ 2702932 h 9444169"/>
              <a:gd name="connsiteX1297" fmla="*/ 13560505 w 23037085"/>
              <a:gd name="connsiteY1297" fmla="*/ 2704957 h 9444169"/>
              <a:gd name="connsiteX1298" fmla="*/ 13560505 w 23037085"/>
              <a:gd name="connsiteY1298" fmla="*/ 2718516 h 9444169"/>
              <a:gd name="connsiteX1299" fmla="*/ 13564851 w 23037085"/>
              <a:gd name="connsiteY1299" fmla="*/ 2710128 h 9444169"/>
              <a:gd name="connsiteX1300" fmla="*/ 8126811 w 23037085"/>
              <a:gd name="connsiteY1300" fmla="*/ 2678139 h 9444169"/>
              <a:gd name="connsiteX1301" fmla="*/ 8115622 w 23037085"/>
              <a:gd name="connsiteY1301" fmla="*/ 2692957 h 9444169"/>
              <a:gd name="connsiteX1302" fmla="*/ 8091981 w 23037085"/>
              <a:gd name="connsiteY1302" fmla="*/ 2692957 h 9444169"/>
              <a:gd name="connsiteX1303" fmla="*/ 8093621 w 23037085"/>
              <a:gd name="connsiteY1303" fmla="*/ 2695598 h 9444169"/>
              <a:gd name="connsiteX1304" fmla="*/ 8117091 w 23037085"/>
              <a:gd name="connsiteY1304" fmla="*/ 2695598 h 9444169"/>
              <a:gd name="connsiteX1305" fmla="*/ 8137130 w 23037085"/>
              <a:gd name="connsiteY1305" fmla="*/ 2696452 h 9444169"/>
              <a:gd name="connsiteX1306" fmla="*/ 8138539 w 23037085"/>
              <a:gd name="connsiteY1306" fmla="*/ 2662609 h 9444169"/>
              <a:gd name="connsiteX1307" fmla="*/ 8128621 w 23037085"/>
              <a:gd name="connsiteY1307" fmla="*/ 2675744 h 9444169"/>
              <a:gd name="connsiteX1308" fmla="*/ 8150261 w 23037085"/>
              <a:gd name="connsiteY1308" fmla="*/ 2664232 h 9444169"/>
              <a:gd name="connsiteX1309" fmla="*/ 735059 w 23037085"/>
              <a:gd name="connsiteY1309" fmla="*/ 2657313 h 9444169"/>
              <a:gd name="connsiteX1310" fmla="*/ 746198 w 23037085"/>
              <a:gd name="connsiteY1310" fmla="*/ 2657313 h 9444169"/>
              <a:gd name="connsiteX1311" fmla="*/ 746198 w 23037085"/>
              <a:gd name="connsiteY1311" fmla="*/ 2668452 h 9444169"/>
              <a:gd name="connsiteX1312" fmla="*/ 735059 w 23037085"/>
              <a:gd name="connsiteY1312" fmla="*/ 2668452 h 9444169"/>
              <a:gd name="connsiteX1313" fmla="*/ 7923011 w 23037085"/>
              <a:gd name="connsiteY1313" fmla="*/ 2640716 h 9444169"/>
              <a:gd name="connsiteX1314" fmla="*/ 7921769 w 23037085"/>
              <a:gd name="connsiteY1314" fmla="*/ 2648168 h 9444169"/>
              <a:gd name="connsiteX1315" fmla="*/ 7926910 w 23037085"/>
              <a:gd name="connsiteY1315" fmla="*/ 2647730 h 9444169"/>
              <a:gd name="connsiteX1316" fmla="*/ 7958480 w 23037085"/>
              <a:gd name="connsiteY1316" fmla="*/ 2643833 h 9444169"/>
              <a:gd name="connsiteX1317" fmla="*/ 7924530 w 23037085"/>
              <a:gd name="connsiteY1317" fmla="*/ 2641118 h 9444169"/>
              <a:gd name="connsiteX1318" fmla="*/ 10441601 w 23037085"/>
              <a:gd name="connsiteY1318" fmla="*/ 2609556 h 9444169"/>
              <a:gd name="connsiteX1319" fmla="*/ 10440779 w 23037085"/>
              <a:gd name="connsiteY1319" fmla="*/ 2609606 h 9444169"/>
              <a:gd name="connsiteX1320" fmla="*/ 10441007 w 23037085"/>
              <a:gd name="connsiteY1320" fmla="*/ 2609623 h 9444169"/>
              <a:gd name="connsiteX1321" fmla="*/ 19850806 w 23037085"/>
              <a:gd name="connsiteY1321" fmla="*/ 2599207 h 9444169"/>
              <a:gd name="connsiteX1322" fmla="*/ 19839230 w 23037085"/>
              <a:gd name="connsiteY1322" fmla="*/ 2603616 h 9444169"/>
              <a:gd name="connsiteX1323" fmla="*/ 19841552 w 23037085"/>
              <a:gd name="connsiteY1323" fmla="*/ 2608065 h 9444169"/>
              <a:gd name="connsiteX1324" fmla="*/ 19827934 w 23037085"/>
              <a:gd name="connsiteY1324" fmla="*/ 2617097 h 9444169"/>
              <a:gd name="connsiteX1325" fmla="*/ 19845866 w 23037085"/>
              <a:gd name="connsiteY1325" fmla="*/ 2627755 h 9444169"/>
              <a:gd name="connsiteX1326" fmla="*/ 19848976 w 23037085"/>
              <a:gd name="connsiteY1326" fmla="*/ 2628011 h 9444169"/>
              <a:gd name="connsiteX1327" fmla="*/ 20785330 w 23037085"/>
              <a:gd name="connsiteY1327" fmla="*/ 2515104 h 9444169"/>
              <a:gd name="connsiteX1328" fmla="*/ 20814460 w 23037085"/>
              <a:gd name="connsiteY1328" fmla="*/ 2529158 h 9444169"/>
              <a:gd name="connsiteX1329" fmla="*/ 20885382 w 23037085"/>
              <a:gd name="connsiteY1329" fmla="*/ 2554489 h 9444169"/>
              <a:gd name="connsiteX1330" fmla="*/ 20906642 w 23037085"/>
              <a:gd name="connsiteY1330" fmla="*/ 2564019 h 9444169"/>
              <a:gd name="connsiteX1331" fmla="*/ 20909714 w 23037085"/>
              <a:gd name="connsiteY1331" fmla="*/ 2564510 h 9444169"/>
              <a:gd name="connsiteX1332" fmla="*/ 20885382 w 23037085"/>
              <a:gd name="connsiteY1332" fmla="*/ 2554489 h 9444169"/>
              <a:gd name="connsiteX1333" fmla="*/ 20821842 w 23037085"/>
              <a:gd name="connsiteY1333" fmla="*/ 2527603 h 9444169"/>
              <a:gd name="connsiteX1334" fmla="*/ 9965152 w 23037085"/>
              <a:gd name="connsiteY1334" fmla="*/ 2502521 h 9444169"/>
              <a:gd name="connsiteX1335" fmla="*/ 9973658 w 23037085"/>
              <a:gd name="connsiteY1335" fmla="*/ 2511738 h 9444169"/>
              <a:gd name="connsiteX1336" fmla="*/ 10022405 w 23037085"/>
              <a:gd name="connsiteY1336" fmla="*/ 2511738 h 9444169"/>
              <a:gd name="connsiteX1337" fmla="*/ 6152948 w 23037085"/>
              <a:gd name="connsiteY1337" fmla="*/ 2416162 h 9444169"/>
              <a:gd name="connsiteX1338" fmla="*/ 6107923 w 23037085"/>
              <a:gd name="connsiteY1338" fmla="*/ 2424393 h 9444169"/>
              <a:gd name="connsiteX1339" fmla="*/ 6098339 w 23037085"/>
              <a:gd name="connsiteY1339" fmla="*/ 2432390 h 9444169"/>
              <a:gd name="connsiteX1340" fmla="*/ 6102390 w 23037085"/>
              <a:gd name="connsiteY1340" fmla="*/ 2431593 h 9444169"/>
              <a:gd name="connsiteX1341" fmla="*/ 1511207 w 23037085"/>
              <a:gd name="connsiteY1341" fmla="*/ 2358130 h 9444169"/>
              <a:gd name="connsiteX1342" fmla="*/ 1514242 w 23037085"/>
              <a:gd name="connsiteY1342" fmla="*/ 2359742 h 9444169"/>
              <a:gd name="connsiteX1343" fmla="*/ 1514022 w 23037085"/>
              <a:gd name="connsiteY1343" fmla="*/ 2358130 h 9444169"/>
              <a:gd name="connsiteX1344" fmla="*/ 1485780 w 23037085"/>
              <a:gd name="connsiteY1344" fmla="*/ 2358130 h 9444169"/>
              <a:gd name="connsiteX1345" fmla="*/ 1497171 w 23037085"/>
              <a:gd name="connsiteY1345" fmla="*/ 2364543 h 9444169"/>
              <a:gd name="connsiteX1346" fmla="*/ 1508388 w 23037085"/>
              <a:gd name="connsiteY1346" fmla="*/ 2358130 h 9444169"/>
              <a:gd name="connsiteX1347" fmla="*/ 15157658 w 23037085"/>
              <a:gd name="connsiteY1347" fmla="*/ 2267206 h 9444169"/>
              <a:gd name="connsiteX1348" fmla="*/ 15301095 w 23037085"/>
              <a:gd name="connsiteY1348" fmla="*/ 2279846 h 9444169"/>
              <a:gd name="connsiteX1349" fmla="*/ 15276255 w 23037085"/>
              <a:gd name="connsiteY1349" fmla="*/ 2274291 h 9444169"/>
              <a:gd name="connsiteX1350" fmla="*/ 15216270 w 23037085"/>
              <a:gd name="connsiteY1350" fmla="*/ 2268384 h 9444169"/>
              <a:gd name="connsiteX1351" fmla="*/ 13402859 w 23037085"/>
              <a:gd name="connsiteY1351" fmla="*/ 2223177 h 9444169"/>
              <a:gd name="connsiteX1352" fmla="*/ 13395240 w 23037085"/>
              <a:gd name="connsiteY1352" fmla="*/ 2227220 h 9444169"/>
              <a:gd name="connsiteX1353" fmla="*/ 13399015 w 23037085"/>
              <a:gd name="connsiteY1353" fmla="*/ 2229725 h 9444169"/>
              <a:gd name="connsiteX1354" fmla="*/ 13409613 w 23037085"/>
              <a:gd name="connsiteY1354" fmla="*/ 2229725 h 9444169"/>
              <a:gd name="connsiteX1355" fmla="*/ 14677832 w 23037085"/>
              <a:gd name="connsiteY1355" fmla="*/ 2216758 h 9444169"/>
              <a:gd name="connsiteX1356" fmla="*/ 14940307 w 23037085"/>
              <a:gd name="connsiteY1356" fmla="*/ 2248053 h 9444169"/>
              <a:gd name="connsiteX1357" fmla="*/ 14992563 w 23037085"/>
              <a:gd name="connsiteY1357" fmla="*/ 2252658 h 9444169"/>
              <a:gd name="connsiteX1358" fmla="*/ 14918265 w 23037085"/>
              <a:gd name="connsiteY1358" fmla="*/ 2242206 h 9444169"/>
              <a:gd name="connsiteX1359" fmla="*/ 14863792 w 23037085"/>
              <a:gd name="connsiteY1359" fmla="*/ 2233907 h 9444169"/>
              <a:gd name="connsiteX1360" fmla="*/ 14685782 w 23037085"/>
              <a:gd name="connsiteY1360" fmla="*/ 2216936 h 9444169"/>
              <a:gd name="connsiteX1361" fmla="*/ 14187391 w 23037085"/>
              <a:gd name="connsiteY1361" fmla="*/ 2215288 h 9444169"/>
              <a:gd name="connsiteX1362" fmla="*/ 14197715 w 23037085"/>
              <a:gd name="connsiteY1362" fmla="*/ 2218345 h 9444169"/>
              <a:gd name="connsiteX1363" fmla="*/ 14198359 w 23037085"/>
              <a:gd name="connsiteY1363" fmla="*/ 2215288 h 9444169"/>
              <a:gd name="connsiteX1364" fmla="*/ 4108314 w 23037085"/>
              <a:gd name="connsiteY1364" fmla="*/ 2215103 h 9444169"/>
              <a:gd name="connsiteX1365" fmla="*/ 4060410 w 23037085"/>
              <a:gd name="connsiteY1365" fmla="*/ 2225594 h 9444169"/>
              <a:gd name="connsiteX1366" fmla="*/ 4109887 w 23037085"/>
              <a:gd name="connsiteY1366" fmla="*/ 2215103 h 9444169"/>
              <a:gd name="connsiteX1367" fmla="*/ 10242236 w 23037085"/>
              <a:gd name="connsiteY1367" fmla="*/ 2213459 h 9444169"/>
              <a:gd name="connsiteX1368" fmla="*/ 10357694 w 23037085"/>
              <a:gd name="connsiteY1368" fmla="*/ 2224551 h 9444169"/>
              <a:gd name="connsiteX1369" fmla="*/ 10336445 w 23037085"/>
              <a:gd name="connsiteY1369" fmla="*/ 2217701 h 9444169"/>
              <a:gd name="connsiteX1370" fmla="*/ 583541 w 23037085"/>
              <a:gd name="connsiteY1370" fmla="*/ 2205220 h 9444169"/>
              <a:gd name="connsiteX1371" fmla="*/ 609967 w 23037085"/>
              <a:gd name="connsiteY1371" fmla="*/ 2228935 h 9444169"/>
              <a:gd name="connsiteX1372" fmla="*/ 557114 w 23037085"/>
              <a:gd name="connsiteY1372" fmla="*/ 2276366 h 9444169"/>
              <a:gd name="connsiteX1373" fmla="*/ 477833 w 23037085"/>
              <a:gd name="connsiteY1373" fmla="*/ 2276366 h 9444169"/>
              <a:gd name="connsiteX1374" fmla="*/ 508189 w 23037085"/>
              <a:gd name="connsiteY1374" fmla="*/ 2259031 h 9444169"/>
              <a:gd name="connsiteX1375" fmla="*/ 499082 w 23037085"/>
              <a:gd name="connsiteY1375" fmla="*/ 2259031 h 9444169"/>
              <a:gd name="connsiteX1376" fmla="*/ 468345 w 23037085"/>
              <a:gd name="connsiteY1376" fmla="*/ 2276964 h 9444169"/>
              <a:gd name="connsiteX1377" fmla="*/ 416574 w 23037085"/>
              <a:gd name="connsiteY1377" fmla="*/ 2276964 h 9444169"/>
              <a:gd name="connsiteX1378" fmla="*/ 442459 w 23037085"/>
              <a:gd name="connsiteY1378" fmla="*/ 2229149 h 9444169"/>
              <a:gd name="connsiteX1379" fmla="*/ 571886 w 23037085"/>
              <a:gd name="connsiteY1379" fmla="*/ 2205242 h 9444169"/>
              <a:gd name="connsiteX1380" fmla="*/ 570992 w 23037085"/>
              <a:gd name="connsiteY1380" fmla="*/ 2229996 h 9444169"/>
              <a:gd name="connsiteX1381" fmla="*/ 8727175 w 23037085"/>
              <a:gd name="connsiteY1381" fmla="*/ 2197085 h 9444169"/>
              <a:gd name="connsiteX1382" fmla="*/ 8727175 w 23037085"/>
              <a:gd name="connsiteY1382" fmla="*/ 2208519 h 9444169"/>
              <a:gd name="connsiteX1383" fmla="*/ 8765837 w 23037085"/>
              <a:gd name="connsiteY1383" fmla="*/ 2205494 h 9444169"/>
              <a:gd name="connsiteX1384" fmla="*/ 8776929 w 23037085"/>
              <a:gd name="connsiteY1384" fmla="*/ 2205989 h 9444169"/>
              <a:gd name="connsiteX1385" fmla="*/ 8778427 w 23037085"/>
              <a:gd name="connsiteY1385" fmla="*/ 2204644 h 9444169"/>
              <a:gd name="connsiteX1386" fmla="*/ 8800687 w 23037085"/>
              <a:gd name="connsiteY1386" fmla="*/ 2206046 h 9444169"/>
              <a:gd name="connsiteX1387" fmla="*/ 8768495 w 23037085"/>
              <a:gd name="connsiteY1387" fmla="*/ 2197085 h 9444169"/>
              <a:gd name="connsiteX1388" fmla="*/ 5670154 w 23037085"/>
              <a:gd name="connsiteY1388" fmla="*/ 2195331 h 9444169"/>
              <a:gd name="connsiteX1389" fmla="*/ 5667745 w 23037085"/>
              <a:gd name="connsiteY1389" fmla="*/ 2195921 h 9444169"/>
              <a:gd name="connsiteX1390" fmla="*/ 5673571 w 23037085"/>
              <a:gd name="connsiteY1390" fmla="*/ 2195921 h 9444169"/>
              <a:gd name="connsiteX1391" fmla="*/ 14245736 w 23037085"/>
              <a:gd name="connsiteY1391" fmla="*/ 2188366 h 9444169"/>
              <a:gd name="connsiteX1392" fmla="*/ 14237302 w 23037085"/>
              <a:gd name="connsiteY1392" fmla="*/ 2193057 h 9444169"/>
              <a:gd name="connsiteX1393" fmla="*/ 14279767 w 23037085"/>
              <a:gd name="connsiteY1393" fmla="*/ 2196694 h 9444169"/>
              <a:gd name="connsiteX1394" fmla="*/ 14323308 w 23037085"/>
              <a:gd name="connsiteY1394" fmla="*/ 2198427 h 9444169"/>
              <a:gd name="connsiteX1395" fmla="*/ 6818840 w 23037085"/>
              <a:gd name="connsiteY1395" fmla="*/ 2179117 h 9444169"/>
              <a:gd name="connsiteX1396" fmla="*/ 6814598 w 23037085"/>
              <a:gd name="connsiteY1396" fmla="*/ 2195761 h 9444169"/>
              <a:gd name="connsiteX1397" fmla="*/ 6831449 w 23037085"/>
              <a:gd name="connsiteY1397" fmla="*/ 2197085 h 9444169"/>
              <a:gd name="connsiteX1398" fmla="*/ 6850192 w 23037085"/>
              <a:gd name="connsiteY1398" fmla="*/ 2194840 h 9444169"/>
              <a:gd name="connsiteX1399" fmla="*/ 6833477 w 23037085"/>
              <a:gd name="connsiteY1399" fmla="*/ 2190783 h 9444169"/>
              <a:gd name="connsiteX1400" fmla="*/ 13380290 w 23037085"/>
              <a:gd name="connsiteY1400" fmla="*/ 2161448 h 9444169"/>
              <a:gd name="connsiteX1401" fmla="*/ 13382168 w 23037085"/>
              <a:gd name="connsiteY1401" fmla="*/ 2161815 h 9444169"/>
              <a:gd name="connsiteX1402" fmla="*/ 13382645 w 23037085"/>
              <a:gd name="connsiteY1402" fmla="*/ 2161448 h 9444169"/>
              <a:gd name="connsiteX1403" fmla="*/ 4965148 w 23037085"/>
              <a:gd name="connsiteY1403" fmla="*/ 2132594 h 9444169"/>
              <a:gd name="connsiteX1404" fmla="*/ 4969618 w 23037085"/>
              <a:gd name="connsiteY1404" fmla="*/ 2141690 h 9444169"/>
              <a:gd name="connsiteX1405" fmla="*/ 5002942 w 23037085"/>
              <a:gd name="connsiteY1405" fmla="*/ 2141690 h 9444169"/>
              <a:gd name="connsiteX1406" fmla="*/ 5003073 w 23037085"/>
              <a:gd name="connsiteY1406" fmla="*/ 2141609 h 9444169"/>
              <a:gd name="connsiteX1407" fmla="*/ 4988283 w 23037085"/>
              <a:gd name="connsiteY1407" fmla="*/ 2138523 h 9444169"/>
              <a:gd name="connsiteX1408" fmla="*/ 1571189 w 23037085"/>
              <a:gd name="connsiteY1408" fmla="*/ 2116669 h 9444169"/>
              <a:gd name="connsiteX1409" fmla="*/ 1563242 w 23037085"/>
              <a:gd name="connsiteY1409" fmla="*/ 2119893 h 9444169"/>
              <a:gd name="connsiteX1410" fmla="*/ 1564833 w 23037085"/>
              <a:gd name="connsiteY1410" fmla="*/ 2122965 h 9444169"/>
              <a:gd name="connsiteX1411" fmla="*/ 4339241 w 23037085"/>
              <a:gd name="connsiteY1411" fmla="*/ 2112559 h 9444169"/>
              <a:gd name="connsiteX1412" fmla="*/ 4339683 w 23037085"/>
              <a:gd name="connsiteY1412" fmla="*/ 2113324 h 9444169"/>
              <a:gd name="connsiteX1413" fmla="*/ 4351088 w 23037085"/>
              <a:gd name="connsiteY1413" fmla="*/ 2128385 h 9444169"/>
              <a:gd name="connsiteX1414" fmla="*/ 4341768 w 23037085"/>
              <a:gd name="connsiteY1414" fmla="*/ 2140690 h 9444169"/>
              <a:gd name="connsiteX1415" fmla="*/ 4350074 w 23037085"/>
              <a:gd name="connsiteY1415" fmla="*/ 2138523 h 9444169"/>
              <a:gd name="connsiteX1416" fmla="*/ 4360740 w 23037085"/>
              <a:gd name="connsiteY1416" fmla="*/ 2135612 h 9444169"/>
              <a:gd name="connsiteX1417" fmla="*/ 4359234 w 23037085"/>
              <a:gd name="connsiteY1417" fmla="*/ 2129335 h 9444169"/>
              <a:gd name="connsiteX1418" fmla="*/ 4351582 w 23037085"/>
              <a:gd name="connsiteY1418" fmla="*/ 2129335 h 9444169"/>
              <a:gd name="connsiteX1419" fmla="*/ 4348526 w 23037085"/>
              <a:gd name="connsiteY1419" fmla="*/ 2118086 h 9444169"/>
              <a:gd name="connsiteX1420" fmla="*/ 5264178 w 23037085"/>
              <a:gd name="connsiteY1420" fmla="*/ 2104000 h 9444169"/>
              <a:gd name="connsiteX1421" fmla="*/ 5260321 w 23037085"/>
              <a:gd name="connsiteY1421" fmla="*/ 2104107 h 9444169"/>
              <a:gd name="connsiteX1422" fmla="*/ 5255335 w 23037085"/>
              <a:gd name="connsiteY1422" fmla="*/ 2111861 h 9444169"/>
              <a:gd name="connsiteX1423" fmla="*/ 1894969 w 23037085"/>
              <a:gd name="connsiteY1423" fmla="*/ 2065719 h 9444169"/>
              <a:gd name="connsiteX1424" fmla="*/ 1899895 w 23037085"/>
              <a:gd name="connsiteY1424" fmla="*/ 2071364 h 9444169"/>
              <a:gd name="connsiteX1425" fmla="*/ 1904888 w 23037085"/>
              <a:gd name="connsiteY1425" fmla="*/ 2068072 h 9444169"/>
              <a:gd name="connsiteX1426" fmla="*/ 1904179 w 23037085"/>
              <a:gd name="connsiteY1426" fmla="*/ 2068072 h 9444169"/>
              <a:gd name="connsiteX1427" fmla="*/ 5088827 w 23037085"/>
              <a:gd name="connsiteY1427" fmla="*/ 2058616 h 9444169"/>
              <a:gd name="connsiteX1428" fmla="*/ 5076325 w 23037085"/>
              <a:gd name="connsiteY1428" fmla="*/ 2060367 h 9444169"/>
              <a:gd name="connsiteX1429" fmla="*/ 5088318 w 23037085"/>
              <a:gd name="connsiteY1429" fmla="*/ 2064090 h 9444169"/>
              <a:gd name="connsiteX1430" fmla="*/ 14387607 w 23037085"/>
              <a:gd name="connsiteY1430" fmla="*/ 2042449 h 9444169"/>
              <a:gd name="connsiteX1431" fmla="*/ 14415720 w 23037085"/>
              <a:gd name="connsiteY1431" fmla="*/ 2053428 h 9444169"/>
              <a:gd name="connsiteX1432" fmla="*/ 14425379 w 23037085"/>
              <a:gd name="connsiteY1432" fmla="*/ 2055766 h 9444169"/>
              <a:gd name="connsiteX1433" fmla="*/ 14427709 w 23037085"/>
              <a:gd name="connsiteY1433" fmla="*/ 2043567 h 9444169"/>
              <a:gd name="connsiteX1434" fmla="*/ 14413560 w 23037085"/>
              <a:gd name="connsiteY1434" fmla="*/ 2043567 h 9444169"/>
              <a:gd name="connsiteX1435" fmla="*/ 1275952 w 23037085"/>
              <a:gd name="connsiteY1435" fmla="*/ 2019061 h 9444169"/>
              <a:gd name="connsiteX1436" fmla="*/ 1276959 w 23037085"/>
              <a:gd name="connsiteY1436" fmla="*/ 2020257 h 9444169"/>
              <a:gd name="connsiteX1437" fmla="*/ 1260821 w 23037085"/>
              <a:gd name="connsiteY1437" fmla="*/ 2039385 h 9444169"/>
              <a:gd name="connsiteX1438" fmla="*/ 1272490 w 23037085"/>
              <a:gd name="connsiteY1438" fmla="*/ 2041503 h 9444169"/>
              <a:gd name="connsiteX1439" fmla="*/ 1291493 w 23037085"/>
              <a:gd name="connsiteY1439" fmla="*/ 2033108 h 9444169"/>
              <a:gd name="connsiteX1440" fmla="*/ 1324479 w 23037085"/>
              <a:gd name="connsiteY1440" fmla="*/ 2019061 h 9444169"/>
              <a:gd name="connsiteX1441" fmla="*/ 1455221 w 23037085"/>
              <a:gd name="connsiteY1441" fmla="*/ 2016649 h 9444169"/>
              <a:gd name="connsiteX1442" fmla="*/ 1455221 w 23037085"/>
              <a:gd name="connsiteY1442" fmla="*/ 2035072 h 9444169"/>
              <a:gd name="connsiteX1443" fmla="*/ 1460044 w 23037085"/>
              <a:gd name="connsiteY1443" fmla="*/ 2036335 h 9444169"/>
              <a:gd name="connsiteX1444" fmla="*/ 1460044 w 23037085"/>
              <a:gd name="connsiteY1444" fmla="*/ 2016649 h 9444169"/>
              <a:gd name="connsiteX1445" fmla="*/ 1405172 w 23037085"/>
              <a:gd name="connsiteY1445" fmla="*/ 1999926 h 9444169"/>
              <a:gd name="connsiteX1446" fmla="*/ 1388759 w 23037085"/>
              <a:gd name="connsiteY1446" fmla="*/ 2009200 h 9444169"/>
              <a:gd name="connsiteX1447" fmla="*/ 1413350 w 23037085"/>
              <a:gd name="connsiteY1447" fmla="*/ 2009200 h 9444169"/>
              <a:gd name="connsiteX1448" fmla="*/ 1428325 w 23037085"/>
              <a:gd name="connsiteY1448" fmla="*/ 2009200 h 9444169"/>
              <a:gd name="connsiteX1449" fmla="*/ 1430524 w 23037085"/>
              <a:gd name="connsiteY1449" fmla="*/ 2009200 h 9444169"/>
              <a:gd name="connsiteX1450" fmla="*/ 1253618 w 23037085"/>
              <a:gd name="connsiteY1450" fmla="*/ 1994556 h 9444169"/>
              <a:gd name="connsiteX1451" fmla="*/ 1256788 w 23037085"/>
              <a:gd name="connsiteY1451" fmla="*/ 1996350 h 9444169"/>
              <a:gd name="connsiteX1452" fmla="*/ 1264038 w 23037085"/>
              <a:gd name="connsiteY1452" fmla="*/ 2004940 h 9444169"/>
              <a:gd name="connsiteX1453" fmla="*/ 1265102 w 23037085"/>
              <a:gd name="connsiteY1453" fmla="*/ 1998311 h 9444169"/>
              <a:gd name="connsiteX1454" fmla="*/ 1288479 w 23037085"/>
              <a:gd name="connsiteY1454" fmla="*/ 1995346 h 9444169"/>
              <a:gd name="connsiteX1455" fmla="*/ 1289931 w 23037085"/>
              <a:gd name="connsiteY1455" fmla="*/ 1994556 h 9444169"/>
              <a:gd name="connsiteX1456" fmla="*/ 1253692 w 23037085"/>
              <a:gd name="connsiteY1456" fmla="*/ 1994556 h 9444169"/>
              <a:gd name="connsiteX1457" fmla="*/ 1153102 w 23037085"/>
              <a:gd name="connsiteY1457" fmla="*/ 1994556 h 9444169"/>
              <a:gd name="connsiteX1458" fmla="*/ 1151914 w 23037085"/>
              <a:gd name="connsiteY1458" fmla="*/ 1995866 h 9444169"/>
              <a:gd name="connsiteX1459" fmla="*/ 1159291 w 23037085"/>
              <a:gd name="connsiteY1459" fmla="*/ 1994556 h 9444169"/>
              <a:gd name="connsiteX1460" fmla="*/ 10945676 w 23037085"/>
              <a:gd name="connsiteY1460" fmla="*/ 1965795 h 9444169"/>
              <a:gd name="connsiteX1461" fmla="*/ 10844008 w 23037085"/>
              <a:gd name="connsiteY1461" fmla="*/ 1974183 h 9444169"/>
              <a:gd name="connsiteX1462" fmla="*/ 10854958 w 23037085"/>
              <a:gd name="connsiteY1462" fmla="*/ 1974820 h 9444169"/>
              <a:gd name="connsiteX1463" fmla="*/ 11224158 w 23037085"/>
              <a:gd name="connsiteY1463" fmla="*/ 1974820 h 9444169"/>
              <a:gd name="connsiteX1464" fmla="*/ 11119647 w 23037085"/>
              <a:gd name="connsiteY1464" fmla="*/ 1969325 h 9444169"/>
              <a:gd name="connsiteX1465" fmla="*/ 1161270 w 23037085"/>
              <a:gd name="connsiteY1465" fmla="*/ 1945678 h 9444169"/>
              <a:gd name="connsiteX1466" fmla="*/ 1161270 w 23037085"/>
              <a:gd name="connsiteY1466" fmla="*/ 1947126 h 9444169"/>
              <a:gd name="connsiteX1467" fmla="*/ 1162953 w 23037085"/>
              <a:gd name="connsiteY1467" fmla="*/ 1947126 h 9444169"/>
              <a:gd name="connsiteX1468" fmla="*/ 13486961 w 23037085"/>
              <a:gd name="connsiteY1468" fmla="*/ 1940763 h 9444169"/>
              <a:gd name="connsiteX1469" fmla="*/ 13476876 w 23037085"/>
              <a:gd name="connsiteY1469" fmla="*/ 1955329 h 9444169"/>
              <a:gd name="connsiteX1470" fmla="*/ 13497118 w 23037085"/>
              <a:gd name="connsiteY1470" fmla="*/ 1947937 h 9444169"/>
              <a:gd name="connsiteX1471" fmla="*/ 13506050 w 23037085"/>
              <a:gd name="connsiteY1471" fmla="*/ 1947937 h 9444169"/>
              <a:gd name="connsiteX1472" fmla="*/ 13489549 w 23037085"/>
              <a:gd name="connsiteY1472" fmla="*/ 1940763 h 9444169"/>
              <a:gd name="connsiteX1473" fmla="*/ 6631988 w 23037085"/>
              <a:gd name="connsiteY1473" fmla="*/ 1934386 h 9444169"/>
              <a:gd name="connsiteX1474" fmla="*/ 6633859 w 23037085"/>
              <a:gd name="connsiteY1474" fmla="*/ 1946795 h 9444169"/>
              <a:gd name="connsiteX1475" fmla="*/ 6652429 w 23037085"/>
              <a:gd name="connsiteY1475" fmla="*/ 1943884 h 9444169"/>
              <a:gd name="connsiteX1476" fmla="*/ 13728284 w 23037085"/>
              <a:gd name="connsiteY1476" fmla="*/ 1926539 h 9444169"/>
              <a:gd name="connsiteX1477" fmla="*/ 13720586 w 23037085"/>
              <a:gd name="connsiteY1477" fmla="*/ 1947937 h 9444169"/>
              <a:gd name="connsiteX1478" fmla="*/ 13746807 w 23037085"/>
              <a:gd name="connsiteY1478" fmla="*/ 1947937 h 9444169"/>
              <a:gd name="connsiteX1479" fmla="*/ 13792500 w 23037085"/>
              <a:gd name="connsiteY1479" fmla="*/ 1953211 h 9444169"/>
              <a:gd name="connsiteX1480" fmla="*/ 13749650 w 23037085"/>
              <a:gd name="connsiteY1480" fmla="*/ 1933592 h 9444169"/>
              <a:gd name="connsiteX1481" fmla="*/ 5922085 w 23037085"/>
              <a:gd name="connsiteY1481" fmla="*/ 1916468 h 9444169"/>
              <a:gd name="connsiteX1482" fmla="*/ 5910690 w 23037085"/>
              <a:gd name="connsiteY1482" fmla="*/ 1925418 h 9444169"/>
              <a:gd name="connsiteX1483" fmla="*/ 5940188 w 23037085"/>
              <a:gd name="connsiteY1483" fmla="*/ 1925418 h 9444169"/>
              <a:gd name="connsiteX1484" fmla="*/ 14592153 w 23037085"/>
              <a:gd name="connsiteY1484" fmla="*/ 1909785 h 9444169"/>
              <a:gd name="connsiteX1485" fmla="*/ 14593491 w 23037085"/>
              <a:gd name="connsiteY1485" fmla="*/ 1915418 h 9444169"/>
              <a:gd name="connsiteX1486" fmla="*/ 14607360 w 23037085"/>
              <a:gd name="connsiteY1486" fmla="*/ 1914859 h 9444169"/>
              <a:gd name="connsiteX1487" fmla="*/ 9214072 w 23037085"/>
              <a:gd name="connsiteY1487" fmla="*/ 1907037 h 9444169"/>
              <a:gd name="connsiteX1488" fmla="*/ 9145329 w 23037085"/>
              <a:gd name="connsiteY1488" fmla="*/ 1910272 h 9444169"/>
              <a:gd name="connsiteX1489" fmla="*/ 9029924 w 23037085"/>
              <a:gd name="connsiteY1489" fmla="*/ 1918674 h 9444169"/>
              <a:gd name="connsiteX1490" fmla="*/ 9157709 w 23037085"/>
              <a:gd name="connsiteY1490" fmla="*/ 1922044 h 9444169"/>
              <a:gd name="connsiteX1491" fmla="*/ 9231058 w 23037085"/>
              <a:gd name="connsiteY1491" fmla="*/ 1909788 h 9444169"/>
              <a:gd name="connsiteX1492" fmla="*/ 6747197 w 23037085"/>
              <a:gd name="connsiteY1492" fmla="*/ 1907037 h 9444169"/>
              <a:gd name="connsiteX1493" fmla="*/ 6735353 w 23037085"/>
              <a:gd name="connsiteY1493" fmla="*/ 1912005 h 9444169"/>
              <a:gd name="connsiteX1494" fmla="*/ 6731951 w 23037085"/>
              <a:gd name="connsiteY1494" fmla="*/ 1920695 h 9444169"/>
              <a:gd name="connsiteX1495" fmla="*/ 6751563 w 23037085"/>
              <a:gd name="connsiteY1495" fmla="*/ 1907560 h 9444169"/>
              <a:gd name="connsiteX1496" fmla="*/ 6699844 w 23037085"/>
              <a:gd name="connsiteY1496" fmla="*/ 1904507 h 9444169"/>
              <a:gd name="connsiteX1497" fmla="*/ 6683962 w 23037085"/>
              <a:gd name="connsiteY1497" fmla="*/ 1907037 h 9444169"/>
              <a:gd name="connsiteX1498" fmla="*/ 6677763 w 23037085"/>
              <a:gd name="connsiteY1498" fmla="*/ 1908852 h 9444169"/>
              <a:gd name="connsiteX1499" fmla="*/ 6682386 w 23037085"/>
              <a:gd name="connsiteY1499" fmla="*/ 1910368 h 9444169"/>
              <a:gd name="connsiteX1500" fmla="*/ 6702393 w 23037085"/>
              <a:gd name="connsiteY1500" fmla="*/ 1910368 h 9444169"/>
              <a:gd name="connsiteX1501" fmla="*/ 6587863 w 23037085"/>
              <a:gd name="connsiteY1501" fmla="*/ 1899653 h 9444169"/>
              <a:gd name="connsiteX1502" fmla="*/ 6585728 w 23037085"/>
              <a:gd name="connsiteY1502" fmla="*/ 1900041 h 9444169"/>
              <a:gd name="connsiteX1503" fmla="*/ 6593208 w 23037085"/>
              <a:gd name="connsiteY1503" fmla="*/ 1901055 h 9444169"/>
              <a:gd name="connsiteX1504" fmla="*/ 6594023 w 23037085"/>
              <a:gd name="connsiteY1504" fmla="*/ 1900852 h 9444169"/>
              <a:gd name="connsiteX1505" fmla="*/ 9995035 w 23037085"/>
              <a:gd name="connsiteY1505" fmla="*/ 1893977 h 9444169"/>
              <a:gd name="connsiteX1506" fmla="*/ 9995035 w 23037085"/>
              <a:gd name="connsiteY1506" fmla="*/ 1894927 h 9444169"/>
              <a:gd name="connsiteX1507" fmla="*/ 9995828 w 23037085"/>
              <a:gd name="connsiteY1507" fmla="*/ 1894927 h 9444169"/>
              <a:gd name="connsiteX1508" fmla="*/ 9996519 w 23037085"/>
              <a:gd name="connsiteY1508" fmla="*/ 1887386 h 9444169"/>
              <a:gd name="connsiteX1509" fmla="*/ 9995035 w 23037085"/>
              <a:gd name="connsiteY1509" fmla="*/ 1887436 h 9444169"/>
              <a:gd name="connsiteX1510" fmla="*/ 9995035 w 23037085"/>
              <a:gd name="connsiteY1510" fmla="*/ 1889286 h 9444169"/>
              <a:gd name="connsiteX1511" fmla="*/ 14586459 w 23037085"/>
              <a:gd name="connsiteY1511" fmla="*/ 1885824 h 9444169"/>
              <a:gd name="connsiteX1512" fmla="*/ 14587669 w 23037085"/>
              <a:gd name="connsiteY1512" fmla="*/ 1890923 h 9444169"/>
              <a:gd name="connsiteX1513" fmla="*/ 14590082 w 23037085"/>
              <a:gd name="connsiteY1513" fmla="*/ 1891895 h 9444169"/>
              <a:gd name="connsiteX1514" fmla="*/ 14613908 w 23037085"/>
              <a:gd name="connsiteY1514" fmla="*/ 1892375 h 9444169"/>
              <a:gd name="connsiteX1515" fmla="*/ 14591338 w 23037085"/>
              <a:gd name="connsiteY1515" fmla="*/ 1886859 h 9444169"/>
              <a:gd name="connsiteX1516" fmla="*/ 13438175 w 23037085"/>
              <a:gd name="connsiteY1516" fmla="*/ 1807009 h 9444169"/>
              <a:gd name="connsiteX1517" fmla="*/ 13488011 w 23037085"/>
              <a:gd name="connsiteY1517" fmla="*/ 1810518 h 9444169"/>
              <a:gd name="connsiteX1518" fmla="*/ 13466784 w 23037085"/>
              <a:gd name="connsiteY1518" fmla="*/ 1807009 h 9444169"/>
              <a:gd name="connsiteX1519" fmla="*/ 1523968 w 23037085"/>
              <a:gd name="connsiteY1519" fmla="*/ 1747746 h 9444169"/>
              <a:gd name="connsiteX1520" fmla="*/ 1523829 w 23037085"/>
              <a:gd name="connsiteY1520" fmla="*/ 1747757 h 9444169"/>
              <a:gd name="connsiteX1521" fmla="*/ 1515986 w 23037085"/>
              <a:gd name="connsiteY1521" fmla="*/ 1749875 h 9444169"/>
              <a:gd name="connsiteX1522" fmla="*/ 1515847 w 23037085"/>
              <a:gd name="connsiteY1522" fmla="*/ 1749953 h 9444169"/>
              <a:gd name="connsiteX1523" fmla="*/ 3062908 w 23037085"/>
              <a:gd name="connsiteY1523" fmla="*/ 1734697 h 9444169"/>
              <a:gd name="connsiteX1524" fmla="*/ 3029467 w 23037085"/>
              <a:gd name="connsiteY1524" fmla="*/ 1753882 h 9444169"/>
              <a:gd name="connsiteX1525" fmla="*/ 3065477 w 23037085"/>
              <a:gd name="connsiteY1525" fmla="*/ 1753882 h 9444169"/>
              <a:gd name="connsiteX1526" fmla="*/ 3075997 w 23037085"/>
              <a:gd name="connsiteY1526" fmla="*/ 1753106 h 9444169"/>
              <a:gd name="connsiteX1527" fmla="*/ 3063129 w 23037085"/>
              <a:gd name="connsiteY1527" fmla="*/ 1741536 h 9444169"/>
              <a:gd name="connsiteX1528" fmla="*/ 3067040 w 23037085"/>
              <a:gd name="connsiteY1528" fmla="*/ 1734697 h 9444169"/>
              <a:gd name="connsiteX1529" fmla="*/ 1987065 w 23037085"/>
              <a:gd name="connsiteY1529" fmla="*/ 1728440 h 9444169"/>
              <a:gd name="connsiteX1530" fmla="*/ 2014019 w 23037085"/>
              <a:gd name="connsiteY1530" fmla="*/ 1744120 h 9444169"/>
              <a:gd name="connsiteX1531" fmla="*/ 2011075 w 23037085"/>
              <a:gd name="connsiteY1531" fmla="*/ 1754789 h 9444169"/>
              <a:gd name="connsiteX1532" fmla="*/ 2010228 w 23037085"/>
              <a:gd name="connsiteY1532" fmla="*/ 1757864 h 9444169"/>
              <a:gd name="connsiteX1533" fmla="*/ 1995203 w 23037085"/>
              <a:gd name="connsiteY1533" fmla="*/ 1765647 h 9444169"/>
              <a:gd name="connsiteX1534" fmla="*/ 2007054 w 23037085"/>
              <a:gd name="connsiteY1534" fmla="*/ 1762565 h 9444169"/>
              <a:gd name="connsiteX1535" fmla="*/ 2022527 w 23037085"/>
              <a:gd name="connsiteY1535" fmla="*/ 1748754 h 9444169"/>
              <a:gd name="connsiteX1536" fmla="*/ 2022527 w 23037085"/>
              <a:gd name="connsiteY1536" fmla="*/ 1739109 h 9444169"/>
              <a:gd name="connsiteX1537" fmla="*/ 5250502 w 23037085"/>
              <a:gd name="connsiteY1537" fmla="*/ 1610068 h 9444169"/>
              <a:gd name="connsiteX1538" fmla="*/ 5245004 w 23037085"/>
              <a:gd name="connsiteY1538" fmla="*/ 1610890 h 9444169"/>
              <a:gd name="connsiteX1539" fmla="*/ 5252516 w 23037085"/>
              <a:gd name="connsiteY1539" fmla="*/ 1610890 h 9444169"/>
              <a:gd name="connsiteX1540" fmla="*/ 12645202 w 23037085"/>
              <a:gd name="connsiteY1540" fmla="*/ 1572256 h 9444169"/>
              <a:gd name="connsiteX1541" fmla="*/ 12636640 w 23037085"/>
              <a:gd name="connsiteY1541" fmla="*/ 1581708 h 9444169"/>
              <a:gd name="connsiteX1542" fmla="*/ 12653561 w 23037085"/>
              <a:gd name="connsiteY1542" fmla="*/ 1581708 h 9444169"/>
              <a:gd name="connsiteX1543" fmla="*/ 4557916 w 23037085"/>
              <a:gd name="connsiteY1543" fmla="*/ 1563790 h 9444169"/>
              <a:gd name="connsiteX1544" fmla="*/ 4475087 w 23037085"/>
              <a:gd name="connsiteY1544" fmla="*/ 1590217 h 9444169"/>
              <a:gd name="connsiteX1545" fmla="*/ 4420889 w 23037085"/>
              <a:gd name="connsiteY1545" fmla="*/ 1590217 h 9444169"/>
              <a:gd name="connsiteX1546" fmla="*/ 4381077 w 23037085"/>
              <a:gd name="connsiteY1546" fmla="*/ 1603014 h 9444169"/>
              <a:gd name="connsiteX1547" fmla="*/ 3398184 w 23037085"/>
              <a:gd name="connsiteY1547" fmla="*/ 1795860 h 9444169"/>
              <a:gd name="connsiteX1548" fmla="*/ 3146200 w 23037085"/>
              <a:gd name="connsiteY1548" fmla="*/ 1795860 h 9444169"/>
              <a:gd name="connsiteX1549" fmla="*/ 3104805 w 23037085"/>
              <a:gd name="connsiteY1549" fmla="*/ 1778942 h 9444169"/>
              <a:gd name="connsiteX1550" fmla="*/ 3066809 w 23037085"/>
              <a:gd name="connsiteY1550" fmla="*/ 1798515 h 9444169"/>
              <a:gd name="connsiteX1551" fmla="*/ 3043253 w 23037085"/>
              <a:gd name="connsiteY1551" fmla="*/ 1796622 h 9444169"/>
              <a:gd name="connsiteX1552" fmla="*/ 3045104 w 23037085"/>
              <a:gd name="connsiteY1552" fmla="*/ 1806390 h 9444169"/>
              <a:gd name="connsiteX1553" fmla="*/ 2985741 w 23037085"/>
              <a:gd name="connsiteY1553" fmla="*/ 1806390 h 9444169"/>
              <a:gd name="connsiteX1554" fmla="*/ 3107830 w 23037085"/>
              <a:gd name="connsiteY1554" fmla="*/ 1827696 h 9444169"/>
              <a:gd name="connsiteX1555" fmla="*/ 3537090 w 23037085"/>
              <a:gd name="connsiteY1555" fmla="*/ 1777704 h 9444169"/>
              <a:gd name="connsiteX1556" fmla="*/ 4264847 w 23037085"/>
              <a:gd name="connsiteY1556" fmla="*/ 1640971 h 9444169"/>
              <a:gd name="connsiteX1557" fmla="*/ 4349245 w 23037085"/>
              <a:gd name="connsiteY1557" fmla="*/ 1654644 h 9444169"/>
              <a:gd name="connsiteX1558" fmla="*/ 4395038 w 23037085"/>
              <a:gd name="connsiteY1558" fmla="*/ 1662064 h 9444169"/>
              <a:gd name="connsiteX1559" fmla="*/ 4457194 w 23037085"/>
              <a:gd name="connsiteY1559" fmla="*/ 1641601 h 9444169"/>
              <a:gd name="connsiteX1560" fmla="*/ 4457194 w 23037085"/>
              <a:gd name="connsiteY1560" fmla="*/ 1656423 h 9444169"/>
              <a:gd name="connsiteX1561" fmla="*/ 4457194 w 23037085"/>
              <a:gd name="connsiteY1561" fmla="*/ 1663437 h 9444169"/>
              <a:gd name="connsiteX1562" fmla="*/ 4469625 w 23037085"/>
              <a:gd name="connsiteY1562" fmla="*/ 1660861 h 9444169"/>
              <a:gd name="connsiteX1563" fmla="*/ 4463903 w 23037085"/>
              <a:gd name="connsiteY1563" fmla="*/ 1639882 h 9444169"/>
              <a:gd name="connsiteX1564" fmla="*/ 4473749 w 23037085"/>
              <a:gd name="connsiteY1564" fmla="*/ 1623473 h 9444169"/>
              <a:gd name="connsiteX1565" fmla="*/ 4607649 w 23037085"/>
              <a:gd name="connsiteY1565" fmla="*/ 1594594 h 9444169"/>
              <a:gd name="connsiteX1566" fmla="*/ 4633901 w 23037085"/>
              <a:gd name="connsiteY1566" fmla="*/ 1594594 h 9444169"/>
              <a:gd name="connsiteX1567" fmla="*/ 4676567 w 23037085"/>
              <a:gd name="connsiteY1567" fmla="*/ 1571619 h 9444169"/>
              <a:gd name="connsiteX1568" fmla="*/ 4715139 w 23037085"/>
              <a:gd name="connsiteY1568" fmla="*/ 1569587 h 9444169"/>
              <a:gd name="connsiteX1569" fmla="*/ 4715413 w 23037085"/>
              <a:gd name="connsiteY1569" fmla="*/ 1567698 h 9444169"/>
              <a:gd name="connsiteX1570" fmla="*/ 4712428 w 23037085"/>
              <a:gd name="connsiteY1570" fmla="*/ 1567442 h 9444169"/>
              <a:gd name="connsiteX1571" fmla="*/ 4709662 w 23037085"/>
              <a:gd name="connsiteY1571" fmla="*/ 1563790 h 9444169"/>
              <a:gd name="connsiteX1572" fmla="*/ 4585524 w 23037085"/>
              <a:gd name="connsiteY1572" fmla="*/ 1563790 h 9444169"/>
              <a:gd name="connsiteX1573" fmla="*/ 1677829 w 23037085"/>
              <a:gd name="connsiteY1573" fmla="*/ 1535595 h 9444169"/>
              <a:gd name="connsiteX1574" fmla="*/ 1677829 w 23037085"/>
              <a:gd name="connsiteY1574" fmla="*/ 1545559 h 9444169"/>
              <a:gd name="connsiteX1575" fmla="*/ 1677829 w 23037085"/>
              <a:gd name="connsiteY1575" fmla="*/ 1548993 h 9444169"/>
              <a:gd name="connsiteX1576" fmla="*/ 1689533 w 23037085"/>
              <a:gd name="connsiteY1576" fmla="*/ 1551328 h 9444169"/>
              <a:gd name="connsiteX1577" fmla="*/ 1681765 w 23037085"/>
              <a:gd name="connsiteY1577" fmla="*/ 1536143 h 9444169"/>
              <a:gd name="connsiteX1578" fmla="*/ 12702639 w 23037085"/>
              <a:gd name="connsiteY1578" fmla="*/ 1461620 h 9444169"/>
              <a:gd name="connsiteX1579" fmla="*/ 12703344 w 23037085"/>
              <a:gd name="connsiteY1579" fmla="*/ 1464364 h 9444169"/>
              <a:gd name="connsiteX1580" fmla="*/ 12758400 w 23037085"/>
              <a:gd name="connsiteY1580" fmla="*/ 1469101 h 9444169"/>
              <a:gd name="connsiteX1581" fmla="*/ 12766625 w 23037085"/>
              <a:gd name="connsiteY1581" fmla="*/ 1461620 h 9444169"/>
              <a:gd name="connsiteX1582" fmla="*/ 3791028 w 23037085"/>
              <a:gd name="connsiteY1582" fmla="*/ 1447677 h 9444169"/>
              <a:gd name="connsiteX1583" fmla="*/ 3775159 w 23037085"/>
              <a:gd name="connsiteY1583" fmla="*/ 1458129 h 9444169"/>
              <a:gd name="connsiteX1584" fmla="*/ 3767804 w 23037085"/>
              <a:gd name="connsiteY1584" fmla="*/ 1460645 h 9444169"/>
              <a:gd name="connsiteX1585" fmla="*/ 3785950 w 23037085"/>
              <a:gd name="connsiteY1585" fmla="*/ 1462876 h 9444169"/>
              <a:gd name="connsiteX1586" fmla="*/ 3787672 w 23037085"/>
              <a:gd name="connsiteY1586" fmla="*/ 1462876 h 9444169"/>
              <a:gd name="connsiteX1587" fmla="*/ 3786530 w 23037085"/>
              <a:gd name="connsiteY1587" fmla="*/ 1461378 h 9444169"/>
              <a:gd name="connsiteX1588" fmla="*/ 15650609 w 23037085"/>
              <a:gd name="connsiteY1588" fmla="*/ 1434884 h 9444169"/>
              <a:gd name="connsiteX1589" fmla="*/ 15650086 w 23037085"/>
              <a:gd name="connsiteY1589" fmla="*/ 1435111 h 9444169"/>
              <a:gd name="connsiteX1590" fmla="*/ 15650506 w 23037085"/>
              <a:gd name="connsiteY1590" fmla="*/ 1435599 h 9444169"/>
              <a:gd name="connsiteX1591" fmla="*/ 2731707 w 23037085"/>
              <a:gd name="connsiteY1591" fmla="*/ 1431909 h 9444169"/>
              <a:gd name="connsiteX1592" fmla="*/ 2735441 w 23037085"/>
              <a:gd name="connsiteY1592" fmla="*/ 1435627 h 9444169"/>
              <a:gd name="connsiteX1593" fmla="*/ 2738885 w 23037085"/>
              <a:gd name="connsiteY1593" fmla="*/ 1439065 h 9444169"/>
              <a:gd name="connsiteX1594" fmla="*/ 2759985 w 23037085"/>
              <a:gd name="connsiteY1594" fmla="*/ 1460104 h 9444169"/>
              <a:gd name="connsiteX1595" fmla="*/ 2775754 w 23037085"/>
              <a:gd name="connsiteY1595" fmla="*/ 1455439 h 9444169"/>
              <a:gd name="connsiteX1596" fmla="*/ 2756768 w 23037085"/>
              <a:gd name="connsiteY1596" fmla="*/ 1455439 h 9444169"/>
              <a:gd name="connsiteX1597" fmla="*/ 2756768 w 23037085"/>
              <a:gd name="connsiteY1597" fmla="*/ 1452118 h 9444169"/>
              <a:gd name="connsiteX1598" fmla="*/ 2756768 w 23037085"/>
              <a:gd name="connsiteY1598" fmla="*/ 1431909 h 9444169"/>
              <a:gd name="connsiteX1599" fmla="*/ 4041699 w 23037085"/>
              <a:gd name="connsiteY1599" fmla="*/ 1410855 h 9444169"/>
              <a:gd name="connsiteX1600" fmla="*/ 4012913 w 23037085"/>
              <a:gd name="connsiteY1600" fmla="*/ 1413535 h 9444169"/>
              <a:gd name="connsiteX1601" fmla="*/ 4018788 w 23037085"/>
              <a:gd name="connsiteY1601" fmla="*/ 1414485 h 9444169"/>
              <a:gd name="connsiteX1602" fmla="*/ 6084593 w 23037085"/>
              <a:gd name="connsiteY1602" fmla="*/ 1381631 h 9444169"/>
              <a:gd name="connsiteX1603" fmla="*/ 6075827 w 23037085"/>
              <a:gd name="connsiteY1603" fmla="*/ 1385927 h 9444169"/>
              <a:gd name="connsiteX1604" fmla="*/ 6081852 w 23037085"/>
              <a:gd name="connsiteY1604" fmla="*/ 1385404 h 9444169"/>
              <a:gd name="connsiteX1605" fmla="*/ 3671178 w 23037085"/>
              <a:gd name="connsiteY1605" fmla="*/ 1357493 h 9444169"/>
              <a:gd name="connsiteX1606" fmla="*/ 3667420 w 23037085"/>
              <a:gd name="connsiteY1606" fmla="*/ 1359514 h 9444169"/>
              <a:gd name="connsiteX1607" fmla="*/ 3668342 w 23037085"/>
              <a:gd name="connsiteY1607" fmla="*/ 1361710 h 9444169"/>
              <a:gd name="connsiteX1608" fmla="*/ 3674082 w 23037085"/>
              <a:gd name="connsiteY1608" fmla="*/ 1360838 h 9444169"/>
              <a:gd name="connsiteX1609" fmla="*/ 13577277 w 23037085"/>
              <a:gd name="connsiteY1609" fmla="*/ 1319027 h 9444169"/>
              <a:gd name="connsiteX1610" fmla="*/ 13574484 w 23037085"/>
              <a:gd name="connsiteY1610" fmla="*/ 1319194 h 9444169"/>
              <a:gd name="connsiteX1611" fmla="*/ 13577712 w 23037085"/>
              <a:gd name="connsiteY1611" fmla="*/ 1319614 h 9444169"/>
              <a:gd name="connsiteX1612" fmla="*/ 2914956 w 23037085"/>
              <a:gd name="connsiteY1612" fmla="*/ 1259397 h 9444169"/>
              <a:gd name="connsiteX1613" fmla="*/ 2914272 w 23037085"/>
              <a:gd name="connsiteY1613" fmla="*/ 1277102 h 9444169"/>
              <a:gd name="connsiteX1614" fmla="*/ 2922197 w 23037085"/>
              <a:gd name="connsiteY1614" fmla="*/ 1276216 h 9444169"/>
              <a:gd name="connsiteX1615" fmla="*/ 2941322 w 23037085"/>
              <a:gd name="connsiteY1615" fmla="*/ 1272162 h 9444169"/>
              <a:gd name="connsiteX1616" fmla="*/ 2924795 w 23037085"/>
              <a:gd name="connsiteY1616" fmla="*/ 1266849 h 9444169"/>
              <a:gd name="connsiteX1617" fmla="*/ 2940802 w 23037085"/>
              <a:gd name="connsiteY1617" fmla="*/ 1259397 h 9444169"/>
              <a:gd name="connsiteX1618" fmla="*/ 2924799 w 23037085"/>
              <a:gd name="connsiteY1618" fmla="*/ 1259397 h 9444169"/>
              <a:gd name="connsiteX1619" fmla="*/ 1366848 w 23037085"/>
              <a:gd name="connsiteY1619" fmla="*/ 1188273 h 9444169"/>
              <a:gd name="connsiteX1620" fmla="*/ 1383063 w 23037085"/>
              <a:gd name="connsiteY1620" fmla="*/ 1200048 h 9444169"/>
              <a:gd name="connsiteX1621" fmla="*/ 1386324 w 23037085"/>
              <a:gd name="connsiteY1621" fmla="*/ 1203793 h 9444169"/>
              <a:gd name="connsiteX1622" fmla="*/ 1395792 w 23037085"/>
              <a:gd name="connsiteY1622" fmla="*/ 1206331 h 9444169"/>
              <a:gd name="connsiteX1623" fmla="*/ 1402486 w 23037085"/>
              <a:gd name="connsiteY1623" fmla="*/ 1209192 h 9444169"/>
              <a:gd name="connsiteX1624" fmla="*/ 1418684 w 23037085"/>
              <a:gd name="connsiteY1624" fmla="*/ 1212180 h 9444169"/>
              <a:gd name="connsiteX1625" fmla="*/ 1392766 w 23037085"/>
              <a:gd name="connsiteY1625" fmla="*/ 1283902 h 9444169"/>
              <a:gd name="connsiteX1626" fmla="*/ 1312418 w 23037085"/>
              <a:gd name="connsiteY1626" fmla="*/ 1283902 h 9444169"/>
              <a:gd name="connsiteX1627" fmla="*/ 1312418 w 23037085"/>
              <a:gd name="connsiteY1627" fmla="*/ 1212180 h 9444169"/>
              <a:gd name="connsiteX1628" fmla="*/ 1366848 w 23037085"/>
              <a:gd name="connsiteY1628" fmla="*/ 1188273 h 9444169"/>
              <a:gd name="connsiteX1629" fmla="*/ 2634797 w 23037085"/>
              <a:gd name="connsiteY1629" fmla="*/ 1090078 h 9444169"/>
              <a:gd name="connsiteX1630" fmla="*/ 2631125 w 23037085"/>
              <a:gd name="connsiteY1630" fmla="*/ 1091206 h 9444169"/>
              <a:gd name="connsiteX1631" fmla="*/ 2627054 w 23037085"/>
              <a:gd name="connsiteY1631" fmla="*/ 1098153 h 9444169"/>
              <a:gd name="connsiteX1632" fmla="*/ 2633616 w 23037085"/>
              <a:gd name="connsiteY1632" fmla="*/ 1098153 h 9444169"/>
              <a:gd name="connsiteX1633" fmla="*/ 17520192 w 23037085"/>
              <a:gd name="connsiteY1633" fmla="*/ 1080423 h 9444169"/>
              <a:gd name="connsiteX1634" fmla="*/ 17543580 w 23037085"/>
              <a:gd name="connsiteY1634" fmla="*/ 1085185 h 9444169"/>
              <a:gd name="connsiteX1635" fmla="*/ 17583800 w 23037085"/>
              <a:gd name="connsiteY1635" fmla="*/ 1083548 h 9444169"/>
              <a:gd name="connsiteX1636" fmla="*/ 1153640 w 23037085"/>
              <a:gd name="connsiteY1636" fmla="*/ 1065690 h 9444169"/>
              <a:gd name="connsiteX1637" fmla="*/ 1259347 w 23037085"/>
              <a:gd name="connsiteY1637" fmla="*/ 1065690 h 9444169"/>
              <a:gd name="connsiteX1638" fmla="*/ 1153640 w 23037085"/>
              <a:gd name="connsiteY1638" fmla="*/ 1112366 h 9444169"/>
              <a:gd name="connsiteX1639" fmla="*/ 1127213 w 23037085"/>
              <a:gd name="connsiteY1639" fmla="*/ 1089028 h 9444169"/>
              <a:gd name="connsiteX1640" fmla="*/ 1153640 w 23037085"/>
              <a:gd name="connsiteY1640" fmla="*/ 1065690 h 9444169"/>
              <a:gd name="connsiteX1641" fmla="*/ 8299093 w 23037085"/>
              <a:gd name="connsiteY1641" fmla="*/ 1045420 h 9444169"/>
              <a:gd name="connsiteX1642" fmla="*/ 8292851 w 23037085"/>
              <a:gd name="connsiteY1642" fmla="*/ 1048253 h 9444169"/>
              <a:gd name="connsiteX1643" fmla="*/ 8308378 w 23037085"/>
              <a:gd name="connsiteY1643" fmla="*/ 1048253 h 9444169"/>
              <a:gd name="connsiteX1644" fmla="*/ 7508063 w 23037085"/>
              <a:gd name="connsiteY1644" fmla="*/ 1036477 h 9444169"/>
              <a:gd name="connsiteX1645" fmla="*/ 7534085 w 23037085"/>
              <a:gd name="connsiteY1645" fmla="*/ 1044545 h 9444169"/>
              <a:gd name="connsiteX1646" fmla="*/ 7662645 w 23037085"/>
              <a:gd name="connsiteY1646" fmla="*/ 1041744 h 9444169"/>
              <a:gd name="connsiteX1647" fmla="*/ 17314510 w 23037085"/>
              <a:gd name="connsiteY1647" fmla="*/ 1030680 h 9444169"/>
              <a:gd name="connsiteX1648" fmla="*/ 17374420 w 23037085"/>
              <a:gd name="connsiteY1648" fmla="*/ 1050744 h 9444169"/>
              <a:gd name="connsiteX1649" fmla="*/ 17428914 w 23037085"/>
              <a:gd name="connsiteY1649" fmla="*/ 1061840 h 9444169"/>
              <a:gd name="connsiteX1650" fmla="*/ 17336936 w 23037085"/>
              <a:gd name="connsiteY1650" fmla="*/ 1030680 h 9444169"/>
              <a:gd name="connsiteX1651" fmla="*/ 15180601 w 23037085"/>
              <a:gd name="connsiteY1651" fmla="*/ 1016737 h 9444169"/>
              <a:gd name="connsiteX1652" fmla="*/ 15288277 w 23037085"/>
              <a:gd name="connsiteY1652" fmla="*/ 1016737 h 9444169"/>
              <a:gd name="connsiteX1653" fmla="*/ 15425560 w 23037085"/>
              <a:gd name="connsiteY1653" fmla="*/ 1040644 h 9444169"/>
              <a:gd name="connsiteX1654" fmla="*/ 15506318 w 23037085"/>
              <a:gd name="connsiteY1654" fmla="*/ 1088459 h 9444169"/>
              <a:gd name="connsiteX1655" fmla="*/ 15533236 w 23037085"/>
              <a:gd name="connsiteY1655" fmla="*/ 1088459 h 9444169"/>
              <a:gd name="connsiteX1656" fmla="*/ 15506318 w 23037085"/>
              <a:gd name="connsiteY1656" fmla="*/ 1112366 h 9444169"/>
              <a:gd name="connsiteX1657" fmla="*/ 15452478 w 23037085"/>
              <a:gd name="connsiteY1657" fmla="*/ 1112366 h 9444169"/>
              <a:gd name="connsiteX1658" fmla="*/ 15398642 w 23037085"/>
              <a:gd name="connsiteY1658" fmla="*/ 1088459 h 9444169"/>
              <a:gd name="connsiteX1659" fmla="*/ 15180601 w 23037085"/>
              <a:gd name="connsiteY1659" fmla="*/ 1016737 h 9444169"/>
              <a:gd name="connsiteX1660" fmla="*/ 2019043 w 23037085"/>
              <a:gd name="connsiteY1660" fmla="*/ 1016680 h 9444169"/>
              <a:gd name="connsiteX1661" fmla="*/ 2019043 w 23037085"/>
              <a:gd name="connsiteY1661" fmla="*/ 1040018 h 9444169"/>
              <a:gd name="connsiteX1662" fmla="*/ 1886859 w 23037085"/>
              <a:gd name="connsiteY1662" fmla="*/ 1063356 h 9444169"/>
              <a:gd name="connsiteX1663" fmla="*/ 2019043 w 23037085"/>
              <a:gd name="connsiteY1663" fmla="*/ 1016680 h 9444169"/>
              <a:gd name="connsiteX1664" fmla="*/ 8551468 w 23037085"/>
              <a:gd name="connsiteY1664" fmla="*/ 1014082 h 9444169"/>
              <a:gd name="connsiteX1665" fmla="*/ 8569240 w 23037085"/>
              <a:gd name="connsiteY1665" fmla="*/ 1020235 h 9444169"/>
              <a:gd name="connsiteX1666" fmla="*/ 8596159 w 23037085"/>
              <a:gd name="connsiteY1666" fmla="*/ 1025641 h 9444169"/>
              <a:gd name="connsiteX1667" fmla="*/ 8597215 w 23037085"/>
              <a:gd name="connsiteY1667" fmla="*/ 1029887 h 9444169"/>
              <a:gd name="connsiteX1668" fmla="*/ 8623204 w 23037085"/>
              <a:gd name="connsiteY1668" fmla="*/ 1038851 h 9444169"/>
              <a:gd name="connsiteX1669" fmla="*/ 8598259 w 23037085"/>
              <a:gd name="connsiteY1669" fmla="*/ 1034178 h 9444169"/>
              <a:gd name="connsiteX1670" fmla="*/ 8601774 w 23037085"/>
              <a:gd name="connsiteY1670" fmla="*/ 1048253 h 9444169"/>
              <a:gd name="connsiteX1671" fmla="*/ 8627741 w 23037085"/>
              <a:gd name="connsiteY1671" fmla="*/ 1048253 h 9444169"/>
              <a:gd name="connsiteX1672" fmla="*/ 8638321 w 23037085"/>
              <a:gd name="connsiteY1672" fmla="*/ 1048253 h 9444169"/>
              <a:gd name="connsiteX1673" fmla="*/ 8591145 w 23037085"/>
              <a:gd name="connsiteY1673" fmla="*/ 1017662 h 9444169"/>
              <a:gd name="connsiteX1674" fmla="*/ 16550464 w 23037085"/>
              <a:gd name="connsiteY1674" fmla="*/ 1002381 h 9444169"/>
              <a:gd name="connsiteX1675" fmla="*/ 16562436 w 23037085"/>
              <a:gd name="connsiteY1675" fmla="*/ 1021047 h 9444169"/>
              <a:gd name="connsiteX1676" fmla="*/ 16565364 w 23037085"/>
              <a:gd name="connsiteY1676" fmla="*/ 1009417 h 9444169"/>
              <a:gd name="connsiteX1677" fmla="*/ 16577756 w 23037085"/>
              <a:gd name="connsiteY1677" fmla="*/ 1002381 h 9444169"/>
              <a:gd name="connsiteX1678" fmla="*/ 4165068 w 23037085"/>
              <a:gd name="connsiteY1678" fmla="*/ 1001620 h 9444169"/>
              <a:gd name="connsiteX1679" fmla="*/ 4154819 w 23037085"/>
              <a:gd name="connsiteY1679" fmla="*/ 1007104 h 9444169"/>
              <a:gd name="connsiteX1680" fmla="*/ 4150570 w 23037085"/>
              <a:gd name="connsiteY1680" fmla="*/ 1018737 h 9444169"/>
              <a:gd name="connsiteX1681" fmla="*/ 4153737 w 23037085"/>
              <a:gd name="connsiteY1681" fmla="*/ 1017033 h 9444169"/>
              <a:gd name="connsiteX1682" fmla="*/ 4162798 w 23037085"/>
              <a:gd name="connsiteY1682" fmla="*/ 1017033 h 9444169"/>
              <a:gd name="connsiteX1683" fmla="*/ 16974878 w 23037085"/>
              <a:gd name="connsiteY1683" fmla="*/ 976246 h 9444169"/>
              <a:gd name="connsiteX1684" fmla="*/ 16980646 w 23037085"/>
              <a:gd name="connsiteY1684" fmla="*/ 978784 h 9444169"/>
              <a:gd name="connsiteX1685" fmla="*/ 16981046 w 23037085"/>
              <a:gd name="connsiteY1685" fmla="*/ 977250 h 9444169"/>
              <a:gd name="connsiteX1686" fmla="*/ 9088205 w 23037085"/>
              <a:gd name="connsiteY1686" fmla="*/ 958236 h 9444169"/>
              <a:gd name="connsiteX1687" fmla="*/ 9045949 w 23037085"/>
              <a:gd name="connsiteY1687" fmla="*/ 959175 h 9444169"/>
              <a:gd name="connsiteX1688" fmla="*/ 9076532 w 23037085"/>
              <a:gd name="connsiteY1688" fmla="*/ 960229 h 9444169"/>
              <a:gd name="connsiteX1689" fmla="*/ 9528718 w 23037085"/>
              <a:gd name="connsiteY1689" fmla="*/ 949360 h 9444169"/>
              <a:gd name="connsiteX1690" fmla="*/ 9501885 w 23037085"/>
              <a:gd name="connsiteY1690" fmla="*/ 955307 h 9444169"/>
              <a:gd name="connsiteX1691" fmla="*/ 9444021 w 23037085"/>
              <a:gd name="connsiteY1691" fmla="*/ 955307 h 9444169"/>
              <a:gd name="connsiteX1692" fmla="*/ 9419419 w 23037085"/>
              <a:gd name="connsiteY1692" fmla="*/ 955307 h 9444169"/>
              <a:gd name="connsiteX1693" fmla="*/ 9435608 w 23037085"/>
              <a:gd name="connsiteY1693" fmla="*/ 960229 h 9444169"/>
              <a:gd name="connsiteX1694" fmla="*/ 9439825 w 23037085"/>
              <a:gd name="connsiteY1694" fmla="*/ 969456 h 9444169"/>
              <a:gd name="connsiteX1695" fmla="*/ 9439547 w 23037085"/>
              <a:gd name="connsiteY1695" fmla="*/ 968008 h 9444169"/>
              <a:gd name="connsiteX1696" fmla="*/ 9497605 w 23037085"/>
              <a:gd name="connsiteY1696" fmla="*/ 968008 h 9444169"/>
              <a:gd name="connsiteX1697" fmla="*/ 9510854 w 23037085"/>
              <a:gd name="connsiteY1697" fmla="*/ 969165 h 9444169"/>
              <a:gd name="connsiteX1698" fmla="*/ 9508070 w 23037085"/>
              <a:gd name="connsiteY1698" fmla="*/ 963531 h 9444169"/>
              <a:gd name="connsiteX1699" fmla="*/ 5462063 w 23037085"/>
              <a:gd name="connsiteY1699" fmla="*/ 818927 h 9444169"/>
              <a:gd name="connsiteX1700" fmla="*/ 5425878 w 23037085"/>
              <a:gd name="connsiteY1700" fmla="*/ 822735 h 9444169"/>
              <a:gd name="connsiteX1701" fmla="*/ 5435786 w 23037085"/>
              <a:gd name="connsiteY1701" fmla="*/ 830703 h 9444169"/>
              <a:gd name="connsiteX1702" fmla="*/ 4018148 w 23037085"/>
              <a:gd name="connsiteY1702" fmla="*/ 750866 h 9444169"/>
              <a:gd name="connsiteX1703" fmla="*/ 4089702 w 23037085"/>
              <a:gd name="connsiteY1703" fmla="*/ 788030 h 9444169"/>
              <a:gd name="connsiteX1704" fmla="*/ 3792444 w 23037085"/>
              <a:gd name="connsiteY1704" fmla="*/ 840884 h 9444169"/>
              <a:gd name="connsiteX1705" fmla="*/ 3629082 w 23037085"/>
              <a:gd name="connsiteY1705" fmla="*/ 867311 h 9444169"/>
              <a:gd name="connsiteX1706" fmla="*/ 3602303 w 23037085"/>
              <a:gd name="connsiteY1706" fmla="*/ 814457 h 9444169"/>
              <a:gd name="connsiteX1707" fmla="*/ 3738882 w 23037085"/>
              <a:gd name="connsiteY1707" fmla="*/ 788030 h 9444169"/>
              <a:gd name="connsiteX1708" fmla="*/ 3982582 w 23037085"/>
              <a:gd name="connsiteY1708" fmla="*/ 761604 h 9444169"/>
              <a:gd name="connsiteX1709" fmla="*/ 4018148 w 23037085"/>
              <a:gd name="connsiteY1709" fmla="*/ 750866 h 9444169"/>
              <a:gd name="connsiteX1710" fmla="*/ 11664095 w 23037085"/>
              <a:gd name="connsiteY1710" fmla="*/ 697818 h 9444169"/>
              <a:gd name="connsiteX1711" fmla="*/ 11820809 w 23037085"/>
              <a:gd name="connsiteY1711" fmla="*/ 697818 h 9444169"/>
              <a:gd name="connsiteX1712" fmla="*/ 11664095 w 23037085"/>
              <a:gd name="connsiteY1712" fmla="*/ 697818 h 9444169"/>
              <a:gd name="connsiteX1713" fmla="*/ 5231908 w 23037085"/>
              <a:gd name="connsiteY1713" fmla="*/ 660131 h 9444169"/>
              <a:gd name="connsiteX1714" fmla="*/ 5364096 w 23037085"/>
              <a:gd name="connsiteY1714" fmla="*/ 660131 h 9444169"/>
              <a:gd name="connsiteX1715" fmla="*/ 5312231 w 23037085"/>
              <a:gd name="connsiteY1715" fmla="*/ 671270 h 9444169"/>
              <a:gd name="connsiteX1716" fmla="*/ 5231908 w 23037085"/>
              <a:gd name="connsiteY1716" fmla="*/ 660131 h 9444169"/>
              <a:gd name="connsiteX1717" fmla="*/ 11532345 w 23037085"/>
              <a:gd name="connsiteY1717" fmla="*/ 624950 h 9444169"/>
              <a:gd name="connsiteX1718" fmla="*/ 12088530 w 23037085"/>
              <a:gd name="connsiteY1718" fmla="*/ 678739 h 9444169"/>
              <a:gd name="connsiteX1719" fmla="*/ 12421691 w 23037085"/>
              <a:gd name="connsiteY1719" fmla="*/ 705636 h 9444169"/>
              <a:gd name="connsiteX1720" fmla="*/ 12672252 w 23037085"/>
              <a:gd name="connsiteY1720" fmla="*/ 735223 h 9444169"/>
              <a:gd name="connsiteX1721" fmla="*/ 12727319 w 23037085"/>
              <a:gd name="connsiteY1721" fmla="*/ 789013 h 9444169"/>
              <a:gd name="connsiteX1722" fmla="*/ 12672252 w 23037085"/>
              <a:gd name="connsiteY1722" fmla="*/ 842806 h 9444169"/>
              <a:gd name="connsiteX1723" fmla="*/ 12449225 w 23037085"/>
              <a:gd name="connsiteY1723" fmla="*/ 815909 h 9444169"/>
              <a:gd name="connsiteX1724" fmla="*/ 12284023 w 23037085"/>
              <a:gd name="connsiteY1724" fmla="*/ 789013 h 9444169"/>
              <a:gd name="connsiteX1725" fmla="*/ 12060996 w 23037085"/>
              <a:gd name="connsiteY1725" fmla="*/ 789013 h 9444169"/>
              <a:gd name="connsiteX1726" fmla="*/ 12039277 w 23037085"/>
              <a:gd name="connsiteY1726" fmla="*/ 780415 h 9444169"/>
              <a:gd name="connsiteX1727" fmla="*/ 11764631 w 23037085"/>
              <a:gd name="connsiteY1727" fmla="*/ 758568 h 9444169"/>
              <a:gd name="connsiteX1728" fmla="*/ 11498729 w 23037085"/>
              <a:gd name="connsiteY1728" fmla="*/ 735597 h 9444169"/>
              <a:gd name="connsiteX1729" fmla="*/ 11443794 w 23037085"/>
              <a:gd name="connsiteY1729" fmla="*/ 710323 h 9444169"/>
              <a:gd name="connsiteX1730" fmla="*/ 11471267 w 23037085"/>
              <a:gd name="connsiteY1730" fmla="*/ 710323 h 9444169"/>
              <a:gd name="connsiteX1731" fmla="*/ 11663326 w 23037085"/>
              <a:gd name="connsiteY1731" fmla="*/ 710323 h 9444169"/>
              <a:gd name="connsiteX1732" fmla="*/ 11830908 w 23037085"/>
              <a:gd name="connsiteY1732" fmla="*/ 710323 h 9444169"/>
              <a:gd name="connsiteX1733" fmla="*/ 11858378 w 23037085"/>
              <a:gd name="connsiteY1733" fmla="*/ 710323 h 9444169"/>
              <a:gd name="connsiteX1734" fmla="*/ 11874467 w 23037085"/>
              <a:gd name="connsiteY1734" fmla="*/ 719330 h 9444169"/>
              <a:gd name="connsiteX1735" fmla="*/ 11865506 w 23037085"/>
              <a:gd name="connsiteY1735" fmla="*/ 705636 h 9444169"/>
              <a:gd name="connsiteX1736" fmla="*/ 12060996 w 23037085"/>
              <a:gd name="connsiteY1736" fmla="*/ 735223 h 9444169"/>
              <a:gd name="connsiteX1737" fmla="*/ 11948107 w 23037085"/>
              <a:gd name="connsiteY1737" fmla="*/ 705636 h 9444169"/>
              <a:gd name="connsiteX1738" fmla="*/ 11587412 w 23037085"/>
              <a:gd name="connsiteY1738" fmla="*/ 678739 h 9444169"/>
              <a:gd name="connsiteX1739" fmla="*/ 11505046 w 23037085"/>
              <a:gd name="connsiteY1739" fmla="*/ 678739 h 9444169"/>
              <a:gd name="connsiteX1740" fmla="*/ 11505046 w 23037085"/>
              <a:gd name="connsiteY1740" fmla="*/ 651843 h 9444169"/>
              <a:gd name="connsiteX1741" fmla="*/ 11532345 w 23037085"/>
              <a:gd name="connsiteY1741" fmla="*/ 624950 h 9444169"/>
              <a:gd name="connsiteX1742" fmla="*/ 5648478 w 23037085"/>
              <a:gd name="connsiteY1742" fmla="*/ 623373 h 9444169"/>
              <a:gd name="connsiteX1743" fmla="*/ 5780680 w 23037085"/>
              <a:gd name="connsiteY1743" fmla="*/ 623373 h 9444169"/>
              <a:gd name="connsiteX1744" fmla="*/ 5648478 w 23037085"/>
              <a:gd name="connsiteY1744" fmla="*/ 634512 h 9444169"/>
              <a:gd name="connsiteX1745" fmla="*/ 5648478 w 23037085"/>
              <a:gd name="connsiteY1745" fmla="*/ 623373 h 9444169"/>
              <a:gd name="connsiteX1746" fmla="*/ 6037675 w 23037085"/>
              <a:gd name="connsiteY1746" fmla="*/ 600124 h 9444169"/>
              <a:gd name="connsiteX1747" fmla="*/ 5820039 w 23037085"/>
              <a:gd name="connsiteY1747" fmla="*/ 623839 h 9444169"/>
              <a:gd name="connsiteX1748" fmla="*/ 6037675 w 23037085"/>
              <a:gd name="connsiteY1748" fmla="*/ 600124 h 9444169"/>
              <a:gd name="connsiteX1749" fmla="*/ 6642840 w 23037085"/>
              <a:gd name="connsiteY1749" fmla="*/ 491623 h 9444169"/>
              <a:gd name="connsiteX1750" fmla="*/ 6736111 w 23037085"/>
              <a:gd name="connsiteY1750" fmla="*/ 501961 h 9444169"/>
              <a:gd name="connsiteX1751" fmla="*/ 6710136 w 23037085"/>
              <a:gd name="connsiteY1751" fmla="*/ 524239 h 9444169"/>
              <a:gd name="connsiteX1752" fmla="*/ 6604087 w 23037085"/>
              <a:gd name="connsiteY1752" fmla="*/ 501961 h 9444169"/>
              <a:gd name="connsiteX1753" fmla="*/ 6642840 w 23037085"/>
              <a:gd name="connsiteY1753" fmla="*/ 491623 h 9444169"/>
              <a:gd name="connsiteX1754" fmla="*/ 11834841 w 23037085"/>
              <a:gd name="connsiteY1754" fmla="*/ 477798 h 9444169"/>
              <a:gd name="connsiteX1755" fmla="*/ 12248774 w 23037085"/>
              <a:gd name="connsiteY1755" fmla="*/ 531747 h 9444169"/>
              <a:gd name="connsiteX1756" fmla="*/ 12361165 w 23037085"/>
              <a:gd name="connsiteY1756" fmla="*/ 531747 h 9444169"/>
              <a:gd name="connsiteX1757" fmla="*/ 12555797 w 23037085"/>
              <a:gd name="connsiteY1757" fmla="*/ 608822 h 9444169"/>
              <a:gd name="connsiteX1758" fmla="*/ 12498228 w 23037085"/>
              <a:gd name="connsiteY1758" fmla="*/ 608822 h 9444169"/>
              <a:gd name="connsiteX1759" fmla="*/ 11862253 w 23037085"/>
              <a:gd name="connsiteY1759" fmla="*/ 531747 h 9444169"/>
              <a:gd name="connsiteX1760" fmla="*/ 11749863 w 23037085"/>
              <a:gd name="connsiteY1760" fmla="*/ 506057 h 9444169"/>
              <a:gd name="connsiteX1761" fmla="*/ 11834841 w 23037085"/>
              <a:gd name="connsiteY1761" fmla="*/ 477798 h 9444169"/>
              <a:gd name="connsiteX1762" fmla="*/ 9468259 w 23037085"/>
              <a:gd name="connsiteY1762" fmla="*/ 477456 h 9444169"/>
              <a:gd name="connsiteX1763" fmla="*/ 9493515 w 23037085"/>
              <a:gd name="connsiteY1763" fmla="*/ 501961 h 9444169"/>
              <a:gd name="connsiteX1764" fmla="*/ 9445412 w 23037085"/>
              <a:gd name="connsiteY1764" fmla="*/ 501961 h 9444169"/>
              <a:gd name="connsiteX1765" fmla="*/ 9439629 w 23037085"/>
              <a:gd name="connsiteY1765" fmla="*/ 480520 h 9444169"/>
              <a:gd name="connsiteX1766" fmla="*/ 9468259 w 23037085"/>
              <a:gd name="connsiteY1766" fmla="*/ 477456 h 9444169"/>
              <a:gd name="connsiteX1767" fmla="*/ 4846673 w 23037085"/>
              <a:gd name="connsiteY1767" fmla="*/ 463480 h 9444169"/>
              <a:gd name="connsiteX1768" fmla="*/ 4905604 w 23037085"/>
              <a:gd name="connsiteY1768" fmla="*/ 508299 h 9444169"/>
              <a:gd name="connsiteX1769" fmla="*/ 5015888 w 23037085"/>
              <a:gd name="connsiteY1769" fmla="*/ 586811 h 9444169"/>
              <a:gd name="connsiteX1770" fmla="*/ 5073780 w 23037085"/>
              <a:gd name="connsiteY1770" fmla="*/ 586811 h 9444169"/>
              <a:gd name="connsiteX1771" fmla="*/ 5101361 w 23037085"/>
              <a:gd name="connsiteY1771" fmla="*/ 560640 h 9444169"/>
              <a:gd name="connsiteX1772" fmla="*/ 5156506 w 23037085"/>
              <a:gd name="connsiteY1772" fmla="*/ 560640 h 9444169"/>
              <a:gd name="connsiteX1773" fmla="*/ 5184068 w 23037085"/>
              <a:gd name="connsiteY1773" fmla="*/ 586811 h 9444169"/>
              <a:gd name="connsiteX1774" fmla="*/ 5269551 w 23037085"/>
              <a:gd name="connsiteY1774" fmla="*/ 560640 h 9444169"/>
              <a:gd name="connsiteX1775" fmla="*/ 5297132 w 23037085"/>
              <a:gd name="connsiteY1775" fmla="*/ 508299 h 9444169"/>
              <a:gd name="connsiteX1776" fmla="*/ 5603180 w 23037085"/>
              <a:gd name="connsiteY1776" fmla="*/ 508299 h 9444169"/>
              <a:gd name="connsiteX1777" fmla="*/ 5642193 w 23037085"/>
              <a:gd name="connsiteY1777" fmla="*/ 529904 h 9444169"/>
              <a:gd name="connsiteX1778" fmla="*/ 5624009 w 23037085"/>
              <a:gd name="connsiteY1778" fmla="*/ 502374 h 9444169"/>
              <a:gd name="connsiteX1779" fmla="*/ 5982326 w 23037085"/>
              <a:gd name="connsiteY1779" fmla="*/ 502374 h 9444169"/>
              <a:gd name="connsiteX1780" fmla="*/ 6172450 w 23037085"/>
              <a:gd name="connsiteY1780" fmla="*/ 502374 h 9444169"/>
              <a:gd name="connsiteX1781" fmla="*/ 6145265 w 23037085"/>
              <a:gd name="connsiteY1781" fmla="*/ 528804 h 9444169"/>
              <a:gd name="connsiteX1782" fmla="*/ 6090920 w 23037085"/>
              <a:gd name="connsiteY1782" fmla="*/ 555231 h 9444169"/>
              <a:gd name="connsiteX1783" fmla="*/ 6036682 w 23037085"/>
              <a:gd name="connsiteY1783" fmla="*/ 581658 h 9444169"/>
              <a:gd name="connsiteX1784" fmla="*/ 5816875 w 23037085"/>
              <a:gd name="connsiteY1784" fmla="*/ 608085 h 9444169"/>
              <a:gd name="connsiteX1785" fmla="*/ 5789709 w 23037085"/>
              <a:gd name="connsiteY1785" fmla="*/ 608085 h 9444169"/>
              <a:gd name="connsiteX1786" fmla="*/ 5713709 w 23037085"/>
              <a:gd name="connsiteY1786" fmla="*/ 608085 h 9444169"/>
              <a:gd name="connsiteX1787" fmla="*/ 5711414 w 23037085"/>
              <a:gd name="connsiteY1787" fmla="*/ 609708 h 9444169"/>
              <a:gd name="connsiteX1788" fmla="*/ 5658293 w 23037085"/>
              <a:gd name="connsiteY1788" fmla="*/ 612982 h 9444169"/>
              <a:gd name="connsiteX1789" fmla="*/ 5630745 w 23037085"/>
              <a:gd name="connsiteY1789" fmla="*/ 639152 h 9444169"/>
              <a:gd name="connsiteX1790" fmla="*/ 5575596 w 23037085"/>
              <a:gd name="connsiteY1790" fmla="*/ 612982 h 9444169"/>
              <a:gd name="connsiteX1791" fmla="*/ 5575596 w 23037085"/>
              <a:gd name="connsiteY1791" fmla="*/ 639152 h 9444169"/>
              <a:gd name="connsiteX1792" fmla="*/ 5548048 w 23037085"/>
              <a:gd name="connsiteY1792" fmla="*/ 612982 h 9444169"/>
              <a:gd name="connsiteX1793" fmla="*/ 5492896 w 23037085"/>
              <a:gd name="connsiteY1793" fmla="*/ 612982 h 9444169"/>
              <a:gd name="connsiteX1794" fmla="*/ 5462568 w 23037085"/>
              <a:gd name="connsiteY1794" fmla="*/ 639152 h 9444169"/>
              <a:gd name="connsiteX1795" fmla="*/ 5352249 w 23037085"/>
              <a:gd name="connsiteY1795" fmla="*/ 639152 h 9444169"/>
              <a:gd name="connsiteX1796" fmla="*/ 5211651 w 23037085"/>
              <a:gd name="connsiteY1796" fmla="*/ 639152 h 9444169"/>
              <a:gd name="connsiteX1797" fmla="*/ 5128930 w 23037085"/>
              <a:gd name="connsiteY1797" fmla="*/ 639152 h 9444169"/>
              <a:gd name="connsiteX1798" fmla="*/ 4850462 w 23037085"/>
              <a:gd name="connsiteY1798" fmla="*/ 665323 h 9444169"/>
              <a:gd name="connsiteX1799" fmla="*/ 4431401 w 23037085"/>
              <a:gd name="connsiteY1799" fmla="*/ 720280 h 9444169"/>
              <a:gd name="connsiteX1800" fmla="*/ 4376259 w 23037085"/>
              <a:gd name="connsiteY1800" fmla="*/ 720280 h 9444169"/>
              <a:gd name="connsiteX1801" fmla="*/ 4152940 w 23037085"/>
              <a:gd name="connsiteY1801" fmla="*/ 691490 h 9444169"/>
              <a:gd name="connsiteX1802" fmla="*/ 4012332 w 23037085"/>
              <a:gd name="connsiteY1802" fmla="*/ 691490 h 9444169"/>
              <a:gd name="connsiteX1803" fmla="*/ 3899298 w 23037085"/>
              <a:gd name="connsiteY1803" fmla="*/ 665323 h 9444169"/>
              <a:gd name="connsiteX1804" fmla="*/ 3620840 w 23037085"/>
              <a:gd name="connsiteY1804" fmla="*/ 691490 h 9444169"/>
              <a:gd name="connsiteX1805" fmla="*/ 3565698 w 23037085"/>
              <a:gd name="connsiteY1805" fmla="*/ 691490 h 9444169"/>
              <a:gd name="connsiteX1806" fmla="*/ 3565698 w 23037085"/>
              <a:gd name="connsiteY1806" fmla="*/ 665323 h 9444169"/>
              <a:gd name="connsiteX1807" fmla="*/ 3620840 w 23037085"/>
              <a:gd name="connsiteY1807" fmla="*/ 639152 h 9444169"/>
              <a:gd name="connsiteX1808" fmla="*/ 3899298 w 23037085"/>
              <a:gd name="connsiteY1808" fmla="*/ 612982 h 9444169"/>
              <a:gd name="connsiteX1809" fmla="*/ 3984767 w 23037085"/>
              <a:gd name="connsiteY1809" fmla="*/ 612982 h 9444169"/>
              <a:gd name="connsiteX1810" fmla="*/ 4263221 w 23037085"/>
              <a:gd name="connsiteY1810" fmla="*/ 586811 h 9444169"/>
              <a:gd name="connsiteX1811" fmla="*/ 4276580 w 23037085"/>
              <a:gd name="connsiteY1811" fmla="*/ 585028 h 9444169"/>
              <a:gd name="connsiteX1812" fmla="*/ 4277406 w 23037085"/>
              <a:gd name="connsiteY1812" fmla="*/ 584085 h 9444169"/>
              <a:gd name="connsiteX1813" fmla="*/ 4276167 w 23037085"/>
              <a:gd name="connsiteY1813" fmla="*/ 583128 h 9444169"/>
              <a:gd name="connsiteX1814" fmla="*/ 4278772 w 23037085"/>
              <a:gd name="connsiteY1814" fmla="*/ 582519 h 9444169"/>
              <a:gd name="connsiteX1815" fmla="*/ 4309309 w 23037085"/>
              <a:gd name="connsiteY1815" fmla="*/ 547577 h 9444169"/>
              <a:gd name="connsiteX1816" fmla="*/ 4374882 w 23037085"/>
              <a:gd name="connsiteY1816" fmla="*/ 560416 h 9444169"/>
              <a:gd name="connsiteX1817" fmla="*/ 4388085 w 23037085"/>
              <a:gd name="connsiteY1817" fmla="*/ 557438 h 9444169"/>
              <a:gd name="connsiteX1818" fmla="*/ 4442678 w 23037085"/>
              <a:gd name="connsiteY1818" fmla="*/ 506057 h 9444169"/>
              <a:gd name="connsiteX1819" fmla="*/ 4456892 w 23037085"/>
              <a:gd name="connsiteY1819" fmla="*/ 503470 h 9444169"/>
              <a:gd name="connsiteX1820" fmla="*/ 4437572 w 23037085"/>
              <a:gd name="connsiteY1820" fmla="*/ 501961 h 9444169"/>
              <a:gd name="connsiteX1821" fmla="*/ 4437572 w 23037085"/>
              <a:gd name="connsiteY1821" fmla="*/ 477456 h 9444169"/>
              <a:gd name="connsiteX1822" fmla="*/ 4464205 w 23037085"/>
              <a:gd name="connsiteY1822" fmla="*/ 477456 h 9444169"/>
              <a:gd name="connsiteX1823" fmla="*/ 4653307 w 23037085"/>
              <a:gd name="connsiteY1823" fmla="*/ 501961 h 9444169"/>
              <a:gd name="connsiteX1824" fmla="*/ 4567877 w 23037085"/>
              <a:gd name="connsiteY1824" fmla="*/ 508516 h 9444169"/>
              <a:gd name="connsiteX1825" fmla="*/ 4601215 w 23037085"/>
              <a:gd name="connsiteY1825" fmla="*/ 512922 h 9444169"/>
              <a:gd name="connsiteX1826" fmla="*/ 4663784 w 23037085"/>
              <a:gd name="connsiteY1826" fmla="*/ 506057 h 9444169"/>
              <a:gd name="connsiteX1827" fmla="*/ 4685965 w 23037085"/>
              <a:gd name="connsiteY1827" fmla="*/ 506057 h 9444169"/>
              <a:gd name="connsiteX1828" fmla="*/ 4723640 w 23037085"/>
              <a:gd name="connsiteY1828" fmla="*/ 483111 h 9444169"/>
              <a:gd name="connsiteX1829" fmla="*/ 4764997 w 23037085"/>
              <a:gd name="connsiteY1829" fmla="*/ 479509 h 9444169"/>
              <a:gd name="connsiteX1830" fmla="*/ 4846673 w 23037085"/>
              <a:gd name="connsiteY1830" fmla="*/ 463480 h 9444169"/>
              <a:gd name="connsiteX1831" fmla="*/ 14025303 w 23037085"/>
              <a:gd name="connsiteY1831" fmla="*/ 416716 h 9444169"/>
              <a:gd name="connsiteX1832" fmla="*/ 14108459 w 23037085"/>
              <a:gd name="connsiteY1832" fmla="*/ 416716 h 9444169"/>
              <a:gd name="connsiteX1833" fmla="*/ 14277543 w 23037085"/>
              <a:gd name="connsiteY1833" fmla="*/ 444211 h 9444169"/>
              <a:gd name="connsiteX1834" fmla="*/ 14446628 w 23037085"/>
              <a:gd name="connsiteY1834" fmla="*/ 501954 h 9444169"/>
              <a:gd name="connsiteX1835" fmla="*/ 14726583 w 23037085"/>
              <a:gd name="connsiteY1835" fmla="*/ 556943 h 9444169"/>
              <a:gd name="connsiteX1836" fmla="*/ 15006538 w 23037085"/>
              <a:gd name="connsiteY1836" fmla="*/ 611936 h 9444169"/>
              <a:gd name="connsiteX1837" fmla="*/ 15120189 w 23037085"/>
              <a:gd name="connsiteY1837" fmla="*/ 639434 h 9444169"/>
              <a:gd name="connsiteX1838" fmla="*/ 15286497 w 23037085"/>
              <a:gd name="connsiteY1838" fmla="*/ 639434 h 9444169"/>
              <a:gd name="connsiteX1839" fmla="*/ 15344707 w 23037085"/>
              <a:gd name="connsiteY1839" fmla="*/ 639434 h 9444169"/>
              <a:gd name="connsiteX1840" fmla="*/ 15735537 w 23037085"/>
              <a:gd name="connsiteY1840" fmla="*/ 694426 h 9444169"/>
              <a:gd name="connsiteX1841" fmla="*/ 15733405 w 23037085"/>
              <a:gd name="connsiteY1841" fmla="*/ 698497 h 9444169"/>
              <a:gd name="connsiteX1842" fmla="*/ 15741658 w 23037085"/>
              <a:gd name="connsiteY1842" fmla="*/ 698497 h 9444169"/>
              <a:gd name="connsiteX1843" fmla="*/ 16413498 w 23037085"/>
              <a:gd name="connsiteY1843" fmla="*/ 810134 h 9444169"/>
              <a:gd name="connsiteX1844" fmla="*/ 16806096 w 23037085"/>
              <a:gd name="connsiteY1844" fmla="*/ 864589 h 9444169"/>
              <a:gd name="connsiteX1845" fmla="*/ 17198696 w 23037085"/>
              <a:gd name="connsiteY1845" fmla="*/ 948997 h 9444169"/>
              <a:gd name="connsiteX1846" fmla="*/ 17701884 w 23037085"/>
              <a:gd name="connsiteY1846" fmla="*/ 1057911 h 9444169"/>
              <a:gd name="connsiteX1847" fmla="*/ 17674944 w 23037085"/>
              <a:gd name="connsiteY1847" fmla="*/ 1079836 h 9444169"/>
              <a:gd name="connsiteX1848" fmla="*/ 17712742 w 23037085"/>
              <a:gd name="connsiteY1848" fmla="*/ 1078295 h 9444169"/>
              <a:gd name="connsiteX1849" fmla="*/ 17851396 w 23037085"/>
              <a:gd name="connsiteY1849" fmla="*/ 1105847 h 9444169"/>
              <a:gd name="connsiteX1850" fmla="*/ 18414338 w 23037085"/>
              <a:gd name="connsiteY1850" fmla="*/ 1246362 h 9444169"/>
              <a:gd name="connsiteX1851" fmla="*/ 18694422 w 23037085"/>
              <a:gd name="connsiteY1851" fmla="*/ 1329016 h 9444169"/>
              <a:gd name="connsiteX1852" fmla="*/ 19676106 w 23037085"/>
              <a:gd name="connsiteY1852" fmla="*/ 1692697 h 9444169"/>
              <a:gd name="connsiteX1853" fmla="*/ 19845264 w 23037085"/>
              <a:gd name="connsiteY1853" fmla="*/ 1747803 h 9444169"/>
              <a:gd name="connsiteX1854" fmla="*/ 19850240 w 23037085"/>
              <a:gd name="connsiteY1854" fmla="*/ 1750946 h 9444169"/>
              <a:gd name="connsiteX1855" fmla="*/ 19883396 w 23037085"/>
              <a:gd name="connsiteY1855" fmla="*/ 1771910 h 9444169"/>
              <a:gd name="connsiteX1856" fmla="*/ 19900726 w 23037085"/>
              <a:gd name="connsiteY1856" fmla="*/ 1775355 h 9444169"/>
              <a:gd name="connsiteX1857" fmla="*/ 19942324 w 23037085"/>
              <a:gd name="connsiteY1857" fmla="*/ 1789130 h 9444169"/>
              <a:gd name="connsiteX1858" fmla="*/ 19961158 w 23037085"/>
              <a:gd name="connsiteY1858" fmla="*/ 1795365 h 9444169"/>
              <a:gd name="connsiteX1859" fmla="*/ 19983922 w 23037085"/>
              <a:gd name="connsiteY1859" fmla="*/ 1802906 h 9444169"/>
              <a:gd name="connsiteX1860" fmla="*/ 20004260 w 23037085"/>
              <a:gd name="connsiteY1860" fmla="*/ 1816216 h 9444169"/>
              <a:gd name="connsiteX1861" fmla="*/ 19983638 w 23037085"/>
              <a:gd name="connsiteY1861" fmla="*/ 1800849 h 9444169"/>
              <a:gd name="connsiteX1862" fmla="*/ 20091284 w 23037085"/>
              <a:gd name="connsiteY1862" fmla="*/ 1847525 h 9444169"/>
              <a:gd name="connsiteX1863" fmla="*/ 20048234 w 23037085"/>
              <a:gd name="connsiteY1863" fmla="*/ 1842771 h 9444169"/>
              <a:gd name="connsiteX1864" fmla="*/ 20097618 w 23037085"/>
              <a:gd name="connsiteY1864" fmla="*/ 1858009 h 9444169"/>
              <a:gd name="connsiteX1865" fmla="*/ 20127096 w 23037085"/>
              <a:gd name="connsiteY1865" fmla="*/ 1875916 h 9444169"/>
              <a:gd name="connsiteX1866" fmla="*/ 20291796 w 23037085"/>
              <a:gd name="connsiteY1866" fmla="*/ 1947845 h 9444169"/>
              <a:gd name="connsiteX1867" fmla="*/ 20875090 w 23037085"/>
              <a:gd name="connsiteY1867" fmla="*/ 2225811 h 9444169"/>
              <a:gd name="connsiteX1868" fmla="*/ 21042926 w 23037085"/>
              <a:gd name="connsiteY1868" fmla="*/ 2308376 h 9444169"/>
              <a:gd name="connsiteX1869" fmla="*/ 21238276 w 23037085"/>
              <a:gd name="connsiteY1869" fmla="*/ 2421212 h 9444169"/>
              <a:gd name="connsiteX1870" fmla="*/ 21488656 w 23037085"/>
              <a:gd name="connsiteY1870" fmla="*/ 2558819 h 9444169"/>
              <a:gd name="connsiteX1871" fmla="*/ 21626224 w 23037085"/>
              <a:gd name="connsiteY1871" fmla="*/ 2671655 h 9444169"/>
              <a:gd name="connsiteX1872" fmla="*/ 21651676 w 23037085"/>
              <a:gd name="connsiteY1872" fmla="*/ 2702619 h 9444169"/>
              <a:gd name="connsiteX1873" fmla="*/ 21652466 w 23037085"/>
              <a:gd name="connsiteY1873" fmla="*/ 2711114 h 9444169"/>
              <a:gd name="connsiteX1874" fmla="*/ 21668408 w 23037085"/>
              <a:gd name="connsiteY1874" fmla="*/ 2722299 h 9444169"/>
              <a:gd name="connsiteX1875" fmla="*/ 21649996 w 23037085"/>
              <a:gd name="connsiteY1875" fmla="*/ 2671093 h 9444169"/>
              <a:gd name="connsiteX1876" fmla="*/ 21782184 w 23037085"/>
              <a:gd name="connsiteY1876" fmla="*/ 2803231 h 9444169"/>
              <a:gd name="connsiteX1877" fmla="*/ 21772774 w 23037085"/>
              <a:gd name="connsiteY1877" fmla="*/ 2800708 h 9444169"/>
              <a:gd name="connsiteX1878" fmla="*/ 21780710 w 23037085"/>
              <a:gd name="connsiteY1878" fmla="*/ 2806675 h 9444169"/>
              <a:gd name="connsiteX1879" fmla="*/ 21808344 w 23037085"/>
              <a:gd name="connsiteY1879" fmla="*/ 2834387 h 9444169"/>
              <a:gd name="connsiteX1880" fmla="*/ 21817508 w 23037085"/>
              <a:gd name="connsiteY1880" fmla="*/ 2847195 h 9444169"/>
              <a:gd name="connsiteX1881" fmla="*/ 21828532 w 23037085"/>
              <a:gd name="connsiteY1881" fmla="*/ 2853262 h 9444169"/>
              <a:gd name="connsiteX1882" fmla="*/ 21831230 w 23037085"/>
              <a:gd name="connsiteY1882" fmla="*/ 2863643 h 9444169"/>
              <a:gd name="connsiteX1883" fmla="*/ 21832560 w 23037085"/>
              <a:gd name="connsiteY1883" fmla="*/ 2864177 h 9444169"/>
              <a:gd name="connsiteX1884" fmla="*/ 21834116 w 23037085"/>
              <a:gd name="connsiteY1884" fmla="*/ 2870415 h 9444169"/>
              <a:gd name="connsiteX1885" fmla="*/ 21841978 w 23037085"/>
              <a:gd name="connsiteY1885" fmla="*/ 2881405 h 9444169"/>
              <a:gd name="connsiteX1886" fmla="*/ 21860120 w 23037085"/>
              <a:gd name="connsiteY1886" fmla="*/ 2891792 h 9444169"/>
              <a:gd name="connsiteX1887" fmla="*/ 21887674 w 23037085"/>
              <a:gd name="connsiteY1887" fmla="*/ 2919408 h 9444169"/>
              <a:gd name="connsiteX1888" fmla="*/ 21891122 w 23037085"/>
              <a:gd name="connsiteY1888" fmla="*/ 2922422 h 9444169"/>
              <a:gd name="connsiteX1889" fmla="*/ 21891244 w 23037085"/>
              <a:gd name="connsiteY1889" fmla="*/ 2920298 h 9444169"/>
              <a:gd name="connsiteX1890" fmla="*/ 22228376 w 23037085"/>
              <a:gd name="connsiteY1890" fmla="*/ 2948009 h 9444169"/>
              <a:gd name="connsiteX1891" fmla="*/ 22396942 w 23037085"/>
              <a:gd name="connsiteY1891" fmla="*/ 3117058 h 9444169"/>
              <a:gd name="connsiteX1892" fmla="*/ 22507474 w 23037085"/>
              <a:gd name="connsiteY1892" fmla="*/ 3255620 h 9444169"/>
              <a:gd name="connsiteX1893" fmla="*/ 22593140 w 23037085"/>
              <a:gd name="connsiteY1893" fmla="*/ 3369241 h 9444169"/>
              <a:gd name="connsiteX1894" fmla="*/ 22596304 w 23037085"/>
              <a:gd name="connsiteY1894" fmla="*/ 3389170 h 9444169"/>
              <a:gd name="connsiteX1895" fmla="*/ 22599936 w 23037085"/>
              <a:gd name="connsiteY1895" fmla="*/ 3381796 h 9444169"/>
              <a:gd name="connsiteX1896" fmla="*/ 22758498 w 23037085"/>
              <a:gd name="connsiteY1896" fmla="*/ 3707449 h 9444169"/>
              <a:gd name="connsiteX1897" fmla="*/ 22811354 w 23037085"/>
              <a:gd name="connsiteY1897" fmla="*/ 3763969 h 9444169"/>
              <a:gd name="connsiteX1898" fmla="*/ 22804746 w 23037085"/>
              <a:gd name="connsiteY1898" fmla="*/ 3814431 h 9444169"/>
              <a:gd name="connsiteX1899" fmla="*/ 22758726 w 23037085"/>
              <a:gd name="connsiteY1899" fmla="*/ 3844558 h 9444169"/>
              <a:gd name="connsiteX1900" fmla="*/ 22758938 w 23037085"/>
              <a:gd name="connsiteY1900" fmla="*/ 3845900 h 9444169"/>
              <a:gd name="connsiteX1901" fmla="*/ 22814210 w 23037085"/>
              <a:gd name="connsiteY1901" fmla="*/ 3873612 h 9444169"/>
              <a:gd name="connsiteX1902" fmla="*/ 22899870 w 23037085"/>
              <a:gd name="connsiteY1902" fmla="*/ 3956750 h 9444169"/>
              <a:gd name="connsiteX1903" fmla="*/ 22899870 w 23037085"/>
              <a:gd name="connsiteY1903" fmla="*/ 3987234 h 9444169"/>
              <a:gd name="connsiteX1904" fmla="*/ 22982774 w 23037085"/>
              <a:gd name="connsiteY1904" fmla="*/ 4181225 h 9444169"/>
              <a:gd name="connsiteX1905" fmla="*/ 22955140 w 23037085"/>
              <a:gd name="connsiteY1905" fmla="*/ 4267132 h 9444169"/>
              <a:gd name="connsiteX1906" fmla="*/ 22927508 w 23037085"/>
              <a:gd name="connsiteY1906" fmla="*/ 4284452 h 9444169"/>
              <a:gd name="connsiteX1907" fmla="*/ 22923600 w 23037085"/>
              <a:gd name="connsiteY1907" fmla="*/ 4289840 h 9444169"/>
              <a:gd name="connsiteX1908" fmla="*/ 22905284 w 23037085"/>
              <a:gd name="connsiteY1908" fmla="*/ 4326236 h 9444169"/>
              <a:gd name="connsiteX1909" fmla="*/ 23016276 w 23037085"/>
              <a:gd name="connsiteY1909" fmla="*/ 4381374 h 9444169"/>
              <a:gd name="connsiteX1910" fmla="*/ 23016276 w 23037085"/>
              <a:gd name="connsiteY1910" fmla="*/ 4439266 h 9444169"/>
              <a:gd name="connsiteX1911" fmla="*/ 22905284 w 23037085"/>
              <a:gd name="connsiteY1911" fmla="*/ 4577109 h 9444169"/>
              <a:gd name="connsiteX1912" fmla="*/ 22894800 w 23037085"/>
              <a:gd name="connsiteY1912" fmla="*/ 4588557 h 9444169"/>
              <a:gd name="connsiteX1913" fmla="*/ 22876380 w 23037085"/>
              <a:gd name="connsiteY1913" fmla="*/ 4658432 h 9444169"/>
              <a:gd name="connsiteX1914" fmla="*/ 22812996 w 23037085"/>
              <a:gd name="connsiteY1914" fmla="*/ 4714645 h 9444169"/>
              <a:gd name="connsiteX1915" fmla="*/ 22812886 w 23037085"/>
              <a:gd name="connsiteY1915" fmla="*/ 4714645 h 9444169"/>
              <a:gd name="connsiteX1916" fmla="*/ 22802138 w 23037085"/>
              <a:gd name="connsiteY1916" fmla="*/ 4714645 h 9444169"/>
              <a:gd name="connsiteX1917" fmla="*/ 22796074 w 23037085"/>
              <a:gd name="connsiteY1917" fmla="*/ 4715553 h 9444169"/>
              <a:gd name="connsiteX1918" fmla="*/ 22797846 w 23037085"/>
              <a:gd name="connsiteY1918" fmla="*/ 4729449 h 9444169"/>
              <a:gd name="connsiteX1919" fmla="*/ 22801448 w 23037085"/>
              <a:gd name="connsiteY1919" fmla="*/ 4729449 h 9444169"/>
              <a:gd name="connsiteX1920" fmla="*/ 22828344 w 23037085"/>
              <a:gd name="connsiteY1920" fmla="*/ 4729449 h 9444169"/>
              <a:gd name="connsiteX1921" fmla="*/ 22857932 w 23037085"/>
              <a:gd name="connsiteY1921" fmla="*/ 4780503 h 9444169"/>
              <a:gd name="connsiteX1922" fmla="*/ 22828344 w 23037085"/>
              <a:gd name="connsiteY1922" fmla="*/ 4885160 h 9444169"/>
              <a:gd name="connsiteX1923" fmla="*/ 22828344 w 23037085"/>
              <a:gd name="connsiteY1923" fmla="*/ 4910687 h 9444169"/>
              <a:gd name="connsiteX1924" fmla="*/ 22801448 w 23037085"/>
              <a:gd name="connsiteY1924" fmla="*/ 4910687 h 9444169"/>
              <a:gd name="connsiteX1925" fmla="*/ 22784388 w 23037085"/>
              <a:gd name="connsiteY1925" fmla="*/ 4910687 h 9444169"/>
              <a:gd name="connsiteX1926" fmla="*/ 22784388 w 23037085"/>
              <a:gd name="connsiteY1926" fmla="*/ 4924512 h 9444169"/>
              <a:gd name="connsiteX1927" fmla="*/ 22784388 w 23037085"/>
              <a:gd name="connsiteY1927" fmla="*/ 4927858 h 9444169"/>
              <a:gd name="connsiteX1928" fmla="*/ 22784388 w 23037085"/>
              <a:gd name="connsiteY1928" fmla="*/ 4954605 h 9444169"/>
              <a:gd name="connsiteX1929" fmla="*/ 22811306 w 23037085"/>
              <a:gd name="connsiteY1929" fmla="*/ 5008103 h 9444169"/>
              <a:gd name="connsiteX1930" fmla="*/ 22730548 w 23037085"/>
              <a:gd name="connsiteY1930" fmla="*/ 5061601 h 9444169"/>
              <a:gd name="connsiteX1931" fmla="*/ 22622876 w 23037085"/>
              <a:gd name="connsiteY1931" fmla="*/ 5144525 h 9444169"/>
              <a:gd name="connsiteX1932" fmla="*/ 22622876 w 23037085"/>
              <a:gd name="connsiteY1932" fmla="*/ 5159685 h 9444169"/>
              <a:gd name="connsiteX1933" fmla="*/ 22625834 w 23037085"/>
              <a:gd name="connsiteY1933" fmla="*/ 5158134 h 9444169"/>
              <a:gd name="connsiteX1934" fmla="*/ 22652086 w 23037085"/>
              <a:gd name="connsiteY1934" fmla="*/ 5158134 h 9444169"/>
              <a:gd name="connsiteX1935" fmla="*/ 22642242 w 23037085"/>
              <a:gd name="connsiteY1935" fmla="*/ 5196984 h 9444169"/>
              <a:gd name="connsiteX1936" fmla="*/ 22647994 w 23037085"/>
              <a:gd name="connsiteY1936" fmla="*/ 5230158 h 9444169"/>
              <a:gd name="connsiteX1937" fmla="*/ 22660164 w 23037085"/>
              <a:gd name="connsiteY1937" fmla="*/ 5251293 h 9444169"/>
              <a:gd name="connsiteX1938" fmla="*/ 22743448 w 23037085"/>
              <a:gd name="connsiteY1938" fmla="*/ 5278838 h 9444169"/>
              <a:gd name="connsiteX1939" fmla="*/ 22749690 w 23037085"/>
              <a:gd name="connsiteY1939" fmla="*/ 5295624 h 9444169"/>
              <a:gd name="connsiteX1940" fmla="*/ 22752152 w 23037085"/>
              <a:gd name="connsiteY1940" fmla="*/ 5296300 h 9444169"/>
              <a:gd name="connsiteX1941" fmla="*/ 22763822 w 23037085"/>
              <a:gd name="connsiteY1941" fmla="*/ 5318780 h 9444169"/>
              <a:gd name="connsiteX1942" fmla="*/ 22771778 w 23037085"/>
              <a:gd name="connsiteY1942" fmla="*/ 5355047 h 9444169"/>
              <a:gd name="connsiteX1943" fmla="*/ 22774680 w 23037085"/>
              <a:gd name="connsiteY1943" fmla="*/ 5362847 h 9444169"/>
              <a:gd name="connsiteX1944" fmla="*/ 22773932 w 23037085"/>
              <a:gd name="connsiteY1944" fmla="*/ 5364858 h 9444169"/>
              <a:gd name="connsiteX1945" fmla="*/ 22778408 w 23037085"/>
              <a:gd name="connsiteY1945" fmla="*/ 5385256 h 9444169"/>
              <a:gd name="connsiteX1946" fmla="*/ 22745576 w 23037085"/>
              <a:gd name="connsiteY1946" fmla="*/ 5441139 h 9444169"/>
              <a:gd name="connsiteX1947" fmla="*/ 22743448 w 23037085"/>
              <a:gd name="connsiteY1947" fmla="*/ 5446857 h 9444169"/>
              <a:gd name="connsiteX1948" fmla="*/ 22742102 w 23037085"/>
              <a:gd name="connsiteY1948" fmla="*/ 5447050 h 9444169"/>
              <a:gd name="connsiteX1949" fmla="*/ 22740484 w 23037085"/>
              <a:gd name="connsiteY1949" fmla="*/ 5449804 h 9444169"/>
              <a:gd name="connsiteX1950" fmla="*/ 22740484 w 23037085"/>
              <a:gd name="connsiteY1950" fmla="*/ 5447277 h 9444169"/>
              <a:gd name="connsiteX1951" fmla="*/ 22719156 w 23037085"/>
              <a:gd name="connsiteY1951" fmla="*/ 5450303 h 9444169"/>
              <a:gd name="connsiteX1952" fmla="*/ 22715686 w 23037085"/>
              <a:gd name="connsiteY1952" fmla="*/ 5474402 h 9444169"/>
              <a:gd name="connsiteX1953" fmla="*/ 22699434 w 23037085"/>
              <a:gd name="connsiteY1953" fmla="*/ 5487135 h 9444169"/>
              <a:gd name="connsiteX1954" fmla="*/ 22669816 w 23037085"/>
              <a:gd name="connsiteY1954" fmla="*/ 5560683 h 9444169"/>
              <a:gd name="connsiteX1955" fmla="*/ 22627510 w 23037085"/>
              <a:gd name="connsiteY1955" fmla="*/ 5608977 h 9444169"/>
              <a:gd name="connsiteX1956" fmla="*/ 22629962 w 23037085"/>
              <a:gd name="connsiteY1956" fmla="*/ 5629337 h 9444169"/>
              <a:gd name="connsiteX1957" fmla="*/ 22516200 w 23037085"/>
              <a:gd name="connsiteY1957" fmla="*/ 5683970 h 9444169"/>
              <a:gd name="connsiteX1958" fmla="*/ 22520260 w 23037085"/>
              <a:gd name="connsiteY1958" fmla="*/ 5695966 h 9444169"/>
              <a:gd name="connsiteX1959" fmla="*/ 22522066 w 23037085"/>
              <a:gd name="connsiteY1959" fmla="*/ 5685158 h 9444169"/>
              <a:gd name="connsiteX1960" fmla="*/ 22575338 w 23037085"/>
              <a:gd name="connsiteY1960" fmla="*/ 5710685 h 9444169"/>
              <a:gd name="connsiteX1961" fmla="*/ 22657908 w 23037085"/>
              <a:gd name="connsiteY1961" fmla="*/ 5710685 h 9444169"/>
              <a:gd name="connsiteX1962" fmla="*/ 22711182 w 23037085"/>
              <a:gd name="connsiteY1962" fmla="*/ 5812791 h 9444169"/>
              <a:gd name="connsiteX1963" fmla="*/ 22711182 w 23037085"/>
              <a:gd name="connsiteY1963" fmla="*/ 5866396 h 9444169"/>
              <a:gd name="connsiteX1964" fmla="*/ 22699654 w 23037085"/>
              <a:gd name="connsiteY1964" fmla="*/ 5856446 h 9444169"/>
              <a:gd name="connsiteX1965" fmla="*/ 22713202 w 23037085"/>
              <a:gd name="connsiteY1965" fmla="*/ 5877922 h 9444169"/>
              <a:gd name="connsiteX1966" fmla="*/ 22700954 w 23037085"/>
              <a:gd name="connsiteY1966" fmla="*/ 5881381 h 9444169"/>
              <a:gd name="connsiteX1967" fmla="*/ 22700954 w 23037085"/>
              <a:gd name="connsiteY1967" fmla="*/ 5899748 h 9444169"/>
              <a:gd name="connsiteX1968" fmla="*/ 22617908 w 23037085"/>
              <a:gd name="connsiteY1968" fmla="*/ 6095818 h 9444169"/>
              <a:gd name="connsiteX1969" fmla="*/ 22504414 w 23037085"/>
              <a:gd name="connsiteY1969" fmla="*/ 6178661 h 9444169"/>
              <a:gd name="connsiteX1970" fmla="*/ 22504414 w 23037085"/>
              <a:gd name="connsiteY1970" fmla="*/ 6261507 h 9444169"/>
              <a:gd name="connsiteX1971" fmla="*/ 22559776 w 23037085"/>
              <a:gd name="connsiteY1971" fmla="*/ 6261507 h 9444169"/>
              <a:gd name="connsiteX1972" fmla="*/ 22617908 w 23037085"/>
              <a:gd name="connsiteY1972" fmla="*/ 6374730 h 9444169"/>
              <a:gd name="connsiteX1973" fmla="*/ 22590228 w 23037085"/>
              <a:gd name="connsiteY1973" fmla="*/ 6429961 h 9444169"/>
              <a:gd name="connsiteX1974" fmla="*/ 22532094 w 23037085"/>
              <a:gd name="connsiteY1974" fmla="*/ 6512808 h 9444169"/>
              <a:gd name="connsiteX1975" fmla="*/ 22559776 w 23037085"/>
              <a:gd name="connsiteY1975" fmla="*/ 6570800 h 9444169"/>
              <a:gd name="connsiteX1976" fmla="*/ 22590228 w 23037085"/>
              <a:gd name="connsiteY1976" fmla="*/ 6598416 h 9444169"/>
              <a:gd name="connsiteX1977" fmla="*/ 22532094 w 23037085"/>
              <a:gd name="connsiteY1977" fmla="*/ 6626031 h 9444169"/>
              <a:gd name="connsiteX1978" fmla="*/ 22449052 w 23037085"/>
              <a:gd name="connsiteY1978" fmla="*/ 6598416 h 9444169"/>
              <a:gd name="connsiteX1979" fmla="*/ 22366006 w 23037085"/>
              <a:gd name="connsiteY1979" fmla="*/ 6681262 h 9444169"/>
              <a:gd name="connsiteX1980" fmla="*/ 22385156 w 23037085"/>
              <a:gd name="connsiteY1980" fmla="*/ 6692180 h 9444169"/>
              <a:gd name="connsiteX1981" fmla="*/ 22385156 w 23037085"/>
              <a:gd name="connsiteY1981" fmla="*/ 6689657 h 9444169"/>
              <a:gd name="connsiteX1982" fmla="*/ 22517292 w 23037085"/>
              <a:gd name="connsiteY1982" fmla="*/ 6736333 h 9444169"/>
              <a:gd name="connsiteX1983" fmla="*/ 22475518 w 23037085"/>
              <a:gd name="connsiteY1983" fmla="*/ 6734490 h 9444169"/>
              <a:gd name="connsiteX1984" fmla="*/ 22504712 w 23037085"/>
              <a:gd name="connsiteY1984" fmla="*/ 6744575 h 9444169"/>
              <a:gd name="connsiteX1985" fmla="*/ 22558396 w 23037085"/>
              <a:gd name="connsiteY1985" fmla="*/ 6744575 h 9444169"/>
              <a:gd name="connsiteX1986" fmla="*/ 22562744 w 23037085"/>
              <a:gd name="connsiteY1986" fmla="*/ 6742066 h 9444169"/>
              <a:gd name="connsiteX1987" fmla="*/ 22648716 w 23037085"/>
              <a:gd name="connsiteY1987" fmla="*/ 6742066 h 9444169"/>
              <a:gd name="connsiteX1988" fmla="*/ 22676448 w 23037085"/>
              <a:gd name="connsiteY1988" fmla="*/ 6769479 h 9444169"/>
              <a:gd name="connsiteX1989" fmla="*/ 22648716 w 23037085"/>
              <a:gd name="connsiteY1989" fmla="*/ 6799632 h 9444169"/>
              <a:gd name="connsiteX1990" fmla="*/ 22535012 w 23037085"/>
              <a:gd name="connsiteY1990" fmla="*/ 6854457 h 9444169"/>
              <a:gd name="connsiteX1991" fmla="*/ 22535012 w 23037085"/>
              <a:gd name="connsiteY1991" fmla="*/ 6936698 h 9444169"/>
              <a:gd name="connsiteX1992" fmla="*/ 22562744 w 23037085"/>
              <a:gd name="connsiteY1992" fmla="*/ 6964111 h 9444169"/>
              <a:gd name="connsiteX1993" fmla="*/ 22589438 w 23037085"/>
              <a:gd name="connsiteY1993" fmla="*/ 6977816 h 9444169"/>
              <a:gd name="connsiteX1994" fmla="*/ 22592268 w 23037085"/>
              <a:gd name="connsiteY1994" fmla="*/ 6987986 h 9444169"/>
              <a:gd name="connsiteX1995" fmla="*/ 22593250 w 23037085"/>
              <a:gd name="connsiteY1995" fmla="*/ 6991524 h 9444169"/>
              <a:gd name="connsiteX1996" fmla="*/ 22593250 w 23037085"/>
              <a:gd name="connsiteY1996" fmla="*/ 7021676 h 9444169"/>
              <a:gd name="connsiteX1997" fmla="*/ 22567144 w 23037085"/>
              <a:gd name="connsiteY1997" fmla="*/ 7033342 h 9444169"/>
              <a:gd name="connsiteX1998" fmla="*/ 22593982 w 23037085"/>
              <a:gd name="connsiteY1998" fmla="*/ 7033043 h 9444169"/>
              <a:gd name="connsiteX1999" fmla="*/ 22621480 w 23037085"/>
              <a:gd name="connsiteY1999" fmla="*/ 7059470 h 9444169"/>
              <a:gd name="connsiteX2000" fmla="*/ 22593982 w 23037085"/>
              <a:gd name="connsiteY2000" fmla="*/ 7138750 h 9444169"/>
              <a:gd name="connsiteX2001" fmla="*/ 22563738 w 23037085"/>
              <a:gd name="connsiteY2001" fmla="*/ 7138750 h 9444169"/>
              <a:gd name="connsiteX2002" fmla="*/ 22555274 w 23037085"/>
              <a:gd name="connsiteY2002" fmla="*/ 7138750 h 9444169"/>
              <a:gd name="connsiteX2003" fmla="*/ 22566574 w 23037085"/>
              <a:gd name="connsiteY2003" fmla="*/ 7141839 h 9444169"/>
              <a:gd name="connsiteX2004" fmla="*/ 22495428 w 23037085"/>
              <a:gd name="connsiteY2004" fmla="*/ 7165177 h 9444169"/>
              <a:gd name="connsiteX2005" fmla="*/ 22502026 w 23037085"/>
              <a:gd name="connsiteY2005" fmla="*/ 7151110 h 9444169"/>
              <a:gd name="connsiteX2006" fmla="*/ 22477212 w 23037085"/>
              <a:gd name="connsiteY2006" fmla="*/ 7165177 h 9444169"/>
              <a:gd name="connsiteX2007" fmla="*/ 22467144 w 23037085"/>
              <a:gd name="connsiteY2007" fmla="*/ 7166576 h 9444169"/>
              <a:gd name="connsiteX2008" fmla="*/ 22468168 w 23037085"/>
              <a:gd name="connsiteY2008" fmla="*/ 7170622 h 9444169"/>
              <a:gd name="connsiteX2009" fmla="*/ 22413026 w 23037085"/>
              <a:gd name="connsiteY2009" fmla="*/ 7445627 h 9444169"/>
              <a:gd name="connsiteX2010" fmla="*/ 22415468 w 23037085"/>
              <a:gd name="connsiteY2010" fmla="*/ 7465485 h 9444169"/>
              <a:gd name="connsiteX2011" fmla="*/ 22429572 w 23037085"/>
              <a:gd name="connsiteY2011" fmla="*/ 7449556 h 9444169"/>
              <a:gd name="connsiteX2012" fmla="*/ 22455098 w 23037085"/>
              <a:gd name="connsiteY2012" fmla="*/ 7503506 h 9444169"/>
              <a:gd name="connsiteX2013" fmla="*/ 22480624 w 23037085"/>
              <a:gd name="connsiteY2013" fmla="*/ 7554890 h 9444169"/>
              <a:gd name="connsiteX2014" fmla="*/ 22429572 w 23037085"/>
              <a:gd name="connsiteY2014" fmla="*/ 7606270 h 9444169"/>
              <a:gd name="connsiteX2015" fmla="*/ 22415184 w 23037085"/>
              <a:gd name="connsiteY2015" fmla="*/ 7594616 h 9444169"/>
              <a:gd name="connsiteX2016" fmla="*/ 22413026 w 23037085"/>
              <a:gd name="connsiteY2016" fmla="*/ 7611719 h 9444169"/>
              <a:gd name="connsiteX2017" fmla="*/ 22385454 w 23037085"/>
              <a:gd name="connsiteY2017" fmla="*/ 7696124 h 9444169"/>
              <a:gd name="connsiteX2018" fmla="*/ 22413026 w 23037085"/>
              <a:gd name="connsiteY2018" fmla="*/ 7777810 h 9444169"/>
              <a:gd name="connsiteX2019" fmla="*/ 22402458 w 23037085"/>
              <a:gd name="connsiteY2019" fmla="*/ 7777810 h 9444169"/>
              <a:gd name="connsiteX2020" fmla="*/ 22424916 w 23037085"/>
              <a:gd name="connsiteY2020" fmla="*/ 7787319 h 9444169"/>
              <a:gd name="connsiteX2021" fmla="*/ 22480404 w 23037085"/>
              <a:gd name="connsiteY2021" fmla="*/ 7842180 h 9444169"/>
              <a:gd name="connsiteX2022" fmla="*/ 22479738 w 23037085"/>
              <a:gd name="connsiteY2022" fmla="*/ 7855963 h 9444169"/>
              <a:gd name="connsiteX2023" fmla="*/ 22502290 w 23037085"/>
              <a:gd name="connsiteY2023" fmla="*/ 7925140 h 9444169"/>
              <a:gd name="connsiteX2024" fmla="*/ 22475108 w 23037085"/>
              <a:gd name="connsiteY2024" fmla="*/ 7978933 h 9444169"/>
              <a:gd name="connsiteX2025" fmla="*/ 22366386 w 23037085"/>
              <a:gd name="connsiteY2025" fmla="*/ 8059620 h 9444169"/>
              <a:gd name="connsiteX2026" fmla="*/ 22332664 w 23037085"/>
              <a:gd name="connsiteY2026" fmla="*/ 8059620 h 9444169"/>
              <a:gd name="connsiteX2027" fmla="*/ 22338914 w 23037085"/>
              <a:gd name="connsiteY2027" fmla="*/ 8064374 h 9444169"/>
              <a:gd name="connsiteX2028" fmla="*/ 22335252 w 23037085"/>
              <a:gd name="connsiteY2028" fmla="*/ 8069986 h 9444169"/>
              <a:gd name="connsiteX2029" fmla="*/ 22364560 w 23037085"/>
              <a:gd name="connsiteY2029" fmla="*/ 8077474 h 9444169"/>
              <a:gd name="connsiteX2030" fmla="*/ 22364560 w 23037085"/>
              <a:gd name="connsiteY2030" fmla="*/ 8104847 h 9444169"/>
              <a:gd name="connsiteX2031" fmla="*/ 22447002 w 23037085"/>
              <a:gd name="connsiteY2031" fmla="*/ 8217074 h 9444169"/>
              <a:gd name="connsiteX2032" fmla="*/ 22364560 w 23037085"/>
              <a:gd name="connsiteY2032" fmla="*/ 8271821 h 9444169"/>
              <a:gd name="connsiteX2033" fmla="*/ 22306854 w 23037085"/>
              <a:gd name="connsiteY2033" fmla="*/ 8299195 h 9444169"/>
              <a:gd name="connsiteX2034" fmla="*/ 22251892 w 23037085"/>
              <a:gd name="connsiteY2034" fmla="*/ 8384052 h 9444169"/>
              <a:gd name="connsiteX2035" fmla="*/ 22306854 w 23037085"/>
              <a:gd name="connsiteY2035" fmla="*/ 8438799 h 9444169"/>
              <a:gd name="connsiteX2036" fmla="*/ 22392042 w 23037085"/>
              <a:gd name="connsiteY2036" fmla="*/ 8466172 h 9444169"/>
              <a:gd name="connsiteX2037" fmla="*/ 22529442 w 23037085"/>
              <a:gd name="connsiteY2037" fmla="*/ 8466172 h 9444169"/>
              <a:gd name="connsiteX2038" fmla="*/ 22447002 w 23037085"/>
              <a:gd name="connsiteY2038" fmla="*/ 8520916 h 9444169"/>
              <a:gd name="connsiteX2039" fmla="*/ 22392042 w 23037085"/>
              <a:gd name="connsiteY2039" fmla="*/ 8520916 h 9444169"/>
              <a:gd name="connsiteX2040" fmla="*/ 22279372 w 23037085"/>
              <a:gd name="connsiteY2040" fmla="*/ 8548289 h 9444169"/>
              <a:gd name="connsiteX2041" fmla="*/ 22277294 w 23037085"/>
              <a:gd name="connsiteY2041" fmla="*/ 8573841 h 9444169"/>
              <a:gd name="connsiteX2042" fmla="*/ 22289508 w 23037085"/>
              <a:gd name="connsiteY2042" fmla="*/ 8552296 h 9444169"/>
              <a:gd name="connsiteX2043" fmla="*/ 22394838 w 23037085"/>
              <a:gd name="connsiteY2043" fmla="*/ 8606246 h 9444169"/>
              <a:gd name="connsiteX2044" fmla="*/ 22238124 w 23037085"/>
              <a:gd name="connsiteY2044" fmla="*/ 8709011 h 9444169"/>
              <a:gd name="connsiteX2045" fmla="*/ 22239796 w 23037085"/>
              <a:gd name="connsiteY2045" fmla="*/ 8688886 h 9444169"/>
              <a:gd name="connsiteX2046" fmla="*/ 22224412 w 23037085"/>
              <a:gd name="connsiteY2046" fmla="*/ 8715263 h 9444169"/>
              <a:gd name="connsiteX2047" fmla="*/ 22213246 w 23037085"/>
              <a:gd name="connsiteY2047" fmla="*/ 8723135 h 9444169"/>
              <a:gd name="connsiteX2048" fmla="*/ 22233046 w 23037085"/>
              <a:gd name="connsiteY2048" fmla="*/ 8725018 h 9444169"/>
              <a:gd name="connsiteX2049" fmla="*/ 22233046 w 23037085"/>
              <a:gd name="connsiteY2049" fmla="*/ 8776398 h 9444169"/>
              <a:gd name="connsiteX2050" fmla="*/ 22042082 w 23037085"/>
              <a:gd name="connsiteY2050" fmla="*/ 8856042 h 9444169"/>
              <a:gd name="connsiteX2051" fmla="*/ 22056520 w 23037085"/>
              <a:gd name="connsiteY2051" fmla="*/ 8835102 h 9444169"/>
              <a:gd name="connsiteX2052" fmla="*/ 22029304 w 23037085"/>
              <a:gd name="connsiteY2052" fmla="*/ 8854867 h 9444169"/>
              <a:gd name="connsiteX2053" fmla="*/ 21889154 w 23037085"/>
              <a:gd name="connsiteY2053" fmla="*/ 8936984 h 9444169"/>
              <a:gd name="connsiteX2054" fmla="*/ 21724274 w 23037085"/>
              <a:gd name="connsiteY2054" fmla="*/ 9046478 h 9444169"/>
              <a:gd name="connsiteX2055" fmla="*/ 21686918 w 23037085"/>
              <a:gd name="connsiteY2055" fmla="*/ 9054902 h 9444169"/>
              <a:gd name="connsiteX2056" fmla="*/ 21665152 w 23037085"/>
              <a:gd name="connsiteY2056" fmla="*/ 9047702 h 9444169"/>
              <a:gd name="connsiteX2057" fmla="*/ 21587314 w 23037085"/>
              <a:gd name="connsiteY2057" fmla="*/ 9061272 h 9444169"/>
              <a:gd name="connsiteX2058" fmla="*/ 21508218 w 23037085"/>
              <a:gd name="connsiteY2058" fmla="*/ 9075403 h 9444169"/>
              <a:gd name="connsiteX2059" fmla="*/ 21496954 w 23037085"/>
              <a:gd name="connsiteY2059" fmla="*/ 9090830 h 9444169"/>
              <a:gd name="connsiteX2060" fmla="*/ 21491808 w 23037085"/>
              <a:gd name="connsiteY2060" fmla="*/ 9097880 h 9444169"/>
              <a:gd name="connsiteX2061" fmla="*/ 21455706 w 23037085"/>
              <a:gd name="connsiteY2061" fmla="*/ 9101093 h 9444169"/>
              <a:gd name="connsiteX2062" fmla="*/ 21453958 w 23037085"/>
              <a:gd name="connsiteY2062" fmla="*/ 9101093 h 9444169"/>
              <a:gd name="connsiteX2063" fmla="*/ 21430792 w 23037085"/>
              <a:gd name="connsiteY2063" fmla="*/ 9101093 h 9444169"/>
              <a:gd name="connsiteX2064" fmla="*/ 21417130 w 23037085"/>
              <a:gd name="connsiteY2064" fmla="*/ 9111307 h 9444169"/>
              <a:gd name="connsiteX2065" fmla="*/ 21172216 w 23037085"/>
              <a:gd name="connsiteY2065" fmla="*/ 9162360 h 9444169"/>
              <a:gd name="connsiteX2066" fmla="*/ 21061872 w 23037085"/>
              <a:gd name="connsiteY2066" fmla="*/ 9162360 h 9444169"/>
              <a:gd name="connsiteX2067" fmla="*/ 21115958 w 23037085"/>
              <a:gd name="connsiteY2067" fmla="*/ 9145449 h 9444169"/>
              <a:gd name="connsiteX2068" fmla="*/ 21042900 w 23037085"/>
              <a:gd name="connsiteY2068" fmla="*/ 9161154 h 9444169"/>
              <a:gd name="connsiteX2069" fmla="*/ 20987566 w 23037085"/>
              <a:gd name="connsiteY2069" fmla="*/ 9188214 h 9444169"/>
              <a:gd name="connsiteX2070" fmla="*/ 20959898 w 23037085"/>
              <a:gd name="connsiteY2070" fmla="*/ 9215278 h 9444169"/>
              <a:gd name="connsiteX2071" fmla="*/ 21098234 w 23037085"/>
              <a:gd name="connsiteY2071" fmla="*/ 9269398 h 9444169"/>
              <a:gd name="connsiteX2072" fmla="*/ 21184002 w 23037085"/>
              <a:gd name="connsiteY2072" fmla="*/ 9296459 h 9444169"/>
              <a:gd name="connsiteX2073" fmla="*/ 21015232 w 23037085"/>
              <a:gd name="connsiteY2073" fmla="*/ 9269398 h 9444169"/>
              <a:gd name="connsiteX2074" fmla="*/ 20680458 w 23037085"/>
              <a:gd name="connsiteY2074" fmla="*/ 9242338 h 9444169"/>
              <a:gd name="connsiteX2075" fmla="*/ 20425920 w 23037085"/>
              <a:gd name="connsiteY2075" fmla="*/ 9269398 h 9444169"/>
              <a:gd name="connsiteX2076" fmla="*/ 19642938 w 23037085"/>
              <a:gd name="connsiteY2076" fmla="*/ 9326227 h 9444169"/>
              <a:gd name="connsiteX2077" fmla="*/ 19335830 w 23037085"/>
              <a:gd name="connsiteY2077" fmla="*/ 9380348 h 9444169"/>
              <a:gd name="connsiteX2078" fmla="*/ 19259898 w 23037085"/>
              <a:gd name="connsiteY2078" fmla="*/ 9392789 h 9444169"/>
              <a:gd name="connsiteX2079" fmla="*/ 19331486 w 23037085"/>
              <a:gd name="connsiteY2079" fmla="*/ 9392789 h 9444169"/>
              <a:gd name="connsiteX2080" fmla="*/ 19218148 w 23037085"/>
              <a:gd name="connsiteY2080" fmla="*/ 9418479 h 9444169"/>
              <a:gd name="connsiteX2081" fmla="*/ 18883652 w 23037085"/>
              <a:gd name="connsiteY2081" fmla="*/ 9444169 h 9444169"/>
              <a:gd name="connsiteX2082" fmla="*/ 18267190 w 23037085"/>
              <a:gd name="connsiteY2082" fmla="*/ 9444169 h 9444169"/>
              <a:gd name="connsiteX2083" fmla="*/ 17791712 w 23037085"/>
              <a:gd name="connsiteY2083" fmla="*/ 9418479 h 9444169"/>
              <a:gd name="connsiteX2084" fmla="*/ 17457220 w 23037085"/>
              <a:gd name="connsiteY2084" fmla="*/ 9418479 h 9444169"/>
              <a:gd name="connsiteX2085" fmla="*/ 17119962 w 23037085"/>
              <a:gd name="connsiteY2085" fmla="*/ 9392789 h 9444169"/>
              <a:gd name="connsiteX2086" fmla="*/ 17064674 w 23037085"/>
              <a:gd name="connsiteY2086" fmla="*/ 9392789 h 9444169"/>
              <a:gd name="connsiteX2087" fmla="*/ 16981744 w 23037085"/>
              <a:gd name="connsiteY2087" fmla="*/ 9367095 h 9444169"/>
              <a:gd name="connsiteX2088" fmla="*/ 16981744 w 23037085"/>
              <a:gd name="connsiteY2088" fmla="*/ 9353640 h 9444169"/>
              <a:gd name="connsiteX2089" fmla="*/ 16978622 w 23037085"/>
              <a:gd name="connsiteY2089" fmla="*/ 9353597 h 9444169"/>
              <a:gd name="connsiteX2090" fmla="*/ 16978978 w 23037085"/>
              <a:gd name="connsiteY2090" fmla="*/ 9358401 h 9444169"/>
              <a:gd name="connsiteX2091" fmla="*/ 16389808 w 23037085"/>
              <a:gd name="connsiteY2091" fmla="*/ 9302466 h 9444169"/>
              <a:gd name="connsiteX2092" fmla="*/ 16221076 w 23037085"/>
              <a:gd name="connsiteY2092" fmla="*/ 9275829 h 9444169"/>
              <a:gd name="connsiteX2093" fmla="*/ 16236734 w 23037085"/>
              <a:gd name="connsiteY2093" fmla="*/ 9271715 h 9444169"/>
              <a:gd name="connsiteX2094" fmla="*/ 16206132 w 23037085"/>
              <a:gd name="connsiteY2094" fmla="*/ 9270712 h 9444169"/>
              <a:gd name="connsiteX2095" fmla="*/ 15870454 w 23037085"/>
              <a:gd name="connsiteY2095" fmla="*/ 9244285 h 9444169"/>
              <a:gd name="connsiteX2096" fmla="*/ 15531720 w 23037085"/>
              <a:gd name="connsiteY2096" fmla="*/ 9219153 h 9444169"/>
              <a:gd name="connsiteX2097" fmla="*/ 15521262 w 23037085"/>
              <a:gd name="connsiteY2097" fmla="*/ 9222555 h 9444169"/>
              <a:gd name="connsiteX2098" fmla="*/ 15327636 w 23037085"/>
              <a:gd name="connsiteY2098" fmla="*/ 9116012 h 9444169"/>
              <a:gd name="connsiteX2099" fmla="*/ 15335498 w 23037085"/>
              <a:gd name="connsiteY2099" fmla="*/ 9116328 h 9444169"/>
              <a:gd name="connsiteX2100" fmla="*/ 15319444 w 23037085"/>
              <a:gd name="connsiteY2100" fmla="*/ 9108741 h 9444169"/>
              <a:gd name="connsiteX2101" fmla="*/ 15233776 w 23037085"/>
              <a:gd name="connsiteY2101" fmla="*/ 9108741 h 9444169"/>
              <a:gd name="connsiteX2102" fmla="*/ 15207544 w 23037085"/>
              <a:gd name="connsiteY2102" fmla="*/ 9102627 h 9444169"/>
              <a:gd name="connsiteX2103" fmla="*/ 15117982 w 23037085"/>
              <a:gd name="connsiteY2103" fmla="*/ 9102627 h 9444169"/>
              <a:gd name="connsiteX2104" fmla="*/ 15063524 w 23037085"/>
              <a:gd name="connsiteY2104" fmla="*/ 9125602 h 9444169"/>
              <a:gd name="connsiteX2105" fmla="*/ 14592478 w 23037085"/>
              <a:gd name="connsiteY2105" fmla="*/ 9079656 h 9444169"/>
              <a:gd name="connsiteX2106" fmla="*/ 14649656 w 23037085"/>
              <a:gd name="connsiteY2106" fmla="*/ 9054386 h 9444169"/>
              <a:gd name="connsiteX2107" fmla="*/ 14655040 w 23037085"/>
              <a:gd name="connsiteY2107" fmla="*/ 9054453 h 9444169"/>
              <a:gd name="connsiteX2108" fmla="*/ 14647912 w 23037085"/>
              <a:gd name="connsiteY2108" fmla="*/ 9052225 h 9444169"/>
              <a:gd name="connsiteX2109" fmla="*/ 14451702 w 23037085"/>
              <a:gd name="connsiteY2109" fmla="*/ 8998400 h 9444169"/>
              <a:gd name="connsiteX2110" fmla="*/ 14506972 w 23037085"/>
              <a:gd name="connsiteY2110" fmla="*/ 8971486 h 9444169"/>
              <a:gd name="connsiteX2111" fmla="*/ 14589876 w 23037085"/>
              <a:gd name="connsiteY2111" fmla="*/ 8944571 h 9444169"/>
              <a:gd name="connsiteX2112" fmla="*/ 14396432 w 23037085"/>
              <a:gd name="connsiteY2112" fmla="*/ 8917657 h 9444169"/>
              <a:gd name="connsiteX2113" fmla="*/ 14414632 w 23037085"/>
              <a:gd name="connsiteY2113" fmla="*/ 8909052 h 9444169"/>
              <a:gd name="connsiteX2114" fmla="*/ 14388608 w 23037085"/>
              <a:gd name="connsiteY2114" fmla="*/ 8908628 h 9444169"/>
              <a:gd name="connsiteX2115" fmla="*/ 13967592 w 23037085"/>
              <a:gd name="connsiteY2115" fmla="*/ 8881522 h 9444169"/>
              <a:gd name="connsiteX2116" fmla="*/ 13968244 w 23037085"/>
              <a:gd name="connsiteY2116" fmla="*/ 8879362 h 9444169"/>
              <a:gd name="connsiteX2117" fmla="*/ 13802270 w 23037085"/>
              <a:gd name="connsiteY2117" fmla="*/ 8879362 h 9444169"/>
              <a:gd name="connsiteX2118" fmla="*/ 13800248 w 23037085"/>
              <a:gd name="connsiteY2118" fmla="*/ 8875212 h 9444169"/>
              <a:gd name="connsiteX2119" fmla="*/ 13798042 w 23037085"/>
              <a:gd name="connsiteY2119" fmla="*/ 8880547 h 9444169"/>
              <a:gd name="connsiteX2120" fmla="*/ 13465232 w 23037085"/>
              <a:gd name="connsiteY2120" fmla="*/ 8853650 h 9444169"/>
              <a:gd name="connsiteX2121" fmla="*/ 13465232 w 23037085"/>
              <a:gd name="connsiteY2121" fmla="*/ 8824067 h 9444169"/>
              <a:gd name="connsiteX2122" fmla="*/ 13495240 w 23037085"/>
              <a:gd name="connsiteY2122" fmla="*/ 8824067 h 9444169"/>
              <a:gd name="connsiteX2123" fmla="*/ 13508514 w 23037085"/>
              <a:gd name="connsiteY2123" fmla="*/ 8811238 h 9444169"/>
              <a:gd name="connsiteX2124" fmla="*/ 13487400 w 23037085"/>
              <a:gd name="connsiteY2124" fmla="*/ 8819284 h 9444169"/>
              <a:gd name="connsiteX2125" fmla="*/ 13430880 w 23037085"/>
              <a:gd name="connsiteY2125" fmla="*/ 8740946 h 9444169"/>
              <a:gd name="connsiteX2126" fmla="*/ 13430880 w 23037085"/>
              <a:gd name="connsiteY2126" fmla="*/ 8714836 h 9444169"/>
              <a:gd name="connsiteX2127" fmla="*/ 13595054 w 23037085"/>
              <a:gd name="connsiteY2127" fmla="*/ 8688722 h 9444169"/>
              <a:gd name="connsiteX2128" fmla="*/ 13839966 w 23037085"/>
              <a:gd name="connsiteY2128" fmla="*/ 8688722 h 9444169"/>
              <a:gd name="connsiteX2129" fmla="*/ 13863514 w 23037085"/>
              <a:gd name="connsiteY2129" fmla="*/ 8691986 h 9444169"/>
              <a:gd name="connsiteX2130" fmla="*/ 13864380 w 23037085"/>
              <a:gd name="connsiteY2130" fmla="*/ 8697872 h 9444169"/>
              <a:gd name="connsiteX2131" fmla="*/ 13878226 w 23037085"/>
              <a:gd name="connsiteY2131" fmla="*/ 8697872 h 9444169"/>
              <a:gd name="connsiteX2132" fmla="*/ 13878226 w 23037085"/>
              <a:gd name="connsiteY2132" fmla="*/ 8689587 h 9444169"/>
              <a:gd name="connsiteX2133" fmla="*/ 13878226 w 23037085"/>
              <a:gd name="connsiteY2133" fmla="*/ 8672555 h 9444169"/>
              <a:gd name="connsiteX2134" fmla="*/ 13870162 w 23037085"/>
              <a:gd name="connsiteY2134" fmla="*/ 8652417 h 9444169"/>
              <a:gd name="connsiteX2135" fmla="*/ 13857318 w 23037085"/>
              <a:gd name="connsiteY2135" fmla="*/ 8637830 h 9444169"/>
              <a:gd name="connsiteX2136" fmla="*/ 13858994 w 23037085"/>
              <a:gd name="connsiteY2136" fmla="*/ 8637830 h 9444169"/>
              <a:gd name="connsiteX2137" fmla="*/ 13850654 w 23037085"/>
              <a:gd name="connsiteY2137" fmla="*/ 8635794 h 9444169"/>
              <a:gd name="connsiteX2138" fmla="*/ 13690520 w 23037085"/>
              <a:gd name="connsiteY2138" fmla="*/ 8608182 h 9444169"/>
              <a:gd name="connsiteX2139" fmla="*/ 13635082 w 23037085"/>
              <a:gd name="connsiteY2139" fmla="*/ 8582858 h 9444169"/>
              <a:gd name="connsiteX2140" fmla="*/ 13483144 w 23037085"/>
              <a:gd name="connsiteY2140" fmla="*/ 8580389 h 9444169"/>
              <a:gd name="connsiteX2141" fmla="*/ 13474642 w 23037085"/>
              <a:gd name="connsiteY2141" fmla="*/ 8579314 h 9444169"/>
              <a:gd name="connsiteX2142" fmla="*/ 13431556 w 23037085"/>
              <a:gd name="connsiteY2142" fmla="*/ 8579314 h 9444169"/>
              <a:gd name="connsiteX2143" fmla="*/ 13352286 w 23037085"/>
              <a:gd name="connsiteY2143" fmla="*/ 8575951 h 9444169"/>
              <a:gd name="connsiteX2144" fmla="*/ 13308206 w 23037085"/>
              <a:gd name="connsiteY2144" fmla="*/ 8558246 h 9444169"/>
              <a:gd name="connsiteX2145" fmla="*/ 13298012 w 23037085"/>
              <a:gd name="connsiteY2145" fmla="*/ 8556955 h 9444169"/>
              <a:gd name="connsiteX2146" fmla="*/ 12987382 w 23037085"/>
              <a:gd name="connsiteY2146" fmla="*/ 8530172 h 9444169"/>
              <a:gd name="connsiteX2147" fmla="*/ 13074676 w 23037085"/>
              <a:gd name="connsiteY2147" fmla="*/ 8517777 h 9444169"/>
              <a:gd name="connsiteX2148" fmla="*/ 12989076 w 23037085"/>
              <a:gd name="connsiteY2148" fmla="*/ 8517777 h 9444169"/>
              <a:gd name="connsiteX2149" fmla="*/ 12961332 w 23037085"/>
              <a:gd name="connsiteY2149" fmla="*/ 8517777 h 9444169"/>
              <a:gd name="connsiteX2150" fmla="*/ 12945154 w 23037085"/>
              <a:gd name="connsiteY2150" fmla="*/ 8512969 h 9444169"/>
              <a:gd name="connsiteX2151" fmla="*/ 12891970 w 23037085"/>
              <a:gd name="connsiteY2151" fmla="*/ 8497165 h 9444169"/>
              <a:gd name="connsiteX2152" fmla="*/ 12838784 w 23037085"/>
              <a:gd name="connsiteY2152" fmla="*/ 8512969 h 9444169"/>
              <a:gd name="connsiteX2153" fmla="*/ 12822610 w 23037085"/>
              <a:gd name="connsiteY2153" fmla="*/ 8517777 h 9444169"/>
              <a:gd name="connsiteX2154" fmla="*/ 12736604 w 23037085"/>
              <a:gd name="connsiteY2154" fmla="*/ 8517777 h 9444169"/>
              <a:gd name="connsiteX2155" fmla="*/ 12718854 w 23037085"/>
              <a:gd name="connsiteY2155" fmla="*/ 8512649 h 9444169"/>
              <a:gd name="connsiteX2156" fmla="*/ 12649128 w 23037085"/>
              <a:gd name="connsiteY2156" fmla="*/ 8510051 h 9444169"/>
              <a:gd name="connsiteX2157" fmla="*/ 12573932 w 23037085"/>
              <a:gd name="connsiteY2157" fmla="*/ 8490450 h 9444169"/>
              <a:gd name="connsiteX2158" fmla="*/ 12570138 w 23037085"/>
              <a:gd name="connsiteY2158" fmla="*/ 8490293 h 9444169"/>
              <a:gd name="connsiteX2159" fmla="*/ 12203914 w 23037085"/>
              <a:gd name="connsiteY2159" fmla="*/ 8490293 h 9444169"/>
              <a:gd name="connsiteX2160" fmla="*/ 12193444 w 23037085"/>
              <a:gd name="connsiteY2160" fmla="*/ 8476030 h 9444169"/>
              <a:gd name="connsiteX2161" fmla="*/ 12188124 w 23037085"/>
              <a:gd name="connsiteY2161" fmla="*/ 8488464 h 9444169"/>
              <a:gd name="connsiteX2162" fmla="*/ 11991534 w 23037085"/>
              <a:gd name="connsiteY2162" fmla="*/ 8488464 h 9444169"/>
              <a:gd name="connsiteX2163" fmla="*/ 11711874 w 23037085"/>
              <a:gd name="connsiteY2163" fmla="*/ 8461681 h 9444169"/>
              <a:gd name="connsiteX2164" fmla="*/ 11656498 w 23037085"/>
              <a:gd name="connsiteY2164" fmla="*/ 8461681 h 9444169"/>
              <a:gd name="connsiteX2165" fmla="*/ 11573430 w 23037085"/>
              <a:gd name="connsiteY2165" fmla="*/ 8461681 h 9444169"/>
              <a:gd name="connsiteX2166" fmla="*/ 11562394 w 23037085"/>
              <a:gd name="connsiteY2166" fmla="*/ 8455902 h 9444169"/>
              <a:gd name="connsiteX2167" fmla="*/ 11563306 w 23037085"/>
              <a:gd name="connsiteY2167" fmla="*/ 8460457 h 9444169"/>
              <a:gd name="connsiteX2168" fmla="*/ 11004154 w 23037085"/>
              <a:gd name="connsiteY2168" fmla="*/ 8460457 h 9444169"/>
              <a:gd name="connsiteX2169" fmla="*/ 10862902 w 23037085"/>
              <a:gd name="connsiteY2169" fmla="*/ 8460457 h 9444169"/>
              <a:gd name="connsiteX2170" fmla="*/ 10791684 w 23037085"/>
              <a:gd name="connsiteY2170" fmla="*/ 8477325 h 9444169"/>
              <a:gd name="connsiteX2171" fmla="*/ 10779756 w 23037085"/>
              <a:gd name="connsiteY2171" fmla="*/ 8480151 h 9444169"/>
              <a:gd name="connsiteX2172" fmla="*/ 10767828 w 23037085"/>
              <a:gd name="connsiteY2172" fmla="*/ 8477325 h 9444169"/>
              <a:gd name="connsiteX2173" fmla="*/ 10696692 w 23037085"/>
              <a:gd name="connsiteY2173" fmla="*/ 8460457 h 9444169"/>
              <a:gd name="connsiteX2174" fmla="*/ 10638572 w 23037085"/>
              <a:gd name="connsiteY2174" fmla="*/ 8460457 h 9444169"/>
              <a:gd name="connsiteX2175" fmla="*/ 10614868 w 23037085"/>
              <a:gd name="connsiteY2175" fmla="*/ 8477325 h 9444169"/>
              <a:gd name="connsiteX2176" fmla="*/ 10610900 w 23037085"/>
              <a:gd name="connsiteY2176" fmla="*/ 8480151 h 9444169"/>
              <a:gd name="connsiteX2177" fmla="*/ 10606924 w 23037085"/>
              <a:gd name="connsiteY2177" fmla="*/ 8477325 h 9444169"/>
              <a:gd name="connsiteX2178" fmla="*/ 10583220 w 23037085"/>
              <a:gd name="connsiteY2178" fmla="*/ 8460457 h 9444169"/>
              <a:gd name="connsiteX2179" fmla="*/ 10565458 w 23037085"/>
              <a:gd name="connsiteY2179" fmla="*/ 8459724 h 9444169"/>
              <a:gd name="connsiteX2180" fmla="*/ 10583253 w 23037085"/>
              <a:gd name="connsiteY2180" fmla="*/ 8465126 h 9444169"/>
              <a:gd name="connsiteX2181" fmla="*/ 10365346 w 23037085"/>
              <a:gd name="connsiteY2181" fmla="*/ 8465126 h 9444169"/>
              <a:gd name="connsiteX2182" fmla="*/ 10311542 w 23037085"/>
              <a:gd name="connsiteY2182" fmla="*/ 8488464 h 9444169"/>
              <a:gd name="connsiteX2183" fmla="*/ 10120544 w 23037085"/>
              <a:gd name="connsiteY2183" fmla="*/ 8465126 h 9444169"/>
              <a:gd name="connsiteX2184" fmla="*/ 10139416 w 23037085"/>
              <a:gd name="connsiteY2184" fmla="*/ 8459126 h 9444169"/>
              <a:gd name="connsiteX2185" fmla="*/ 10107192 w 23037085"/>
              <a:gd name="connsiteY2185" fmla="*/ 8460457 h 9444169"/>
              <a:gd name="connsiteX2186" fmla="*/ 9996484 w 23037085"/>
              <a:gd name="connsiteY2186" fmla="*/ 8434201 h 9444169"/>
              <a:gd name="connsiteX2187" fmla="*/ 9714152 w 23037085"/>
              <a:gd name="connsiteY2187" fmla="*/ 8460457 h 9444169"/>
              <a:gd name="connsiteX2188" fmla="*/ 9548028 w 23037085"/>
              <a:gd name="connsiteY2188" fmla="*/ 8460457 h 9444169"/>
              <a:gd name="connsiteX2189" fmla="*/ 8595792 w 23037085"/>
              <a:gd name="connsiteY2189" fmla="*/ 8486713 h 9444169"/>
              <a:gd name="connsiteX2190" fmla="*/ 8510248 w 23037085"/>
              <a:gd name="connsiteY2190" fmla="*/ 8486713 h 9444169"/>
              <a:gd name="connsiteX2191" fmla="*/ 8061436 w 23037085"/>
              <a:gd name="connsiteY2191" fmla="*/ 8486713 h 9444169"/>
              <a:gd name="connsiteX2192" fmla="*/ 8051170 w 23037085"/>
              <a:gd name="connsiteY2192" fmla="*/ 8487115 h 9444169"/>
              <a:gd name="connsiteX2193" fmla="*/ 7977071 w 23037085"/>
              <a:gd name="connsiteY2193" fmla="*/ 8517286 h 9444169"/>
              <a:gd name="connsiteX2194" fmla="*/ 7894338 w 23037085"/>
              <a:gd name="connsiteY2194" fmla="*/ 8510556 h 9444169"/>
              <a:gd name="connsiteX2195" fmla="*/ 7726104 w 23037085"/>
              <a:gd name="connsiteY2195" fmla="*/ 8510556 h 9444169"/>
              <a:gd name="connsiteX2196" fmla="*/ 7585454 w 23037085"/>
              <a:gd name="connsiteY2196" fmla="*/ 8537474 h 9444169"/>
              <a:gd name="connsiteX2197" fmla="*/ 7502718 w 23037085"/>
              <a:gd name="connsiteY2197" fmla="*/ 8510556 h 9444169"/>
              <a:gd name="connsiteX2198" fmla="*/ 7334488 w 23037085"/>
              <a:gd name="connsiteY2198" fmla="*/ 8483638 h 9444169"/>
              <a:gd name="connsiteX2199" fmla="*/ 7302901 w 23037085"/>
              <a:gd name="connsiteY2199" fmla="*/ 8483090 h 9444169"/>
              <a:gd name="connsiteX2200" fmla="*/ 7324339 w 23037085"/>
              <a:gd name="connsiteY2200" fmla="*/ 8493546 h 9444169"/>
              <a:gd name="connsiteX2201" fmla="*/ 7296759 w 23037085"/>
              <a:gd name="connsiteY2201" fmla="*/ 8547335 h 9444169"/>
              <a:gd name="connsiteX2202" fmla="*/ 7018309 w 23037085"/>
              <a:gd name="connsiteY2202" fmla="*/ 8574232 h 9444169"/>
              <a:gd name="connsiteX2203" fmla="*/ 6681927 w 23037085"/>
              <a:gd name="connsiteY2203" fmla="*/ 8630712 h 9444169"/>
              <a:gd name="connsiteX2204" fmla="*/ 6516672 w 23037085"/>
              <a:gd name="connsiteY2204" fmla="*/ 8630712 h 9444169"/>
              <a:gd name="connsiteX2205" fmla="*/ 6464014 w 23037085"/>
              <a:gd name="connsiteY2205" fmla="*/ 8618890 h 9444169"/>
              <a:gd name="connsiteX2206" fmla="*/ 6456757 w 23037085"/>
              <a:gd name="connsiteY2206" fmla="*/ 8617267 h 9444169"/>
              <a:gd name="connsiteX2207" fmla="*/ 6376181 w 23037085"/>
              <a:gd name="connsiteY2207" fmla="*/ 8603819 h 9444169"/>
              <a:gd name="connsiteX2208" fmla="*/ 6376181 w 23037085"/>
              <a:gd name="connsiteY2208" fmla="*/ 8574232 h 9444169"/>
              <a:gd name="connsiteX2209" fmla="*/ 6348719 w 23037085"/>
              <a:gd name="connsiteY2209" fmla="*/ 8557157 h 9444169"/>
              <a:gd name="connsiteX2210" fmla="*/ 6338324 w 23037085"/>
              <a:gd name="connsiteY2210" fmla="*/ 8550698 h 9444169"/>
              <a:gd name="connsiteX2211" fmla="*/ 6321093 w 23037085"/>
              <a:gd name="connsiteY2211" fmla="*/ 8547335 h 9444169"/>
              <a:gd name="connsiteX2212" fmla="*/ 6293513 w 23037085"/>
              <a:gd name="connsiteY2212" fmla="*/ 8547335 h 9444169"/>
              <a:gd name="connsiteX2213" fmla="*/ 6265940 w 23037085"/>
              <a:gd name="connsiteY2213" fmla="*/ 8547335 h 9444169"/>
              <a:gd name="connsiteX2214" fmla="*/ 6125311 w 23037085"/>
              <a:gd name="connsiteY2214" fmla="*/ 8520439 h 9444169"/>
              <a:gd name="connsiteX2215" fmla="*/ 5986159 w 23037085"/>
              <a:gd name="connsiteY2215" fmla="*/ 8540613 h 9444169"/>
              <a:gd name="connsiteX2216" fmla="*/ 5984113 w 23037085"/>
              <a:gd name="connsiteY2216" fmla="*/ 8540314 h 9444169"/>
              <a:gd name="connsiteX2217" fmla="*/ 5977814 w 23037085"/>
              <a:gd name="connsiteY2217" fmla="*/ 8541560 h 9444169"/>
              <a:gd name="connsiteX2218" fmla="*/ 5936288 w 23037085"/>
              <a:gd name="connsiteY2218" fmla="*/ 8533346 h 9444169"/>
              <a:gd name="connsiteX2219" fmla="*/ 5847231 w 23037085"/>
              <a:gd name="connsiteY2219" fmla="*/ 8520439 h 9444169"/>
              <a:gd name="connsiteX2220" fmla="*/ 5679146 w 23037085"/>
              <a:gd name="connsiteY2220" fmla="*/ 8493546 h 9444169"/>
              <a:gd name="connsiteX2221" fmla="*/ 5667766 w 23037085"/>
              <a:gd name="connsiteY2221" fmla="*/ 8501830 h 9444169"/>
              <a:gd name="connsiteX2222" fmla="*/ 5651527 w 23037085"/>
              <a:gd name="connsiteY2222" fmla="*/ 8513716 h 9444169"/>
              <a:gd name="connsiteX2223" fmla="*/ 5635304 w 23037085"/>
              <a:gd name="connsiteY2223" fmla="*/ 8501830 h 9444169"/>
              <a:gd name="connsiteX2224" fmla="*/ 5623980 w 23037085"/>
              <a:gd name="connsiteY2224" fmla="*/ 8493546 h 9444169"/>
              <a:gd name="connsiteX2225" fmla="*/ 5538728 w 23037085"/>
              <a:gd name="connsiteY2225" fmla="*/ 8455720 h 9444169"/>
              <a:gd name="connsiteX2226" fmla="*/ 5539917 w 23037085"/>
              <a:gd name="connsiteY2226" fmla="*/ 8436005 h 9444169"/>
              <a:gd name="connsiteX2227" fmla="*/ 5536849 w 23037085"/>
              <a:gd name="connsiteY2227" fmla="*/ 8435952 h 9444169"/>
              <a:gd name="connsiteX2228" fmla="*/ 5254929 w 23037085"/>
              <a:gd name="connsiteY2228" fmla="*/ 8435952 h 9444169"/>
              <a:gd name="connsiteX2229" fmla="*/ 5144378 w 23037085"/>
              <a:gd name="connsiteY2229" fmla="*/ 8409696 h 9444169"/>
              <a:gd name="connsiteX2230" fmla="*/ 5031059 w 23037085"/>
              <a:gd name="connsiteY2230" fmla="*/ 8383443 h 9444169"/>
              <a:gd name="connsiteX2231" fmla="*/ 4389882 w 23037085"/>
              <a:gd name="connsiteY2231" fmla="*/ 8354561 h 9444169"/>
              <a:gd name="connsiteX2232" fmla="*/ 4370027 w 23037085"/>
              <a:gd name="connsiteY2232" fmla="*/ 8368867 h 9444169"/>
              <a:gd name="connsiteX2233" fmla="*/ 4368817 w 23037085"/>
              <a:gd name="connsiteY2233" fmla="*/ 8377351 h 9444169"/>
              <a:gd name="connsiteX2234" fmla="*/ 4347377 w 23037085"/>
              <a:gd name="connsiteY2234" fmla="*/ 8380415 h 9444169"/>
              <a:gd name="connsiteX2235" fmla="*/ 4325099 w 23037085"/>
              <a:gd name="connsiteY2235" fmla="*/ 8380415 h 9444169"/>
              <a:gd name="connsiteX2236" fmla="*/ 4325099 w 23037085"/>
              <a:gd name="connsiteY2236" fmla="*/ 8355910 h 9444169"/>
              <a:gd name="connsiteX2237" fmla="*/ 4333583 w 23037085"/>
              <a:gd name="connsiteY2237" fmla="*/ 8355910 h 9444169"/>
              <a:gd name="connsiteX2238" fmla="*/ 4331843 w 23037085"/>
              <a:gd name="connsiteY2238" fmla="*/ 8354561 h 9444169"/>
              <a:gd name="connsiteX2239" fmla="*/ 4221295 w 23037085"/>
              <a:gd name="connsiteY2239" fmla="*/ 8354561 h 9444169"/>
              <a:gd name="connsiteX2240" fmla="*/ 4213694 w 23037085"/>
              <a:gd name="connsiteY2240" fmla="*/ 8352988 h 9444169"/>
              <a:gd name="connsiteX2241" fmla="*/ 4213694 w 23037085"/>
              <a:gd name="connsiteY2241" fmla="*/ 8378187 h 9444169"/>
              <a:gd name="connsiteX2242" fmla="*/ 4158876 w 23037085"/>
              <a:gd name="connsiteY2242" fmla="*/ 8378187 h 9444169"/>
              <a:gd name="connsiteX2243" fmla="*/ 3991671 w 23037085"/>
              <a:gd name="connsiteY2243" fmla="*/ 8378187 h 9444169"/>
              <a:gd name="connsiteX2244" fmla="*/ 3964261 w 23037085"/>
              <a:gd name="connsiteY2244" fmla="*/ 8378187 h 9444169"/>
              <a:gd name="connsiteX2245" fmla="*/ 3657264 w 23037085"/>
              <a:gd name="connsiteY2245" fmla="*/ 8321707 h 9444169"/>
              <a:gd name="connsiteX2246" fmla="*/ 3640132 w 23037085"/>
              <a:gd name="connsiteY2246" fmla="*/ 8294810 h 9444169"/>
              <a:gd name="connsiteX2247" fmla="*/ 3624439 w 23037085"/>
              <a:gd name="connsiteY2247" fmla="*/ 8283611 h 9444169"/>
              <a:gd name="connsiteX2248" fmla="*/ 3617588 w 23037085"/>
              <a:gd name="connsiteY2248" fmla="*/ 8292419 h 9444169"/>
              <a:gd name="connsiteX2249" fmla="*/ 3566539 w 23037085"/>
              <a:gd name="connsiteY2249" fmla="*/ 8292419 h 9444169"/>
              <a:gd name="connsiteX2250" fmla="*/ 3592065 w 23037085"/>
              <a:gd name="connsiteY2250" fmla="*/ 8196790 h 9444169"/>
              <a:gd name="connsiteX2251" fmla="*/ 3616407 w 23037085"/>
              <a:gd name="connsiteY2251" fmla="*/ 8206519 h 9444169"/>
              <a:gd name="connsiteX2252" fmla="*/ 3579115 w 23037085"/>
              <a:gd name="connsiteY2252" fmla="*/ 8177882 h 9444169"/>
              <a:gd name="connsiteX2253" fmla="*/ 3273886 w 23037085"/>
              <a:gd name="connsiteY2253" fmla="*/ 8151249 h 9444169"/>
              <a:gd name="connsiteX2254" fmla="*/ 2883397 w 23037085"/>
              <a:gd name="connsiteY2254" fmla="*/ 8095314 h 9444169"/>
              <a:gd name="connsiteX2255" fmla="*/ 2550656 w 23037085"/>
              <a:gd name="connsiteY2255" fmla="*/ 8068677 h 9444169"/>
              <a:gd name="connsiteX2256" fmla="*/ 2355411 w 23037085"/>
              <a:gd name="connsiteY2256" fmla="*/ 8042040 h 9444169"/>
              <a:gd name="connsiteX2257" fmla="*/ 2327910 w 23037085"/>
              <a:gd name="connsiteY2257" fmla="*/ 7988766 h 9444169"/>
              <a:gd name="connsiteX2258" fmla="*/ 2355411 w 23037085"/>
              <a:gd name="connsiteY2258" fmla="*/ 7988766 h 9444169"/>
              <a:gd name="connsiteX2259" fmla="*/ 2382909 w 23037085"/>
              <a:gd name="connsiteY2259" fmla="*/ 8015403 h 9444169"/>
              <a:gd name="connsiteX2260" fmla="*/ 2437909 w 23037085"/>
              <a:gd name="connsiteY2260" fmla="*/ 8015403 h 9444169"/>
              <a:gd name="connsiteX2261" fmla="*/ 2591904 w 23037085"/>
              <a:gd name="connsiteY2261" fmla="*/ 8035382 h 9444169"/>
              <a:gd name="connsiteX2262" fmla="*/ 2593957 w 23037085"/>
              <a:gd name="connsiteY2262" fmla="*/ 8035115 h 9444169"/>
              <a:gd name="connsiteX2263" fmla="*/ 2588431 w 23037085"/>
              <a:gd name="connsiteY2263" fmla="*/ 8035115 h 9444169"/>
              <a:gd name="connsiteX2264" fmla="*/ 2450407 w 23037085"/>
              <a:gd name="connsiteY2264" fmla="*/ 8011777 h 9444169"/>
              <a:gd name="connsiteX2265" fmla="*/ 2753515 w 23037085"/>
              <a:gd name="connsiteY2265" fmla="*/ 8011777 h 9444169"/>
              <a:gd name="connsiteX2266" fmla="*/ 2888831 w 23037085"/>
              <a:gd name="connsiteY2266" fmla="*/ 8035115 h 9444169"/>
              <a:gd name="connsiteX2267" fmla="*/ 2842283 w 23037085"/>
              <a:gd name="connsiteY2267" fmla="*/ 8035115 h 9444169"/>
              <a:gd name="connsiteX2268" fmla="*/ 2883397 w 23037085"/>
              <a:gd name="connsiteY2268" fmla="*/ 8042040 h 9444169"/>
              <a:gd name="connsiteX2269" fmla="*/ 2913646 w 23037085"/>
              <a:gd name="connsiteY2269" fmla="*/ 8042040 h 9444169"/>
              <a:gd name="connsiteX2270" fmla="*/ 2920792 w 23037085"/>
              <a:gd name="connsiteY2270" fmla="*/ 8041225 h 9444169"/>
              <a:gd name="connsiteX2271" fmla="*/ 2893785 w 23037085"/>
              <a:gd name="connsiteY2271" fmla="*/ 8032723 h 9444169"/>
              <a:gd name="connsiteX2272" fmla="*/ 2951660 w 23037085"/>
              <a:gd name="connsiteY2272" fmla="*/ 8032723 h 9444169"/>
              <a:gd name="connsiteX2273" fmla="*/ 2979218 w 23037085"/>
              <a:gd name="connsiteY2273" fmla="*/ 8005827 h 9444169"/>
              <a:gd name="connsiteX2274" fmla="*/ 2951660 w 23037085"/>
              <a:gd name="connsiteY2274" fmla="*/ 8005827 h 9444169"/>
              <a:gd name="connsiteX2275" fmla="*/ 2924101 w 23037085"/>
              <a:gd name="connsiteY2275" fmla="*/ 7978934 h 9444169"/>
              <a:gd name="connsiteX2276" fmla="*/ 2505189 w 23037085"/>
              <a:gd name="connsiteY2276" fmla="*/ 7925140 h 9444169"/>
              <a:gd name="connsiteX2277" fmla="*/ 2423542 w 23037085"/>
              <a:gd name="connsiteY2277" fmla="*/ 7892528 h 9444169"/>
              <a:gd name="connsiteX2278" fmla="*/ 2370240 w 23037085"/>
              <a:gd name="connsiteY2278" fmla="*/ 7846593 h 9444169"/>
              <a:gd name="connsiteX2279" fmla="*/ 2363272 w 23037085"/>
              <a:gd name="connsiteY2279" fmla="*/ 7844518 h 9444169"/>
              <a:gd name="connsiteX2280" fmla="*/ 2138509 w 23037085"/>
              <a:gd name="connsiteY2280" fmla="*/ 7790063 h 9444169"/>
              <a:gd name="connsiteX2281" fmla="*/ 1997022 w 23037085"/>
              <a:gd name="connsiteY2281" fmla="*/ 7762835 h 9444169"/>
              <a:gd name="connsiteX2282" fmla="*/ 2055281 w 23037085"/>
              <a:gd name="connsiteY2282" fmla="*/ 7735608 h 9444169"/>
              <a:gd name="connsiteX2283" fmla="*/ 2560264 w 23037085"/>
              <a:gd name="connsiteY2283" fmla="*/ 7735608 h 9444169"/>
              <a:gd name="connsiteX2284" fmla="*/ 3206726 w 23037085"/>
              <a:gd name="connsiteY2284" fmla="*/ 7817290 h 9444169"/>
              <a:gd name="connsiteX2285" fmla="*/ 3148459 w 23037085"/>
              <a:gd name="connsiteY2285" fmla="*/ 7762835 h 9444169"/>
              <a:gd name="connsiteX2286" fmla="*/ 2895981 w 23037085"/>
              <a:gd name="connsiteY2286" fmla="*/ 7708380 h 9444169"/>
              <a:gd name="connsiteX2287" fmla="*/ 2868233 w 23037085"/>
              <a:gd name="connsiteY2287" fmla="*/ 7678427 h 9444169"/>
              <a:gd name="connsiteX2288" fmla="*/ 2877546 w 23037085"/>
              <a:gd name="connsiteY2288" fmla="*/ 7673996 h 9444169"/>
              <a:gd name="connsiteX2289" fmla="*/ 2867041 w 23037085"/>
              <a:gd name="connsiteY2289" fmla="*/ 7673658 h 9444169"/>
              <a:gd name="connsiteX2290" fmla="*/ 2924852 w 23037085"/>
              <a:gd name="connsiteY2290" fmla="*/ 7621149 h 9444169"/>
              <a:gd name="connsiteX2291" fmla="*/ 2966304 w 23037085"/>
              <a:gd name="connsiteY2291" fmla="*/ 7621644 h 9444169"/>
              <a:gd name="connsiteX2292" fmla="*/ 2921283 w 23037085"/>
              <a:gd name="connsiteY2292" fmla="*/ 7619690 h 9444169"/>
              <a:gd name="connsiteX2293" fmla="*/ 2891550 w 23037085"/>
              <a:gd name="connsiteY2293" fmla="*/ 7596352 h 9444169"/>
              <a:gd name="connsiteX2294" fmla="*/ 2918329 w 23037085"/>
              <a:gd name="connsiteY2294" fmla="*/ 7597708 h 9444169"/>
              <a:gd name="connsiteX2295" fmla="*/ 2898863 w 23037085"/>
              <a:gd name="connsiteY2295" fmla="*/ 7591755 h 9444169"/>
              <a:gd name="connsiteX2296" fmla="*/ 2843394 w 23037085"/>
              <a:gd name="connsiteY2296" fmla="*/ 7591755 h 9444169"/>
              <a:gd name="connsiteX2297" fmla="*/ 2815657 w 23037085"/>
              <a:gd name="connsiteY2297" fmla="*/ 7591755 h 9444169"/>
              <a:gd name="connsiteX2298" fmla="*/ 2732455 w 23037085"/>
              <a:gd name="connsiteY2298" fmla="*/ 7591755 h 9444169"/>
              <a:gd name="connsiteX2299" fmla="*/ 2646477 w 23037085"/>
              <a:gd name="connsiteY2299" fmla="*/ 7564452 h 9444169"/>
              <a:gd name="connsiteX2300" fmla="*/ 2646477 w 23037085"/>
              <a:gd name="connsiteY2300" fmla="*/ 7537150 h 9444169"/>
              <a:gd name="connsiteX2301" fmla="*/ 2648142 w 23037085"/>
              <a:gd name="connsiteY2301" fmla="*/ 7536613 h 9444169"/>
              <a:gd name="connsiteX2302" fmla="*/ 2636349 w 23037085"/>
              <a:gd name="connsiteY2302" fmla="*/ 7537321 h 9444169"/>
              <a:gd name="connsiteX2303" fmla="*/ 2614459 w 23037085"/>
              <a:gd name="connsiteY2303" fmla="*/ 7531666 h 9444169"/>
              <a:gd name="connsiteX2304" fmla="*/ 2462176 w 23037085"/>
              <a:gd name="connsiteY2304" fmla="*/ 7529474 h 9444169"/>
              <a:gd name="connsiteX2305" fmla="*/ 2258938 w 23037085"/>
              <a:gd name="connsiteY2305" fmla="*/ 7510673 h 9444169"/>
              <a:gd name="connsiteX2306" fmla="*/ 2186345 w 23037085"/>
              <a:gd name="connsiteY2306" fmla="*/ 7509780 h 9444169"/>
              <a:gd name="connsiteX2307" fmla="*/ 2154644 w 23037085"/>
              <a:gd name="connsiteY2307" fmla="*/ 7504147 h 9444169"/>
              <a:gd name="connsiteX2308" fmla="*/ 2131235 w 23037085"/>
              <a:gd name="connsiteY2308" fmla="*/ 7503218 h 9444169"/>
              <a:gd name="connsiteX2309" fmla="*/ 2048691 w 23037085"/>
              <a:gd name="connsiteY2309" fmla="*/ 7480243 h 9444169"/>
              <a:gd name="connsiteX2310" fmla="*/ 2039275 w 23037085"/>
              <a:gd name="connsiteY2310" fmla="*/ 7480243 h 9444169"/>
              <a:gd name="connsiteX2311" fmla="*/ 2026449 w 23037085"/>
              <a:gd name="connsiteY2311" fmla="*/ 7492666 h 9444169"/>
              <a:gd name="connsiteX2312" fmla="*/ 2023011 w 23037085"/>
              <a:gd name="connsiteY2312" fmla="*/ 7495997 h 9444169"/>
              <a:gd name="connsiteX2313" fmla="*/ 1882785 w 23037085"/>
              <a:gd name="connsiteY2313" fmla="*/ 7495997 h 9444169"/>
              <a:gd name="connsiteX2314" fmla="*/ 1687565 w 23037085"/>
              <a:gd name="connsiteY2314" fmla="*/ 7440062 h 9444169"/>
              <a:gd name="connsiteX2315" fmla="*/ 1632572 w 23037085"/>
              <a:gd name="connsiteY2315" fmla="*/ 7440062 h 9444169"/>
              <a:gd name="connsiteX2316" fmla="*/ 1611953 w 23037085"/>
              <a:gd name="connsiteY2316" fmla="*/ 7413425 h 9444169"/>
              <a:gd name="connsiteX2317" fmla="*/ 1632572 w 23037085"/>
              <a:gd name="connsiteY2317" fmla="*/ 7386788 h 9444169"/>
              <a:gd name="connsiteX2318" fmla="*/ 1660071 w 23037085"/>
              <a:gd name="connsiteY2318" fmla="*/ 7360155 h 9444169"/>
              <a:gd name="connsiteX2319" fmla="*/ 1715059 w 23037085"/>
              <a:gd name="connsiteY2319" fmla="*/ 7333518 h 9444169"/>
              <a:gd name="connsiteX2320" fmla="*/ 1770052 w 23037085"/>
              <a:gd name="connsiteY2320" fmla="*/ 7333518 h 9444169"/>
              <a:gd name="connsiteX2321" fmla="*/ 1774845 w 23037085"/>
              <a:gd name="connsiteY2321" fmla="*/ 7330838 h 9444169"/>
              <a:gd name="connsiteX2322" fmla="*/ 1767322 w 23037085"/>
              <a:gd name="connsiteY2322" fmla="*/ 7332600 h 9444169"/>
              <a:gd name="connsiteX2323" fmla="*/ 1712188 w 23037085"/>
              <a:gd name="connsiteY2323" fmla="*/ 7279475 h 9444169"/>
              <a:gd name="connsiteX2324" fmla="*/ 1712188 w 23037085"/>
              <a:gd name="connsiteY2324" fmla="*/ 7252913 h 9444169"/>
              <a:gd name="connsiteX2325" fmla="*/ 1739753 w 23037085"/>
              <a:gd name="connsiteY2325" fmla="*/ 7252913 h 9444169"/>
              <a:gd name="connsiteX2326" fmla="*/ 1767322 w 23037085"/>
              <a:gd name="connsiteY2326" fmla="*/ 7252913 h 9444169"/>
              <a:gd name="connsiteX2327" fmla="*/ 1852784 w 23037085"/>
              <a:gd name="connsiteY2327" fmla="*/ 7252913 h 9444169"/>
              <a:gd name="connsiteX2328" fmla="*/ 1880350 w 23037085"/>
              <a:gd name="connsiteY2328" fmla="*/ 7197134 h 9444169"/>
              <a:gd name="connsiteX2329" fmla="*/ 1935489 w 23037085"/>
              <a:gd name="connsiteY2329" fmla="*/ 7144010 h 9444169"/>
              <a:gd name="connsiteX2330" fmla="*/ 2186355 w 23037085"/>
              <a:gd name="connsiteY2330" fmla="*/ 7170572 h 9444169"/>
              <a:gd name="connsiteX2331" fmla="*/ 2299437 w 23037085"/>
              <a:gd name="connsiteY2331" fmla="*/ 7170572 h 9444169"/>
              <a:gd name="connsiteX2332" fmla="*/ 2299437 w 23037085"/>
              <a:gd name="connsiteY2332" fmla="*/ 7144010 h 9444169"/>
              <a:gd name="connsiteX2333" fmla="*/ 2131221 w 23037085"/>
              <a:gd name="connsiteY2333" fmla="*/ 7117448 h 9444169"/>
              <a:gd name="connsiteX2334" fmla="*/ 1935489 w 23037085"/>
              <a:gd name="connsiteY2334" fmla="*/ 7090886 h 9444169"/>
              <a:gd name="connsiteX2335" fmla="*/ 1880350 w 23037085"/>
              <a:gd name="connsiteY2335" fmla="*/ 7117448 h 9444169"/>
              <a:gd name="connsiteX2336" fmla="*/ 1861621 w 23037085"/>
              <a:gd name="connsiteY2336" fmla="*/ 7103915 h 9444169"/>
              <a:gd name="connsiteX2337" fmla="*/ 1852784 w 23037085"/>
              <a:gd name="connsiteY2337" fmla="*/ 7097527 h 9444169"/>
              <a:gd name="connsiteX2338" fmla="*/ 1843945 w 23037085"/>
              <a:gd name="connsiteY2338" fmla="*/ 7103915 h 9444169"/>
              <a:gd name="connsiteX2339" fmla="*/ 1825215 w 23037085"/>
              <a:gd name="connsiteY2339" fmla="*/ 7117448 h 9444169"/>
              <a:gd name="connsiteX2340" fmla="*/ 1767322 w 23037085"/>
              <a:gd name="connsiteY2340" fmla="*/ 7090886 h 9444169"/>
              <a:gd name="connsiteX2341" fmla="*/ 1712188 w 23037085"/>
              <a:gd name="connsiteY2341" fmla="*/ 7090886 h 9444169"/>
              <a:gd name="connsiteX2342" fmla="*/ 1675067 w 23037085"/>
              <a:gd name="connsiteY2342" fmla="*/ 7079406 h 9444169"/>
              <a:gd name="connsiteX2343" fmla="*/ 1655871 w 23037085"/>
              <a:gd name="connsiteY2343" fmla="*/ 7079406 h 9444169"/>
              <a:gd name="connsiteX2344" fmla="*/ 1648231 w 23037085"/>
              <a:gd name="connsiteY2344" fmla="*/ 7071103 h 9444169"/>
              <a:gd name="connsiteX2345" fmla="*/ 1646711 w 23037085"/>
              <a:gd name="connsiteY2345" fmla="*/ 7070634 h 9444169"/>
              <a:gd name="connsiteX2346" fmla="*/ 1647146 w 23037085"/>
              <a:gd name="connsiteY2346" fmla="*/ 7069926 h 9444169"/>
              <a:gd name="connsiteX2347" fmla="*/ 1642658 w 23037085"/>
              <a:gd name="connsiteY2347" fmla="*/ 7065047 h 9444169"/>
              <a:gd name="connsiteX2348" fmla="*/ 1629445 w 23037085"/>
              <a:gd name="connsiteY2348" fmla="*/ 7033460 h 9444169"/>
              <a:gd name="connsiteX2349" fmla="*/ 1682298 w 23037085"/>
              <a:gd name="connsiteY2349" fmla="*/ 7008186 h 9444169"/>
              <a:gd name="connsiteX2350" fmla="*/ 1682651 w 23037085"/>
              <a:gd name="connsiteY2350" fmla="*/ 7011769 h 9444169"/>
              <a:gd name="connsiteX2351" fmla="*/ 1684619 w 23037085"/>
              <a:gd name="connsiteY2351" fmla="*/ 7008545 h 9444169"/>
              <a:gd name="connsiteX2352" fmla="*/ 1739753 w 23037085"/>
              <a:gd name="connsiteY2352" fmla="*/ 7008545 h 9444169"/>
              <a:gd name="connsiteX2353" fmla="*/ 1746775 w 23037085"/>
              <a:gd name="connsiteY2353" fmla="*/ 7011157 h 9444169"/>
              <a:gd name="connsiteX2354" fmla="*/ 1746775 w 23037085"/>
              <a:gd name="connsiteY2354" fmla="*/ 7000574 h 9444169"/>
              <a:gd name="connsiteX2355" fmla="*/ 1746775 w 23037085"/>
              <a:gd name="connsiteY2355" fmla="*/ 6996837 h 9444169"/>
              <a:gd name="connsiteX2356" fmla="*/ 1755301 w 23037085"/>
              <a:gd name="connsiteY2356" fmla="*/ 6986688 h 9444169"/>
              <a:gd name="connsiteX2357" fmla="*/ 1733995 w 23037085"/>
              <a:gd name="connsiteY2357" fmla="*/ 6993638 h 9444169"/>
              <a:gd name="connsiteX2358" fmla="*/ 1595939 w 23037085"/>
              <a:gd name="connsiteY2358" fmla="*/ 6913731 h 9444169"/>
              <a:gd name="connsiteX2359" fmla="*/ 1399898 w 23037085"/>
              <a:gd name="connsiteY2359" fmla="*/ 6913731 h 9444169"/>
              <a:gd name="connsiteX2360" fmla="*/ 1372290 w 23037085"/>
              <a:gd name="connsiteY2360" fmla="*/ 6887094 h 9444169"/>
              <a:gd name="connsiteX2361" fmla="*/ 1382165 w 23037085"/>
              <a:gd name="connsiteY2361" fmla="*/ 6883364 h 9444169"/>
              <a:gd name="connsiteX2362" fmla="*/ 1372265 w 23037085"/>
              <a:gd name="connsiteY2362" fmla="*/ 6883364 h 9444169"/>
              <a:gd name="connsiteX2363" fmla="*/ 1452951 w 23037085"/>
              <a:gd name="connsiteY2363" fmla="*/ 6836689 h 9444169"/>
              <a:gd name="connsiteX2364" fmla="*/ 1590064 w 23037085"/>
              <a:gd name="connsiteY2364" fmla="*/ 6836689 h 9444169"/>
              <a:gd name="connsiteX2365" fmla="*/ 1595939 w 23037085"/>
              <a:gd name="connsiteY2365" fmla="*/ 6833820 h 9444169"/>
              <a:gd name="connsiteX2366" fmla="*/ 1651160 w 23037085"/>
              <a:gd name="connsiteY2366" fmla="*/ 6833820 h 9444169"/>
              <a:gd name="connsiteX2367" fmla="*/ 1651160 w 23037085"/>
              <a:gd name="connsiteY2367" fmla="*/ 6860457 h 9444169"/>
              <a:gd name="connsiteX2368" fmla="*/ 1678772 w 23037085"/>
              <a:gd name="connsiteY2368" fmla="*/ 6833820 h 9444169"/>
              <a:gd name="connsiteX2369" fmla="*/ 1902421 w 23037085"/>
              <a:gd name="connsiteY2369" fmla="*/ 6833820 h 9444169"/>
              <a:gd name="connsiteX2370" fmla="*/ 2098459 w 23037085"/>
              <a:gd name="connsiteY2370" fmla="*/ 6833820 h 9444169"/>
              <a:gd name="connsiteX2371" fmla="*/ 2126071 w 23037085"/>
              <a:gd name="connsiteY2371" fmla="*/ 6777885 h 9444169"/>
              <a:gd name="connsiteX2372" fmla="*/ 2141879 w 23037085"/>
              <a:gd name="connsiteY2372" fmla="*/ 6777322 h 9444169"/>
              <a:gd name="connsiteX2373" fmla="*/ 2140085 w 23037085"/>
              <a:gd name="connsiteY2373" fmla="*/ 6776835 h 9444169"/>
              <a:gd name="connsiteX2374" fmla="*/ 1998826 w 23037085"/>
              <a:gd name="connsiteY2374" fmla="*/ 6776835 h 9444169"/>
              <a:gd name="connsiteX2375" fmla="*/ 1789707 w 23037085"/>
              <a:gd name="connsiteY2375" fmla="*/ 6773440 h 9444169"/>
              <a:gd name="connsiteX2376" fmla="*/ 1678836 w 23037085"/>
              <a:gd name="connsiteY2376" fmla="*/ 6760839 h 9444169"/>
              <a:gd name="connsiteX2377" fmla="*/ 1660359 w 23037085"/>
              <a:gd name="connsiteY2377" fmla="*/ 6760839 h 9444169"/>
              <a:gd name="connsiteX2378" fmla="*/ 1580555 w 23037085"/>
              <a:gd name="connsiteY2378" fmla="*/ 6749700 h 9444169"/>
              <a:gd name="connsiteX2379" fmla="*/ 1580907 w 23037085"/>
              <a:gd name="connsiteY2379" fmla="*/ 6749711 h 9444169"/>
              <a:gd name="connsiteX2380" fmla="*/ 1580587 w 23037085"/>
              <a:gd name="connsiteY2380" fmla="*/ 6749671 h 9444169"/>
              <a:gd name="connsiteX2381" fmla="*/ 1588979 w 23037085"/>
              <a:gd name="connsiteY2381" fmla="*/ 6720045 h 9444169"/>
              <a:gd name="connsiteX2382" fmla="*/ 1562683 w 23037085"/>
              <a:gd name="connsiteY2382" fmla="*/ 6736333 h 9444169"/>
              <a:gd name="connsiteX2383" fmla="*/ 1458029 w 23037085"/>
              <a:gd name="connsiteY2383" fmla="*/ 6712618 h 9444169"/>
              <a:gd name="connsiteX2384" fmla="*/ 1480328 w 23037085"/>
              <a:gd name="connsiteY2384" fmla="*/ 6705323 h 9444169"/>
              <a:gd name="connsiteX2385" fmla="*/ 1458122 w 23037085"/>
              <a:gd name="connsiteY2385" fmla="*/ 6708326 h 9444169"/>
              <a:gd name="connsiteX2386" fmla="*/ 1405620 w 23037085"/>
              <a:gd name="connsiteY2386" fmla="*/ 6701782 h 9444169"/>
              <a:gd name="connsiteX2387" fmla="*/ 1455435 w 23037085"/>
              <a:gd name="connsiteY2387" fmla="*/ 6712995 h 9444169"/>
              <a:gd name="connsiteX2388" fmla="*/ 1323251 w 23037085"/>
              <a:gd name="connsiteY2388" fmla="*/ 6712995 h 9444169"/>
              <a:gd name="connsiteX2389" fmla="*/ 1331507 w 23037085"/>
              <a:gd name="connsiteY2389" fmla="*/ 6706237 h 9444169"/>
              <a:gd name="connsiteX2390" fmla="*/ 1318656 w 23037085"/>
              <a:gd name="connsiteY2390" fmla="*/ 6708326 h 9444169"/>
              <a:gd name="connsiteX2391" fmla="*/ 1181928 w 23037085"/>
              <a:gd name="connsiteY2391" fmla="*/ 6682070 h 9444169"/>
              <a:gd name="connsiteX2392" fmla="*/ 1154583 w 23037085"/>
              <a:gd name="connsiteY2392" fmla="*/ 6629562 h 9444169"/>
              <a:gd name="connsiteX2393" fmla="*/ 1134074 w 23037085"/>
              <a:gd name="connsiteY2393" fmla="*/ 6613149 h 9444169"/>
              <a:gd name="connsiteX2394" fmla="*/ 1154583 w 23037085"/>
              <a:gd name="connsiteY2394" fmla="*/ 6577050 h 9444169"/>
              <a:gd name="connsiteX2395" fmla="*/ 1171903 w 23037085"/>
              <a:gd name="connsiteY2395" fmla="*/ 6577050 h 9444169"/>
              <a:gd name="connsiteX2396" fmla="*/ 1151722 w 23037085"/>
              <a:gd name="connsiteY2396" fmla="*/ 6574221 h 9444169"/>
              <a:gd name="connsiteX2397" fmla="*/ 1178148 w 23037085"/>
              <a:gd name="connsiteY2397" fmla="*/ 6519794 h 9444169"/>
              <a:gd name="connsiteX2398" fmla="*/ 1283856 w 23037085"/>
              <a:gd name="connsiteY2398" fmla="*/ 6493872 h 9444169"/>
              <a:gd name="connsiteX2399" fmla="*/ 1283856 w 23037085"/>
              <a:gd name="connsiteY2399" fmla="*/ 6507111 h 9444169"/>
              <a:gd name="connsiteX2400" fmla="*/ 1291312 w 23037085"/>
              <a:gd name="connsiteY2400" fmla="*/ 6495659 h 9444169"/>
              <a:gd name="connsiteX2401" fmla="*/ 1348738 w 23037085"/>
              <a:gd name="connsiteY2401" fmla="*/ 6521911 h 9444169"/>
              <a:gd name="connsiteX2402" fmla="*/ 1458122 w 23037085"/>
              <a:gd name="connsiteY2402" fmla="*/ 6495659 h 9444169"/>
              <a:gd name="connsiteX2403" fmla="*/ 1570242 w 23037085"/>
              <a:gd name="connsiteY2403" fmla="*/ 6469403 h 9444169"/>
              <a:gd name="connsiteX2404" fmla="*/ 1679625 w 23037085"/>
              <a:gd name="connsiteY2404" fmla="*/ 6469403 h 9444169"/>
              <a:gd name="connsiteX2405" fmla="*/ 1681305 w 23037085"/>
              <a:gd name="connsiteY2405" fmla="*/ 6472161 h 9444169"/>
              <a:gd name="connsiteX2406" fmla="*/ 1684348 w 23037085"/>
              <a:gd name="connsiteY2406" fmla="*/ 6469328 h 9444169"/>
              <a:gd name="connsiteX2407" fmla="*/ 1711728 w 23037085"/>
              <a:gd name="connsiteY2407" fmla="*/ 6469328 h 9444169"/>
              <a:gd name="connsiteX2408" fmla="*/ 1723284 w 23037085"/>
              <a:gd name="connsiteY2408" fmla="*/ 6471043 h 9444169"/>
              <a:gd name="connsiteX2409" fmla="*/ 1715348 w 23037085"/>
              <a:gd name="connsiteY2409" fmla="*/ 6460385 h 9444169"/>
              <a:gd name="connsiteX2410" fmla="*/ 1800543 w 23037085"/>
              <a:gd name="connsiteY2410" fmla="*/ 6407111 h 9444169"/>
              <a:gd name="connsiteX2411" fmla="*/ 1855507 w 23037085"/>
              <a:gd name="connsiteY2411" fmla="*/ 6380474 h 9444169"/>
              <a:gd name="connsiteX2412" fmla="*/ 1906770 w 23037085"/>
              <a:gd name="connsiteY2412" fmla="*/ 6355635 h 9444169"/>
              <a:gd name="connsiteX2413" fmla="*/ 1902364 w 23037085"/>
              <a:gd name="connsiteY2413" fmla="*/ 6351994 h 9444169"/>
              <a:gd name="connsiteX2414" fmla="*/ 1902364 w 23037085"/>
              <a:gd name="connsiteY2414" fmla="*/ 6321966 h 9444169"/>
              <a:gd name="connsiteX2415" fmla="*/ 1882944 w 23037085"/>
              <a:gd name="connsiteY2415" fmla="*/ 6316062 h 9444169"/>
              <a:gd name="connsiteX2416" fmla="*/ 1749618 w 23037085"/>
              <a:gd name="connsiteY2416" fmla="*/ 6319300 h 9444169"/>
              <a:gd name="connsiteX2417" fmla="*/ 1623110 w 23037085"/>
              <a:gd name="connsiteY2417" fmla="*/ 6344247 h 9444169"/>
              <a:gd name="connsiteX2418" fmla="*/ 1568989 w 23037085"/>
              <a:gd name="connsiteY2418" fmla="*/ 6344247 h 9444169"/>
              <a:gd name="connsiteX2419" fmla="*/ 1568989 w 23037085"/>
              <a:gd name="connsiteY2419" fmla="*/ 6289817 h 9444169"/>
              <a:gd name="connsiteX2420" fmla="*/ 1596050 w 23037085"/>
              <a:gd name="connsiteY2420" fmla="*/ 6289817 h 9444169"/>
              <a:gd name="connsiteX2421" fmla="*/ 1623110 w 23037085"/>
              <a:gd name="connsiteY2421" fmla="*/ 6263899 h 9444169"/>
              <a:gd name="connsiteX2422" fmla="*/ 1568989 w 23037085"/>
              <a:gd name="connsiteY2422" fmla="*/ 6237981 h 9444169"/>
              <a:gd name="connsiteX2423" fmla="*/ 1458040 w 23037085"/>
              <a:gd name="connsiteY2423" fmla="*/ 6237981 h 9444169"/>
              <a:gd name="connsiteX2424" fmla="*/ 1458040 w 23037085"/>
              <a:gd name="connsiteY2424" fmla="*/ 6215301 h 9444169"/>
              <a:gd name="connsiteX2425" fmla="*/ 1458040 w 23037085"/>
              <a:gd name="connsiteY2425" fmla="*/ 6213091 h 9444169"/>
              <a:gd name="connsiteX2426" fmla="*/ 1455115 w 23037085"/>
              <a:gd name="connsiteY2426" fmla="*/ 6212771 h 9444169"/>
              <a:gd name="connsiteX2427" fmla="*/ 1443474 w 23037085"/>
              <a:gd name="connsiteY2427" fmla="*/ 6200469 h 9444169"/>
              <a:gd name="connsiteX2428" fmla="*/ 1440841 w 23037085"/>
              <a:gd name="connsiteY2428" fmla="*/ 6207077 h 9444169"/>
              <a:gd name="connsiteX2429" fmla="*/ 1440841 w 23037085"/>
              <a:gd name="connsiteY2429" fmla="*/ 6233974 h 9444169"/>
              <a:gd name="connsiteX2430" fmla="*/ 1387279 w 23037085"/>
              <a:gd name="connsiteY2430" fmla="*/ 6207077 h 9444169"/>
              <a:gd name="connsiteX2431" fmla="*/ 1333713 w 23037085"/>
              <a:gd name="connsiteY2431" fmla="*/ 6207077 h 9444169"/>
              <a:gd name="connsiteX2432" fmla="*/ 1170348 w 23037085"/>
              <a:gd name="connsiteY2432" fmla="*/ 6180180 h 9444169"/>
              <a:gd name="connsiteX2433" fmla="*/ 1033765 w 23037085"/>
              <a:gd name="connsiteY2433" fmla="*/ 6153287 h 9444169"/>
              <a:gd name="connsiteX2434" fmla="*/ 1022189 w 23037085"/>
              <a:gd name="connsiteY2434" fmla="*/ 6146643 h 9444169"/>
              <a:gd name="connsiteX2435" fmla="*/ 875994 w 23037085"/>
              <a:gd name="connsiteY2435" fmla="*/ 6153017 h 9444169"/>
              <a:gd name="connsiteX2436" fmla="*/ 725500 w 23037085"/>
              <a:gd name="connsiteY2436" fmla="*/ 6120199 h 9444169"/>
              <a:gd name="connsiteX2437" fmla="*/ 725500 w 23037085"/>
              <a:gd name="connsiteY2437" fmla="*/ 6065064 h 9444169"/>
              <a:gd name="connsiteX2438" fmla="*/ 727700 w 23037085"/>
              <a:gd name="connsiteY2438" fmla="*/ 6065530 h 9444169"/>
              <a:gd name="connsiteX2439" fmla="*/ 707603 w 23037085"/>
              <a:gd name="connsiteY2439" fmla="*/ 6042327 h 9444169"/>
              <a:gd name="connsiteX2440" fmla="*/ 727789 w 23037085"/>
              <a:gd name="connsiteY2440" fmla="*/ 6038996 h 9444169"/>
              <a:gd name="connsiteX2441" fmla="*/ 754700 w 23037085"/>
              <a:gd name="connsiteY2441" fmla="*/ 6038996 h 9444169"/>
              <a:gd name="connsiteX2442" fmla="*/ 754700 w 23037085"/>
              <a:gd name="connsiteY2442" fmla="*/ 6012363 h 9444169"/>
              <a:gd name="connsiteX2443" fmla="*/ 647049 w 23037085"/>
              <a:gd name="connsiteY2443" fmla="*/ 6012363 h 9444169"/>
              <a:gd name="connsiteX2444" fmla="*/ 563619 w 23037085"/>
              <a:gd name="connsiteY2444" fmla="*/ 5932452 h 9444169"/>
              <a:gd name="connsiteX2445" fmla="*/ 570078 w 23037085"/>
              <a:gd name="connsiteY2445" fmla="*/ 5927659 h 9444169"/>
              <a:gd name="connsiteX2446" fmla="*/ 590530 w 23037085"/>
              <a:gd name="connsiteY2446" fmla="*/ 5912478 h 9444169"/>
              <a:gd name="connsiteX2447" fmla="*/ 617444 w 23037085"/>
              <a:gd name="connsiteY2447" fmla="*/ 5932452 h 9444169"/>
              <a:gd name="connsiteX2448" fmla="*/ 862350 w 23037085"/>
              <a:gd name="connsiteY2448" fmla="*/ 5932452 h 9444169"/>
              <a:gd name="connsiteX2449" fmla="*/ 891955 w 23037085"/>
              <a:gd name="connsiteY2449" fmla="*/ 5959089 h 9444169"/>
              <a:gd name="connsiteX2450" fmla="*/ 862350 w 23037085"/>
              <a:gd name="connsiteY2450" fmla="*/ 5985726 h 9444169"/>
              <a:gd name="connsiteX2451" fmla="*/ 835439 w 23037085"/>
              <a:gd name="connsiteY2451" fmla="*/ 5985726 h 9444169"/>
              <a:gd name="connsiteX2452" fmla="*/ 835439 w 23037085"/>
              <a:gd name="connsiteY2452" fmla="*/ 6038996 h 9444169"/>
              <a:gd name="connsiteX2453" fmla="*/ 891955 w 23037085"/>
              <a:gd name="connsiteY2453" fmla="*/ 6038996 h 9444169"/>
              <a:gd name="connsiteX2454" fmla="*/ 918869 w 23037085"/>
              <a:gd name="connsiteY2454" fmla="*/ 6038996 h 9444169"/>
              <a:gd name="connsiteX2455" fmla="*/ 999609 w 23037085"/>
              <a:gd name="connsiteY2455" fmla="*/ 6012363 h 9444169"/>
              <a:gd name="connsiteX2456" fmla="*/ 1016947 w 23037085"/>
              <a:gd name="connsiteY2456" fmla="*/ 6043825 h 9444169"/>
              <a:gd name="connsiteX2457" fmla="*/ 1016947 w 23037085"/>
              <a:gd name="connsiteY2457" fmla="*/ 6018847 h 9444169"/>
              <a:gd name="connsiteX2458" fmla="*/ 1070071 w 23037085"/>
              <a:gd name="connsiteY2458" fmla="*/ 5992929 h 9444169"/>
              <a:gd name="connsiteX2459" fmla="*/ 1070694 w 23037085"/>
              <a:gd name="connsiteY2459" fmla="*/ 5992844 h 9444169"/>
              <a:gd name="connsiteX2460" fmla="*/ 1065953 w 23037085"/>
              <a:gd name="connsiteY2460" fmla="*/ 5990715 h 9444169"/>
              <a:gd name="connsiteX2461" fmla="*/ 1065953 w 23037085"/>
              <a:gd name="connsiteY2461" fmla="*/ 5966808 h 9444169"/>
              <a:gd name="connsiteX2462" fmla="*/ 1069776 w 23037085"/>
              <a:gd name="connsiteY2462" fmla="*/ 5966808 h 9444169"/>
              <a:gd name="connsiteX2463" fmla="*/ 1065953 w 23037085"/>
              <a:gd name="connsiteY2463" fmla="*/ 5965612 h 9444169"/>
              <a:gd name="connsiteX2464" fmla="*/ 1092591 w 23037085"/>
              <a:gd name="connsiteY2464" fmla="*/ 5917798 h 9444169"/>
              <a:gd name="connsiteX2465" fmla="*/ 1116338 w 23037085"/>
              <a:gd name="connsiteY2465" fmla="*/ 5918449 h 9444169"/>
              <a:gd name="connsiteX2466" fmla="*/ 1090658 w 23037085"/>
              <a:gd name="connsiteY2466" fmla="*/ 5895485 h 9444169"/>
              <a:gd name="connsiteX2467" fmla="*/ 1063046 w 23037085"/>
              <a:gd name="connsiteY2467" fmla="*/ 5841364 h 9444169"/>
              <a:gd name="connsiteX2468" fmla="*/ 897382 w 23037085"/>
              <a:gd name="connsiteY2468" fmla="*/ 5811596 h 9444169"/>
              <a:gd name="connsiteX2469" fmla="*/ 811784 w 23037085"/>
              <a:gd name="connsiteY2469" fmla="*/ 5757475 h 9444169"/>
              <a:gd name="connsiteX2470" fmla="*/ 811784 w 23037085"/>
              <a:gd name="connsiteY2470" fmla="*/ 5703351 h 9444169"/>
              <a:gd name="connsiteX2471" fmla="*/ 791076 w 23037085"/>
              <a:gd name="connsiteY2471" fmla="*/ 5689821 h 9444169"/>
              <a:gd name="connsiteX2472" fmla="*/ 811784 w 23037085"/>
              <a:gd name="connsiteY2472" fmla="*/ 5676290 h 9444169"/>
              <a:gd name="connsiteX2473" fmla="*/ 867008 w 23037085"/>
              <a:gd name="connsiteY2473" fmla="*/ 5676290 h 9444169"/>
              <a:gd name="connsiteX2474" fmla="*/ 897382 w 23037085"/>
              <a:gd name="connsiteY2474" fmla="*/ 5730411 h 9444169"/>
              <a:gd name="connsiteX2475" fmla="*/ 924990 w 23037085"/>
              <a:gd name="connsiteY2475" fmla="*/ 5757475 h 9444169"/>
              <a:gd name="connsiteX2476" fmla="*/ 1063046 w 23037085"/>
              <a:gd name="connsiteY2476" fmla="*/ 5730411 h 9444169"/>
              <a:gd name="connsiteX2477" fmla="*/ 1176252 w 23037085"/>
              <a:gd name="connsiteY2477" fmla="*/ 5730411 h 9444169"/>
              <a:gd name="connsiteX2478" fmla="*/ 1090658 w 23037085"/>
              <a:gd name="connsiteY2478" fmla="*/ 5703351 h 9444169"/>
              <a:gd name="connsiteX2479" fmla="*/ 1007826 w 23037085"/>
              <a:gd name="connsiteY2479" fmla="*/ 5703351 h 9444169"/>
              <a:gd name="connsiteX2480" fmla="*/ 924990 w 23037085"/>
              <a:gd name="connsiteY2480" fmla="*/ 5592402 h 9444169"/>
              <a:gd name="connsiteX2481" fmla="*/ 925681 w 23037085"/>
              <a:gd name="connsiteY2481" fmla="*/ 5592124 h 9444169"/>
              <a:gd name="connsiteX2482" fmla="*/ 924197 w 23037085"/>
              <a:gd name="connsiteY2482" fmla="*/ 5592124 h 9444169"/>
              <a:gd name="connsiteX2483" fmla="*/ 951702 w 23037085"/>
              <a:gd name="connsiteY2483" fmla="*/ 5512437 h 9444169"/>
              <a:gd name="connsiteX2484" fmla="*/ 988637 w 23037085"/>
              <a:gd name="connsiteY2484" fmla="*/ 5498815 h 9444169"/>
              <a:gd name="connsiteX2485" fmla="*/ 955687 w 23037085"/>
              <a:gd name="connsiteY2485" fmla="*/ 5498815 h 9444169"/>
              <a:gd name="connsiteX2486" fmla="*/ 978929 w 23037085"/>
              <a:gd name="connsiteY2486" fmla="*/ 5466206 h 9444169"/>
              <a:gd name="connsiteX2487" fmla="*/ 980406 w 23037085"/>
              <a:gd name="connsiteY2487" fmla="*/ 5459598 h 9444169"/>
              <a:gd name="connsiteX2488" fmla="*/ 979211 w 23037085"/>
              <a:gd name="connsiteY2488" fmla="*/ 5459313 h 9444169"/>
              <a:gd name="connsiteX2489" fmla="*/ 811425 w 23037085"/>
              <a:gd name="connsiteY2489" fmla="*/ 5432751 h 9444169"/>
              <a:gd name="connsiteX2490" fmla="*/ 673899 w 23037085"/>
              <a:gd name="connsiteY2490" fmla="*/ 5406189 h 9444169"/>
              <a:gd name="connsiteX2491" fmla="*/ 686952 w 23037085"/>
              <a:gd name="connsiteY2491" fmla="*/ 5388541 h 9444169"/>
              <a:gd name="connsiteX2492" fmla="*/ 669141 w 23037085"/>
              <a:gd name="connsiteY2492" fmla="*/ 5388541 h 9444169"/>
              <a:gd name="connsiteX2493" fmla="*/ 642230 w 23037085"/>
              <a:gd name="connsiteY2493" fmla="*/ 5388541 h 9444169"/>
              <a:gd name="connsiteX2494" fmla="*/ 612626 w 23037085"/>
              <a:gd name="connsiteY2494" fmla="*/ 5362285 h 9444169"/>
              <a:gd name="connsiteX2495" fmla="*/ 642230 w 23037085"/>
              <a:gd name="connsiteY2495" fmla="*/ 5333403 h 9444169"/>
              <a:gd name="connsiteX2496" fmla="*/ 803706 w 23037085"/>
              <a:gd name="connsiteY2496" fmla="*/ 5333403 h 9444169"/>
              <a:gd name="connsiteX2497" fmla="*/ 827258 w 23037085"/>
              <a:gd name="connsiteY2497" fmla="*/ 5316994 h 9444169"/>
              <a:gd name="connsiteX2498" fmla="*/ 829094 w 23037085"/>
              <a:gd name="connsiteY2498" fmla="*/ 5297286 h 9444169"/>
              <a:gd name="connsiteX2499" fmla="*/ 811425 w 23037085"/>
              <a:gd name="connsiteY2499" fmla="*/ 5297286 h 9444169"/>
              <a:gd name="connsiteX2500" fmla="*/ 834080 w 23037085"/>
              <a:gd name="connsiteY2500" fmla="*/ 5263628 h 9444169"/>
              <a:gd name="connsiteX2501" fmla="*/ 810863 w 23037085"/>
              <a:gd name="connsiteY2501" fmla="*/ 5276660 h 9444169"/>
              <a:gd name="connsiteX2502" fmla="*/ 676298 w 23037085"/>
              <a:gd name="connsiteY2502" fmla="*/ 5276660 h 9444169"/>
              <a:gd name="connsiteX2503" fmla="*/ 649383 w 23037085"/>
              <a:gd name="connsiteY2503" fmla="*/ 5250550 h 9444169"/>
              <a:gd name="connsiteX2504" fmla="*/ 676298 w 23037085"/>
              <a:gd name="connsiteY2504" fmla="*/ 5224436 h 9444169"/>
              <a:gd name="connsiteX2505" fmla="*/ 837773 w 23037085"/>
              <a:gd name="connsiteY2505" fmla="*/ 5198325 h 9444169"/>
              <a:gd name="connsiteX2506" fmla="*/ 703209 w 23037085"/>
              <a:gd name="connsiteY2506" fmla="*/ 5172212 h 9444169"/>
              <a:gd name="connsiteX2507" fmla="*/ 745703 w 23037085"/>
              <a:gd name="connsiteY2507" fmla="*/ 5170639 h 9444169"/>
              <a:gd name="connsiteX2508" fmla="*/ 743400 w 23037085"/>
              <a:gd name="connsiteY2508" fmla="*/ 5170343 h 9444169"/>
              <a:gd name="connsiteX2509" fmla="*/ 707718 w 23037085"/>
              <a:gd name="connsiteY2509" fmla="*/ 5171141 h 9444169"/>
              <a:gd name="connsiteX2510" fmla="*/ 689810 w 23037085"/>
              <a:gd name="connsiteY2510" fmla="*/ 5163731 h 9444169"/>
              <a:gd name="connsiteX2511" fmla="*/ 469409 w 23037085"/>
              <a:gd name="connsiteY2511" fmla="*/ 5163731 h 9444169"/>
              <a:gd name="connsiteX2512" fmla="*/ 356813 w 23037085"/>
              <a:gd name="connsiteY2512" fmla="*/ 5163731 h 9444169"/>
              <a:gd name="connsiteX2513" fmla="*/ 356813 w 23037085"/>
              <a:gd name="connsiteY2513" fmla="*/ 5137098 h 9444169"/>
              <a:gd name="connsiteX2514" fmla="*/ 329350 w 23037085"/>
              <a:gd name="connsiteY2514" fmla="*/ 5163731 h 9444169"/>
              <a:gd name="connsiteX2515" fmla="*/ 301888 w 23037085"/>
              <a:gd name="connsiteY2515" fmla="*/ 5137098 h 9444169"/>
              <a:gd name="connsiteX2516" fmla="*/ 301888 w 23037085"/>
              <a:gd name="connsiteY2516" fmla="*/ 5163731 h 9444169"/>
              <a:gd name="connsiteX2517" fmla="*/ 192041 w 23037085"/>
              <a:gd name="connsiteY2517" fmla="*/ 5137098 h 9444169"/>
              <a:gd name="connsiteX2518" fmla="*/ 79444 w 23037085"/>
              <a:gd name="connsiteY2518" fmla="*/ 5137098 h 9444169"/>
              <a:gd name="connsiteX2519" fmla="*/ 24519 w 23037085"/>
              <a:gd name="connsiteY2519" fmla="*/ 5081163 h 9444169"/>
              <a:gd name="connsiteX2520" fmla="*/ 137116 w 23037085"/>
              <a:gd name="connsiteY2520" fmla="*/ 5081163 h 9444169"/>
              <a:gd name="connsiteX2521" fmla="*/ 144917 w 23037085"/>
              <a:gd name="connsiteY2521" fmla="*/ 5077849 h 9444169"/>
              <a:gd name="connsiteX2522" fmla="*/ 137259 w 23037085"/>
              <a:gd name="connsiteY2522" fmla="*/ 5077849 h 9444169"/>
              <a:gd name="connsiteX2523" fmla="*/ 26914 w 23037085"/>
              <a:gd name="connsiteY2523" fmla="*/ 5051593 h 9444169"/>
              <a:gd name="connsiteX2524" fmla="*/ 0 w 23037085"/>
              <a:gd name="connsiteY2524" fmla="*/ 5025341 h 9444169"/>
              <a:gd name="connsiteX2525" fmla="*/ 26914 w 23037085"/>
              <a:gd name="connsiteY2525" fmla="*/ 4999085 h 9444169"/>
              <a:gd name="connsiteX2526" fmla="*/ 107654 w 23037085"/>
              <a:gd name="connsiteY2526" fmla="*/ 4999085 h 9444169"/>
              <a:gd name="connsiteX2527" fmla="*/ 382165 w 23037085"/>
              <a:gd name="connsiteY2527" fmla="*/ 4999085 h 9444169"/>
              <a:gd name="connsiteX2528" fmla="*/ 422535 w 23037085"/>
              <a:gd name="connsiteY2528" fmla="*/ 5002366 h 9444169"/>
              <a:gd name="connsiteX2529" fmla="*/ 455207 w 23037085"/>
              <a:gd name="connsiteY2529" fmla="*/ 5020961 h 9444169"/>
              <a:gd name="connsiteX2530" fmla="*/ 462904 w 23037085"/>
              <a:gd name="connsiteY2530" fmla="*/ 5025341 h 9444169"/>
              <a:gd name="connsiteX2531" fmla="*/ 444612 w 23037085"/>
              <a:gd name="connsiteY2531" fmla="*/ 5027889 h 9444169"/>
              <a:gd name="connsiteX2532" fmla="*/ 469409 w 23037085"/>
              <a:gd name="connsiteY2532" fmla="*/ 5027889 h 9444169"/>
              <a:gd name="connsiteX2533" fmla="*/ 496872 w 23037085"/>
              <a:gd name="connsiteY2533" fmla="*/ 5027889 h 9444169"/>
              <a:gd name="connsiteX2534" fmla="*/ 504665 w 23037085"/>
              <a:gd name="connsiteY2534" fmla="*/ 5020961 h 9444169"/>
              <a:gd name="connsiteX2535" fmla="*/ 538064 w 23037085"/>
              <a:gd name="connsiteY2535" fmla="*/ 4991263 h 9444169"/>
              <a:gd name="connsiteX2536" fmla="*/ 579259 w 23037085"/>
              <a:gd name="connsiteY2536" fmla="*/ 4974615 h 9444169"/>
              <a:gd name="connsiteX2537" fmla="*/ 801703 w 23037085"/>
              <a:gd name="connsiteY2537" fmla="*/ 5001252 h 9444169"/>
              <a:gd name="connsiteX2538" fmla="*/ 914296 w 23037085"/>
              <a:gd name="connsiteY2538" fmla="*/ 5001252 h 9444169"/>
              <a:gd name="connsiteX2539" fmla="*/ 924513 w 23037085"/>
              <a:gd name="connsiteY2539" fmla="*/ 5014462 h 9444169"/>
              <a:gd name="connsiteX2540" fmla="*/ 931577 w 23037085"/>
              <a:gd name="connsiteY2540" fmla="*/ 5007772 h 9444169"/>
              <a:gd name="connsiteX2541" fmla="*/ 1069765 w 23037085"/>
              <a:gd name="connsiteY2541" fmla="*/ 4980989 h 9444169"/>
              <a:gd name="connsiteX2542" fmla="*/ 1210711 w 23037085"/>
              <a:gd name="connsiteY2542" fmla="*/ 4954206 h 9444169"/>
              <a:gd name="connsiteX2543" fmla="*/ 1462207 w 23037085"/>
              <a:gd name="connsiteY2543" fmla="*/ 4844403 h 9444169"/>
              <a:gd name="connsiteX2544" fmla="*/ 1603156 w 23037085"/>
              <a:gd name="connsiteY2544" fmla="*/ 4817620 h 9444169"/>
              <a:gd name="connsiteX2545" fmla="*/ 1637875 w 23037085"/>
              <a:gd name="connsiteY2545" fmla="*/ 4812011 h 9444169"/>
              <a:gd name="connsiteX2546" fmla="*/ 1641950 w 23037085"/>
              <a:gd name="connsiteY2546" fmla="*/ 4786659 h 9444169"/>
              <a:gd name="connsiteX2547" fmla="*/ 1712551 w 23037085"/>
              <a:gd name="connsiteY2547" fmla="*/ 4743716 h 9444169"/>
              <a:gd name="connsiteX2548" fmla="*/ 1766678 w 23037085"/>
              <a:gd name="connsiteY2548" fmla="*/ 4740411 h 9444169"/>
              <a:gd name="connsiteX2549" fmla="*/ 1822027 w 23037085"/>
              <a:gd name="connsiteY2549" fmla="*/ 4795773 h 9444169"/>
              <a:gd name="connsiteX2550" fmla="*/ 1825351 w 23037085"/>
              <a:gd name="connsiteY2550" fmla="*/ 4795567 h 9444169"/>
              <a:gd name="connsiteX2551" fmla="*/ 1880581 w 23037085"/>
              <a:gd name="connsiteY2551" fmla="*/ 4795567 h 9444169"/>
              <a:gd name="connsiteX2552" fmla="*/ 1963428 w 23037085"/>
              <a:gd name="connsiteY2552" fmla="*/ 4714781 h 9444169"/>
              <a:gd name="connsiteX2553" fmla="*/ 1977236 w 23037085"/>
              <a:gd name="connsiteY2553" fmla="*/ 4693574 h 9444169"/>
              <a:gd name="connsiteX2554" fmla="*/ 1986681 w 23037085"/>
              <a:gd name="connsiteY2554" fmla="*/ 4691500 h 9444169"/>
              <a:gd name="connsiteX2555" fmla="*/ 1976090 w 23037085"/>
              <a:gd name="connsiteY2555" fmla="*/ 4691500 h 9444169"/>
              <a:gd name="connsiteX2556" fmla="*/ 1973951 w 23037085"/>
              <a:gd name="connsiteY2556" fmla="*/ 4693440 h 9444169"/>
              <a:gd name="connsiteX2557" fmla="*/ 1950539 w 23037085"/>
              <a:gd name="connsiteY2557" fmla="*/ 4714645 h 9444169"/>
              <a:gd name="connsiteX2558" fmla="*/ 1543811 w 23037085"/>
              <a:gd name="connsiteY2558" fmla="*/ 4690411 h 9444169"/>
              <a:gd name="connsiteX2559" fmla="*/ 1543811 w 23037085"/>
              <a:gd name="connsiteY2559" fmla="*/ 4689226 h 9444169"/>
              <a:gd name="connsiteX2560" fmla="*/ 1538121 w 23037085"/>
              <a:gd name="connsiteY2560" fmla="*/ 4690140 h 9444169"/>
              <a:gd name="connsiteX2561" fmla="*/ 1427677 w 23037085"/>
              <a:gd name="connsiteY2561" fmla="*/ 4690140 h 9444169"/>
              <a:gd name="connsiteX2562" fmla="*/ 1204027 w 23037085"/>
              <a:gd name="connsiteY2562" fmla="*/ 4690140 h 9444169"/>
              <a:gd name="connsiteX2563" fmla="*/ 1035602 w 23037085"/>
              <a:gd name="connsiteY2563" fmla="*/ 4690140 h 9444169"/>
              <a:gd name="connsiteX2564" fmla="*/ 701508 w 23037085"/>
              <a:gd name="connsiteY2564" fmla="*/ 4690140 h 9444169"/>
              <a:gd name="connsiteX2565" fmla="*/ 673896 w 23037085"/>
              <a:gd name="connsiteY2565" fmla="*/ 4690140 h 9444169"/>
              <a:gd name="connsiteX2566" fmla="*/ 673896 w 23037085"/>
              <a:gd name="connsiteY2566" fmla="*/ 4663885 h 9444169"/>
              <a:gd name="connsiteX2567" fmla="*/ 701508 w 23037085"/>
              <a:gd name="connsiteY2567" fmla="*/ 4663885 h 9444169"/>
              <a:gd name="connsiteX2568" fmla="*/ 1176415 w 23037085"/>
              <a:gd name="connsiteY2568" fmla="*/ 4663885 h 9444169"/>
              <a:gd name="connsiteX2569" fmla="*/ 1259251 w 23037085"/>
              <a:gd name="connsiteY2569" fmla="*/ 4608749 h 9444169"/>
              <a:gd name="connsiteX2570" fmla="*/ 1314472 w 23037085"/>
              <a:gd name="connsiteY2570" fmla="*/ 4608749 h 9444169"/>
              <a:gd name="connsiteX2571" fmla="*/ 1706547 w 23037085"/>
              <a:gd name="connsiteY2571" fmla="*/ 4582493 h 9444169"/>
              <a:gd name="connsiteX2572" fmla="*/ 1724348 w 23037085"/>
              <a:gd name="connsiteY2572" fmla="*/ 4591518 h 9444169"/>
              <a:gd name="connsiteX2573" fmla="*/ 1707038 w 23037085"/>
              <a:gd name="connsiteY2573" fmla="*/ 4580002 h 9444169"/>
              <a:gd name="connsiteX2574" fmla="*/ 1897019 w 23037085"/>
              <a:gd name="connsiteY2574" fmla="*/ 4580002 h 9444169"/>
              <a:gd name="connsiteX2575" fmla="*/ 1733796 w 23037085"/>
              <a:gd name="connsiteY2575" fmla="*/ 4553074 h 9444169"/>
              <a:gd name="connsiteX2576" fmla="*/ 1656864 w 23037085"/>
              <a:gd name="connsiteY2576" fmla="*/ 4549707 h 9444169"/>
              <a:gd name="connsiteX2577" fmla="*/ 1609893 w 23037085"/>
              <a:gd name="connsiteY2577" fmla="*/ 4530241 h 9444169"/>
              <a:gd name="connsiteX2578" fmla="*/ 1600331 w 23037085"/>
              <a:gd name="connsiteY2578" fmla="*/ 4531455 h 9444169"/>
              <a:gd name="connsiteX2579" fmla="*/ 1461218 w 23037085"/>
              <a:gd name="connsiteY2579" fmla="*/ 4555362 h 9444169"/>
              <a:gd name="connsiteX2580" fmla="*/ 1428855 w 23037085"/>
              <a:gd name="connsiteY2580" fmla="*/ 4544725 h 9444169"/>
              <a:gd name="connsiteX2581" fmla="*/ 1443382 w 23037085"/>
              <a:gd name="connsiteY2581" fmla="*/ 4555362 h 9444169"/>
              <a:gd name="connsiteX2582" fmla="*/ 1352108 w 23037085"/>
              <a:gd name="connsiteY2582" fmla="*/ 4555362 h 9444169"/>
              <a:gd name="connsiteX2583" fmla="*/ 1347752 w 23037085"/>
              <a:gd name="connsiteY2583" fmla="*/ 4555362 h 9444169"/>
              <a:gd name="connsiteX2584" fmla="*/ 1322101 w 23037085"/>
              <a:gd name="connsiteY2584" fmla="*/ 4555362 h 9444169"/>
              <a:gd name="connsiteX2585" fmla="*/ 1305055 w 23037085"/>
              <a:gd name="connsiteY2585" fmla="*/ 4525476 h 9444169"/>
              <a:gd name="connsiteX2586" fmla="*/ 1294550 w 23037085"/>
              <a:gd name="connsiteY2586" fmla="*/ 4527152 h 9444169"/>
              <a:gd name="connsiteX2587" fmla="*/ 1300577 w 23037085"/>
              <a:gd name="connsiteY2587" fmla="*/ 4539204 h 9444169"/>
              <a:gd name="connsiteX2588" fmla="*/ 1294071 w 23037085"/>
              <a:gd name="connsiteY2588" fmla="*/ 4534941 h 9444169"/>
              <a:gd name="connsiteX2589" fmla="*/ 1261981 w 23037085"/>
              <a:gd name="connsiteY2589" fmla="*/ 4532024 h 9444169"/>
              <a:gd name="connsiteX2590" fmla="*/ 1266308 w 23037085"/>
              <a:gd name="connsiteY2590" fmla="*/ 4531237 h 9444169"/>
              <a:gd name="connsiteX2591" fmla="*/ 1250501 w 23037085"/>
              <a:gd name="connsiteY2591" fmla="*/ 4528465 h 9444169"/>
              <a:gd name="connsiteX2592" fmla="*/ 1212995 w 23037085"/>
              <a:gd name="connsiteY2592" fmla="*/ 4507547 h 9444169"/>
              <a:gd name="connsiteX2593" fmla="*/ 1267550 w 23037085"/>
              <a:gd name="connsiteY2593" fmla="*/ 4483640 h 9444169"/>
              <a:gd name="connsiteX2594" fmla="*/ 1600331 w 23037085"/>
              <a:gd name="connsiteY2594" fmla="*/ 4483640 h 9444169"/>
              <a:gd name="connsiteX2595" fmla="*/ 1741497 w 23037085"/>
              <a:gd name="connsiteY2595" fmla="*/ 4480790 h 9444169"/>
              <a:gd name="connsiteX2596" fmla="*/ 1789988 w 23037085"/>
              <a:gd name="connsiteY2596" fmla="*/ 4472288 h 9444169"/>
              <a:gd name="connsiteX2597" fmla="*/ 1794458 w 23037085"/>
              <a:gd name="connsiteY2597" fmla="*/ 4473081 h 9444169"/>
              <a:gd name="connsiteX2598" fmla="*/ 1875831 w 23037085"/>
              <a:gd name="connsiteY2598" fmla="*/ 4459732 h 9444169"/>
              <a:gd name="connsiteX2599" fmla="*/ 1912368 w 23037085"/>
              <a:gd name="connsiteY2599" fmla="*/ 4462398 h 9444169"/>
              <a:gd name="connsiteX2600" fmla="*/ 1874489 w 23037085"/>
              <a:gd name="connsiteY2600" fmla="*/ 4441405 h 9444169"/>
              <a:gd name="connsiteX2601" fmla="*/ 1761291 w 23037085"/>
              <a:gd name="connsiteY2601" fmla="*/ 4385163 h 9444169"/>
              <a:gd name="connsiteX2602" fmla="*/ 1482438 w 23037085"/>
              <a:gd name="connsiteY2602" fmla="*/ 4385163 h 9444169"/>
              <a:gd name="connsiteX2603" fmla="*/ 1399610 w 23037085"/>
              <a:gd name="connsiteY2603" fmla="*/ 4358381 h 9444169"/>
              <a:gd name="connsiteX2604" fmla="*/ 1344393 w 23037085"/>
              <a:gd name="connsiteY2604" fmla="*/ 4304815 h 9444169"/>
              <a:gd name="connsiteX2605" fmla="*/ 1286411 w 23037085"/>
              <a:gd name="connsiteY2605" fmla="*/ 4278036 h 9444169"/>
              <a:gd name="connsiteX2606" fmla="*/ 1399610 w 23037085"/>
              <a:gd name="connsiteY2606" fmla="*/ 4251253 h 9444169"/>
              <a:gd name="connsiteX2607" fmla="*/ 1416866 w 23037085"/>
              <a:gd name="connsiteY2607" fmla="*/ 4237862 h 9444169"/>
              <a:gd name="connsiteX2608" fmla="*/ 1442844 w 23037085"/>
              <a:gd name="connsiteY2608" fmla="*/ 4228698 h 9444169"/>
              <a:gd name="connsiteX2609" fmla="*/ 1454830 w 23037085"/>
              <a:gd name="connsiteY2609" fmla="*/ 4224471 h 9444169"/>
              <a:gd name="connsiteX2610" fmla="*/ 1482438 w 23037085"/>
              <a:gd name="connsiteY2610" fmla="*/ 4224471 h 9444169"/>
              <a:gd name="connsiteX2611" fmla="*/ 1495129 w 23037085"/>
              <a:gd name="connsiteY2611" fmla="*/ 4219022 h 9444169"/>
              <a:gd name="connsiteX2612" fmla="*/ 1498096 w 23037085"/>
              <a:gd name="connsiteY2612" fmla="*/ 4194738 h 9444169"/>
              <a:gd name="connsiteX2613" fmla="*/ 1521861 w 23037085"/>
              <a:gd name="connsiteY2613" fmla="*/ 4168891 h 9444169"/>
              <a:gd name="connsiteX2614" fmla="*/ 1549018 w 23037085"/>
              <a:gd name="connsiteY2614" fmla="*/ 4117838 h 9444169"/>
              <a:gd name="connsiteX2615" fmla="*/ 1552353 w 23037085"/>
              <a:gd name="connsiteY2615" fmla="*/ 4117550 h 9444169"/>
              <a:gd name="connsiteX2616" fmla="*/ 1532904 w 23037085"/>
              <a:gd name="connsiteY2616" fmla="*/ 4107977 h 9444169"/>
              <a:gd name="connsiteX2617" fmla="*/ 1505588 w 23037085"/>
              <a:gd name="connsiteY2617" fmla="*/ 4107977 h 9444169"/>
              <a:gd name="connsiteX2618" fmla="*/ 1502712 w 23037085"/>
              <a:gd name="connsiteY2618" fmla="*/ 4099101 h 9444169"/>
              <a:gd name="connsiteX2619" fmla="*/ 1454175 w 23037085"/>
              <a:gd name="connsiteY2619" fmla="*/ 4092721 h 9444169"/>
              <a:gd name="connsiteX2620" fmla="*/ 1423314 w 23037085"/>
              <a:gd name="connsiteY2620" fmla="*/ 4126517 h 9444169"/>
              <a:gd name="connsiteX2621" fmla="*/ 1395884 w 23037085"/>
              <a:gd name="connsiteY2621" fmla="*/ 4126517 h 9444169"/>
              <a:gd name="connsiteX2622" fmla="*/ 1146263 w 23037085"/>
              <a:gd name="connsiteY2622" fmla="*/ 4126517 h 9444169"/>
              <a:gd name="connsiteX2623" fmla="*/ 1088658 w 23037085"/>
              <a:gd name="connsiteY2623" fmla="*/ 4126517 h 9444169"/>
              <a:gd name="connsiteX2624" fmla="*/ 1088658 w 23037085"/>
              <a:gd name="connsiteY2624" fmla="*/ 4072444 h 9444169"/>
              <a:gd name="connsiteX2625" fmla="*/ 1088658 w 23037085"/>
              <a:gd name="connsiteY2625" fmla="*/ 4045408 h 9444169"/>
              <a:gd name="connsiteX2626" fmla="*/ 1201124 w 23037085"/>
              <a:gd name="connsiteY2626" fmla="*/ 4018372 h 9444169"/>
              <a:gd name="connsiteX2627" fmla="*/ 1201124 w 23037085"/>
              <a:gd name="connsiteY2627" fmla="*/ 3991333 h 9444169"/>
              <a:gd name="connsiteX2628" fmla="*/ 1201124 w 23037085"/>
              <a:gd name="connsiteY2628" fmla="*/ 3961593 h 9444169"/>
              <a:gd name="connsiteX2629" fmla="*/ 1088658 w 23037085"/>
              <a:gd name="connsiteY2629" fmla="*/ 3991333 h 9444169"/>
              <a:gd name="connsiteX2630" fmla="*/ 1006367 w 23037085"/>
              <a:gd name="connsiteY2630" fmla="*/ 3934558 h 9444169"/>
              <a:gd name="connsiteX2631" fmla="*/ 951506 w 23037085"/>
              <a:gd name="connsiteY2631" fmla="*/ 3853448 h 9444169"/>
              <a:gd name="connsiteX2632" fmla="*/ 899620 w 23037085"/>
              <a:gd name="connsiteY2632" fmla="*/ 3844708 h 9444169"/>
              <a:gd name="connsiteX2633" fmla="*/ 784059 w 23037085"/>
              <a:gd name="connsiteY2633" fmla="*/ 3844708 h 9444169"/>
              <a:gd name="connsiteX2634" fmla="*/ 784059 w 23037085"/>
              <a:gd name="connsiteY2634" fmla="*/ 3821370 h 9444169"/>
              <a:gd name="connsiteX2635" fmla="*/ 787329 w 23037085"/>
              <a:gd name="connsiteY2635" fmla="*/ 3821124 h 9444169"/>
              <a:gd name="connsiteX2636" fmla="*/ 784176 w 23037085"/>
              <a:gd name="connsiteY2636" fmla="*/ 3799377 h 9444169"/>
              <a:gd name="connsiteX2637" fmla="*/ 839041 w 23037085"/>
              <a:gd name="connsiteY2637" fmla="*/ 3772342 h 9444169"/>
              <a:gd name="connsiteX2638" fmla="*/ 847371 w 23037085"/>
              <a:gd name="connsiteY2638" fmla="*/ 3771549 h 9444169"/>
              <a:gd name="connsiteX2639" fmla="*/ 871097 w 23037085"/>
              <a:gd name="connsiteY2639" fmla="*/ 3748915 h 9444169"/>
              <a:gd name="connsiteX2640" fmla="*/ 892150 w 23037085"/>
              <a:gd name="connsiteY2640" fmla="*/ 3748915 h 9444169"/>
              <a:gd name="connsiteX2641" fmla="*/ 896645 w 23037085"/>
              <a:gd name="connsiteY2641" fmla="*/ 3742602 h 9444169"/>
              <a:gd name="connsiteX2642" fmla="*/ 866471 w 23037085"/>
              <a:gd name="connsiteY2642" fmla="*/ 3688527 h 9444169"/>
              <a:gd name="connsiteX2643" fmla="*/ 811606 w 23037085"/>
              <a:gd name="connsiteY2643" fmla="*/ 3634453 h 9444169"/>
              <a:gd name="connsiteX2644" fmla="*/ 784176 w 23037085"/>
              <a:gd name="connsiteY2644" fmla="*/ 3607418 h 9444169"/>
              <a:gd name="connsiteX2645" fmla="*/ 811606 w 23037085"/>
              <a:gd name="connsiteY2645" fmla="*/ 3580383 h 9444169"/>
              <a:gd name="connsiteX2646" fmla="*/ 978936 w 23037085"/>
              <a:gd name="connsiteY2646" fmla="*/ 3553347 h 9444169"/>
              <a:gd name="connsiteX2647" fmla="*/ 982648 w 23037085"/>
              <a:gd name="connsiteY2647" fmla="*/ 3556546 h 9444169"/>
              <a:gd name="connsiteX2648" fmla="*/ 980175 w 23037085"/>
              <a:gd name="connsiteY2648" fmla="*/ 3540724 h 9444169"/>
              <a:gd name="connsiteX2649" fmla="*/ 1003890 w 23037085"/>
              <a:gd name="connsiteY2649" fmla="*/ 3540724 h 9444169"/>
              <a:gd name="connsiteX2650" fmla="*/ 1027605 w 23037085"/>
              <a:gd name="connsiteY2650" fmla="*/ 3540724 h 9444169"/>
              <a:gd name="connsiteX2651" fmla="*/ 1041370 w 23037085"/>
              <a:gd name="connsiteY2651" fmla="*/ 3556532 h 9444169"/>
              <a:gd name="connsiteX2652" fmla="*/ 1041370 w 23037085"/>
              <a:gd name="connsiteY2652" fmla="*/ 3551756 h 9444169"/>
              <a:gd name="connsiteX2653" fmla="*/ 1260458 w 23037085"/>
              <a:gd name="connsiteY2653" fmla="*/ 3551756 h 9444169"/>
              <a:gd name="connsiteX2654" fmla="*/ 1342464 w 23037085"/>
              <a:gd name="connsiteY2654" fmla="*/ 3543717 h 9444169"/>
              <a:gd name="connsiteX2655" fmla="*/ 1369578 w 23037085"/>
              <a:gd name="connsiteY2655" fmla="*/ 3543717 h 9444169"/>
              <a:gd name="connsiteX2656" fmla="*/ 1375724 w 23037085"/>
              <a:gd name="connsiteY2656" fmla="*/ 3544112 h 9444169"/>
              <a:gd name="connsiteX2657" fmla="*/ 1412560 w 23037085"/>
              <a:gd name="connsiteY2657" fmla="*/ 3531190 h 9444169"/>
              <a:gd name="connsiteX2658" fmla="*/ 1429770 w 23037085"/>
              <a:gd name="connsiteY2658" fmla="*/ 3517909 h 9444169"/>
              <a:gd name="connsiteX2659" fmla="*/ 1457307 w 23037085"/>
              <a:gd name="connsiteY2659" fmla="*/ 3488692 h 9444169"/>
              <a:gd name="connsiteX2660" fmla="*/ 1451054 w 23037085"/>
              <a:gd name="connsiteY2660" fmla="*/ 3471803 h 9444169"/>
              <a:gd name="connsiteX2661" fmla="*/ 1438645 w 23037085"/>
              <a:gd name="connsiteY2661" fmla="*/ 3456209 h 9444169"/>
              <a:gd name="connsiteX2662" fmla="*/ 1402019 w 23037085"/>
              <a:gd name="connsiteY2662" fmla="*/ 3453220 h 9444169"/>
              <a:gd name="connsiteX2663" fmla="*/ 1212906 w 23037085"/>
              <a:gd name="connsiteY2663" fmla="*/ 3429312 h 9444169"/>
              <a:gd name="connsiteX2664" fmla="*/ 1212906 w 23037085"/>
              <a:gd name="connsiteY2664" fmla="*/ 3405405 h 9444169"/>
              <a:gd name="connsiteX2665" fmla="*/ 1348749 w 23037085"/>
              <a:gd name="connsiteY2665" fmla="*/ 3405405 h 9444169"/>
              <a:gd name="connsiteX2666" fmla="*/ 1348759 w 23037085"/>
              <a:gd name="connsiteY2666" fmla="*/ 3405405 h 9444169"/>
              <a:gd name="connsiteX2667" fmla="*/ 1357485 w 23037085"/>
              <a:gd name="connsiteY2667" fmla="*/ 3385765 h 9444169"/>
              <a:gd name="connsiteX2668" fmla="*/ 1354300 w 23037085"/>
              <a:gd name="connsiteY2668" fmla="*/ 3384743 h 9444169"/>
              <a:gd name="connsiteX2669" fmla="*/ 1347685 w 23037085"/>
              <a:gd name="connsiteY2669" fmla="*/ 3391359 h 9444169"/>
              <a:gd name="connsiteX2670" fmla="*/ 1347685 w 23037085"/>
              <a:gd name="connsiteY2670" fmla="*/ 3382615 h 9444169"/>
              <a:gd name="connsiteX2671" fmla="*/ 1347158 w 23037085"/>
              <a:gd name="connsiteY2671" fmla="*/ 3382444 h 9444169"/>
              <a:gd name="connsiteX2672" fmla="*/ 1312945 w 23037085"/>
              <a:gd name="connsiteY2672" fmla="*/ 3366853 h 9444169"/>
              <a:gd name="connsiteX2673" fmla="*/ 1303443 w 23037085"/>
              <a:gd name="connsiteY2673" fmla="*/ 3362523 h 9444169"/>
              <a:gd name="connsiteX2674" fmla="*/ 1294393 w 23037085"/>
              <a:gd name="connsiteY2674" fmla="*/ 3366853 h 9444169"/>
              <a:gd name="connsiteX2675" fmla="*/ 1261792 w 23037085"/>
              <a:gd name="connsiteY2675" fmla="*/ 3382444 h 9444169"/>
              <a:gd name="connsiteX2676" fmla="*/ 1151647 w 23037085"/>
              <a:gd name="connsiteY2676" fmla="*/ 3355882 h 9444169"/>
              <a:gd name="connsiteX2677" fmla="*/ 1151647 w 23037085"/>
              <a:gd name="connsiteY2677" fmla="*/ 3329320 h 9444169"/>
              <a:gd name="connsiteX2678" fmla="*/ 1166604 w 23037085"/>
              <a:gd name="connsiteY2678" fmla="*/ 3316430 h 9444169"/>
              <a:gd name="connsiteX2679" fmla="*/ 1150170 w 23037085"/>
              <a:gd name="connsiteY2679" fmla="*/ 3316430 h 9444169"/>
              <a:gd name="connsiteX2680" fmla="*/ 1136690 w 23037085"/>
              <a:gd name="connsiteY2680" fmla="*/ 3317256 h 9444169"/>
              <a:gd name="connsiteX2681" fmla="*/ 1136690 w 23037085"/>
              <a:gd name="connsiteY2681" fmla="*/ 3336765 h 9444169"/>
              <a:gd name="connsiteX2682" fmla="*/ 1136690 w 23037085"/>
              <a:gd name="connsiteY2682" fmla="*/ 3339975 h 9444169"/>
              <a:gd name="connsiteX2683" fmla="*/ 890435 w 23037085"/>
              <a:gd name="connsiteY2683" fmla="*/ 3365668 h 9444169"/>
              <a:gd name="connsiteX2684" fmla="*/ 779486 w 23037085"/>
              <a:gd name="connsiteY2684" fmla="*/ 3339975 h 9444169"/>
              <a:gd name="connsiteX2685" fmla="*/ 743682 w 23037085"/>
              <a:gd name="connsiteY2685" fmla="*/ 3356971 h 9444169"/>
              <a:gd name="connsiteX2686" fmla="*/ 778247 w 23037085"/>
              <a:gd name="connsiteY2686" fmla="*/ 3356971 h 9444169"/>
              <a:gd name="connsiteX2687" fmla="*/ 804357 w 23037085"/>
              <a:gd name="connsiteY2687" fmla="*/ 3380686 h 9444169"/>
              <a:gd name="connsiteX2688" fmla="*/ 830471 w 23037085"/>
              <a:gd name="connsiteY2688" fmla="*/ 3428116 h 9444169"/>
              <a:gd name="connsiteX2689" fmla="*/ 778247 w 23037085"/>
              <a:gd name="connsiteY2689" fmla="*/ 3428116 h 9444169"/>
              <a:gd name="connsiteX2690" fmla="*/ 699910 w 23037085"/>
              <a:gd name="connsiteY2690" fmla="*/ 3404401 h 9444169"/>
              <a:gd name="connsiteX2691" fmla="*/ 699910 w 23037085"/>
              <a:gd name="connsiteY2691" fmla="*/ 3356971 h 9444169"/>
              <a:gd name="connsiteX2692" fmla="*/ 734109 w 23037085"/>
              <a:gd name="connsiteY2692" fmla="*/ 3356971 h 9444169"/>
              <a:gd name="connsiteX2693" fmla="*/ 698305 w 23037085"/>
              <a:gd name="connsiteY2693" fmla="*/ 3339975 h 9444169"/>
              <a:gd name="connsiteX2694" fmla="*/ 779486 w 23037085"/>
              <a:gd name="connsiteY2694" fmla="*/ 3314284 h 9444169"/>
              <a:gd name="connsiteX2695" fmla="*/ 917499 w 23037085"/>
              <a:gd name="connsiteY2695" fmla="*/ 3286025 h 9444169"/>
              <a:gd name="connsiteX2696" fmla="*/ 927965 w 23037085"/>
              <a:gd name="connsiteY2696" fmla="*/ 3288790 h 9444169"/>
              <a:gd name="connsiteX2697" fmla="*/ 927211 w 23037085"/>
              <a:gd name="connsiteY2697" fmla="*/ 3285520 h 9444169"/>
              <a:gd name="connsiteX2698" fmla="*/ 869496 w 23037085"/>
              <a:gd name="connsiteY2698" fmla="*/ 3231399 h 9444169"/>
              <a:gd name="connsiteX2699" fmla="*/ 759568 w 23037085"/>
              <a:gd name="connsiteY2699" fmla="*/ 3204335 h 9444169"/>
              <a:gd name="connsiteX2700" fmla="*/ 814532 w 23037085"/>
              <a:gd name="connsiteY2700" fmla="*/ 3177275 h 9444169"/>
              <a:gd name="connsiteX2701" fmla="*/ 814532 w 23037085"/>
              <a:gd name="connsiteY2701" fmla="*/ 3123154 h 9444169"/>
              <a:gd name="connsiteX2702" fmla="*/ 869496 w 23037085"/>
              <a:gd name="connsiteY2702" fmla="*/ 3066326 h 9444169"/>
              <a:gd name="connsiteX2703" fmla="*/ 1009655 w 23037085"/>
              <a:gd name="connsiteY2703" fmla="*/ 3039262 h 9444169"/>
              <a:gd name="connsiteX2704" fmla="*/ 1149814 w 23037085"/>
              <a:gd name="connsiteY2704" fmla="*/ 3012201 h 9444169"/>
              <a:gd name="connsiteX2705" fmla="*/ 1177298 w 23037085"/>
              <a:gd name="connsiteY2705" fmla="*/ 2958080 h 9444169"/>
              <a:gd name="connsiteX2706" fmla="*/ 1122334 w 23037085"/>
              <a:gd name="connsiteY2706" fmla="*/ 2931020 h 9444169"/>
              <a:gd name="connsiteX2707" fmla="*/ 1037139 w 23037085"/>
              <a:gd name="connsiteY2707" fmla="*/ 2958080 h 9444169"/>
              <a:gd name="connsiteX2708" fmla="*/ 982175 w 23037085"/>
              <a:gd name="connsiteY2708" fmla="*/ 2931020 h 9444169"/>
              <a:gd name="connsiteX2709" fmla="*/ 1122334 w 23037085"/>
              <a:gd name="connsiteY2709" fmla="*/ 2903956 h 9444169"/>
              <a:gd name="connsiteX2710" fmla="*/ 1131533 w 23037085"/>
              <a:gd name="connsiteY2710" fmla="*/ 2903956 h 9444169"/>
              <a:gd name="connsiteX2711" fmla="*/ 1127142 w 23037085"/>
              <a:gd name="connsiteY2711" fmla="*/ 2900045 h 9444169"/>
              <a:gd name="connsiteX2712" fmla="*/ 1127142 w 23037085"/>
              <a:gd name="connsiteY2712" fmla="*/ 2873298 h 9444169"/>
              <a:gd name="connsiteX2713" fmla="*/ 1150839 w 23037085"/>
              <a:gd name="connsiteY2713" fmla="*/ 2862102 h 9444169"/>
              <a:gd name="connsiteX2714" fmla="*/ 1115291 w 23037085"/>
              <a:gd name="connsiteY2714" fmla="*/ 2862102 h 9444169"/>
              <a:gd name="connsiteX2715" fmla="*/ 1030730 w 23037085"/>
              <a:gd name="connsiteY2715" fmla="*/ 2832515 h 9444169"/>
              <a:gd name="connsiteX2716" fmla="*/ 894343 w 23037085"/>
              <a:gd name="connsiteY2716" fmla="*/ 2751829 h 9444169"/>
              <a:gd name="connsiteX2717" fmla="*/ 925986 w 23037085"/>
              <a:gd name="connsiteY2717" fmla="*/ 2760928 h 9444169"/>
              <a:gd name="connsiteX2718" fmla="*/ 893613 w 23037085"/>
              <a:gd name="connsiteY2718" fmla="*/ 2748455 h 9444169"/>
              <a:gd name="connsiteX2719" fmla="*/ 836008 w 23037085"/>
              <a:gd name="connsiteY2719" fmla="*/ 2748455 h 9444169"/>
              <a:gd name="connsiteX2720" fmla="*/ 808578 w 23037085"/>
              <a:gd name="connsiteY2720" fmla="*/ 2748455 h 9444169"/>
              <a:gd name="connsiteX2721" fmla="*/ 836008 w 23037085"/>
              <a:gd name="connsiteY2721" fmla="*/ 2722028 h 9444169"/>
              <a:gd name="connsiteX2722" fmla="*/ 893613 w 23037085"/>
              <a:gd name="connsiteY2722" fmla="*/ 2722028 h 9444169"/>
              <a:gd name="connsiteX2723" fmla="*/ 939517 w 23037085"/>
              <a:gd name="connsiteY2723" fmla="*/ 2665043 h 9444169"/>
              <a:gd name="connsiteX2724" fmla="*/ 947171 w 23037085"/>
              <a:gd name="connsiteY2724" fmla="*/ 2661876 h 9444169"/>
              <a:gd name="connsiteX2725" fmla="*/ 893841 w 23037085"/>
              <a:gd name="connsiteY2725" fmla="*/ 2613271 h 9444169"/>
              <a:gd name="connsiteX2726" fmla="*/ 753458 w 23037085"/>
              <a:gd name="connsiteY2726" fmla="*/ 2639833 h 9444169"/>
              <a:gd name="connsiteX2727" fmla="*/ 725934 w 23037085"/>
              <a:gd name="connsiteY2727" fmla="*/ 2639833 h 9444169"/>
              <a:gd name="connsiteX2728" fmla="*/ 753458 w 23037085"/>
              <a:gd name="connsiteY2728" fmla="*/ 2477806 h 9444169"/>
              <a:gd name="connsiteX2729" fmla="*/ 761706 w 23037085"/>
              <a:gd name="connsiteY2729" fmla="*/ 2471290 h 9444169"/>
              <a:gd name="connsiteX2730" fmla="*/ 751753 w 23037085"/>
              <a:gd name="connsiteY2730" fmla="*/ 2472411 h 9444169"/>
              <a:gd name="connsiteX2731" fmla="*/ 699159 w 23037085"/>
              <a:gd name="connsiteY2731" fmla="*/ 2395966 h 9444169"/>
              <a:gd name="connsiteX2732" fmla="*/ 698383 w 23037085"/>
              <a:gd name="connsiteY2732" fmla="*/ 2395337 h 9444169"/>
              <a:gd name="connsiteX2733" fmla="*/ 698501 w 23037085"/>
              <a:gd name="connsiteY2733" fmla="*/ 2395009 h 9444169"/>
              <a:gd name="connsiteX2734" fmla="*/ 698258 w 23037085"/>
              <a:gd name="connsiteY2734" fmla="*/ 2394653 h 9444169"/>
              <a:gd name="connsiteX2735" fmla="*/ 698625 w 23037085"/>
              <a:gd name="connsiteY2735" fmla="*/ 2394653 h 9444169"/>
              <a:gd name="connsiteX2736" fmla="*/ 718362 w 23037085"/>
              <a:gd name="connsiteY2736" fmla="*/ 2338497 h 9444169"/>
              <a:gd name="connsiteX2737" fmla="*/ 778290 w 23037085"/>
              <a:gd name="connsiteY2737" fmla="*/ 2341387 h 9444169"/>
              <a:gd name="connsiteX2738" fmla="*/ 914133 w 23037085"/>
              <a:gd name="connsiteY2738" fmla="*/ 2341387 h 9444169"/>
              <a:gd name="connsiteX2739" fmla="*/ 914919 w 23037085"/>
              <a:gd name="connsiteY2739" fmla="*/ 2344415 h 9444169"/>
              <a:gd name="connsiteX2740" fmla="*/ 914919 w 23037085"/>
              <a:gd name="connsiteY2740" fmla="*/ 2340223 h 9444169"/>
              <a:gd name="connsiteX2741" fmla="*/ 924186 w 23037085"/>
              <a:gd name="connsiteY2741" fmla="*/ 2340223 h 9444169"/>
              <a:gd name="connsiteX2742" fmla="*/ 922752 w 23037085"/>
              <a:gd name="connsiteY2742" fmla="*/ 2330401 h 9444169"/>
              <a:gd name="connsiteX2743" fmla="*/ 922752 w 23037085"/>
              <a:gd name="connsiteY2743" fmla="*/ 2276836 h 9444169"/>
              <a:gd name="connsiteX2744" fmla="*/ 701248 w 23037085"/>
              <a:gd name="connsiteY2744" fmla="*/ 2250056 h 9444169"/>
              <a:gd name="connsiteX2745" fmla="*/ 673903 w 23037085"/>
              <a:gd name="connsiteY2745" fmla="*/ 2196491 h 9444169"/>
              <a:gd name="connsiteX2746" fmla="*/ 701248 w 23037085"/>
              <a:gd name="connsiteY2746" fmla="*/ 2169708 h 9444169"/>
              <a:gd name="connsiteX2747" fmla="*/ 810631 w 23037085"/>
              <a:gd name="connsiteY2747" fmla="*/ 2142929 h 9444169"/>
              <a:gd name="connsiteX2748" fmla="*/ 814244 w 23037085"/>
              <a:gd name="connsiteY2748" fmla="*/ 2144359 h 9444169"/>
              <a:gd name="connsiteX2749" fmla="*/ 849304 w 23037085"/>
              <a:gd name="connsiteY2749" fmla="*/ 2141491 h 9444169"/>
              <a:gd name="connsiteX2750" fmla="*/ 889795 w 23037085"/>
              <a:gd name="connsiteY2750" fmla="*/ 2119395 h 9444169"/>
              <a:gd name="connsiteX2751" fmla="*/ 895407 w 23037085"/>
              <a:gd name="connsiteY2751" fmla="*/ 2113466 h 9444169"/>
              <a:gd name="connsiteX2752" fmla="*/ 922752 w 23037085"/>
              <a:gd name="connsiteY2752" fmla="*/ 2113466 h 9444169"/>
              <a:gd name="connsiteX2753" fmla="*/ 950097 w 23037085"/>
              <a:gd name="connsiteY2753" fmla="*/ 2086687 h 9444169"/>
              <a:gd name="connsiteX2754" fmla="*/ 922752 w 23037085"/>
              <a:gd name="connsiteY2754" fmla="*/ 2059905 h 9444169"/>
              <a:gd name="connsiteX2755" fmla="*/ 755942 w 23037085"/>
              <a:gd name="connsiteY2755" fmla="*/ 2006339 h 9444169"/>
              <a:gd name="connsiteX2756" fmla="*/ 761963 w 23037085"/>
              <a:gd name="connsiteY2756" fmla="*/ 1988827 h 9444169"/>
              <a:gd name="connsiteX2757" fmla="*/ 747461 w 23037085"/>
              <a:gd name="connsiteY2757" fmla="*/ 1993371 h 9444169"/>
              <a:gd name="connsiteX2758" fmla="*/ 665426 w 23037085"/>
              <a:gd name="connsiteY2758" fmla="*/ 2019061 h 9444169"/>
              <a:gd name="connsiteX2759" fmla="*/ 658376 w 23037085"/>
              <a:gd name="connsiteY2759" fmla="*/ 2019061 h 9444169"/>
              <a:gd name="connsiteX2760" fmla="*/ 638159 w 23037085"/>
              <a:gd name="connsiteY2760" fmla="*/ 2028688 h 9444169"/>
              <a:gd name="connsiteX2761" fmla="*/ 608551 w 23037085"/>
              <a:gd name="connsiteY2761" fmla="*/ 2041816 h 9444169"/>
              <a:gd name="connsiteX2762" fmla="*/ 417958 w 23037085"/>
              <a:gd name="connsiteY2762" fmla="*/ 2068072 h 9444169"/>
              <a:gd name="connsiteX2763" fmla="*/ 360780 w 23037085"/>
              <a:gd name="connsiteY2763" fmla="*/ 2041816 h 9444169"/>
              <a:gd name="connsiteX2764" fmla="*/ 333553 w 23037085"/>
              <a:gd name="connsiteY2764" fmla="*/ 1936795 h 9444169"/>
              <a:gd name="connsiteX2765" fmla="*/ 323343 w 23037085"/>
              <a:gd name="connsiteY2765" fmla="*/ 1897084 h 9444169"/>
              <a:gd name="connsiteX2766" fmla="*/ 333553 w 23037085"/>
              <a:gd name="connsiteY2766" fmla="*/ 1855401 h 9444169"/>
              <a:gd name="connsiteX2767" fmla="*/ 417958 w 23037085"/>
              <a:gd name="connsiteY2767" fmla="*/ 1829144 h 9444169"/>
              <a:gd name="connsiteX2768" fmla="*/ 638501 w 23037085"/>
              <a:gd name="connsiteY2768" fmla="*/ 1776636 h 9444169"/>
              <a:gd name="connsiteX2769" fmla="*/ 688490 w 23037085"/>
              <a:gd name="connsiteY2769" fmla="*/ 1777657 h 9444169"/>
              <a:gd name="connsiteX2770" fmla="*/ 649394 w 23037085"/>
              <a:gd name="connsiteY2770" fmla="*/ 1768113 h 9444169"/>
              <a:gd name="connsiteX2771" fmla="*/ 897617 w 23037085"/>
              <a:gd name="connsiteY2771" fmla="*/ 1741394 h 9444169"/>
              <a:gd name="connsiteX2772" fmla="*/ 979449 w 23037085"/>
              <a:gd name="connsiteY2772" fmla="*/ 1714679 h 9444169"/>
              <a:gd name="connsiteX2773" fmla="*/ 1339507 w 23037085"/>
              <a:gd name="connsiteY2773" fmla="*/ 1605142 h 9444169"/>
              <a:gd name="connsiteX2774" fmla="*/ 1340703 w 23037085"/>
              <a:gd name="connsiteY2774" fmla="*/ 1610794 h 9444169"/>
              <a:gd name="connsiteX2775" fmla="*/ 1344393 w 23037085"/>
              <a:gd name="connsiteY2775" fmla="*/ 1603961 h 9444169"/>
              <a:gd name="connsiteX2776" fmla="*/ 1427065 w 23037085"/>
              <a:gd name="connsiteY2776" fmla="*/ 1548993 h 9444169"/>
              <a:gd name="connsiteX2777" fmla="*/ 1537288 w 23037085"/>
              <a:gd name="connsiteY2777" fmla="*/ 1466545 h 9444169"/>
              <a:gd name="connsiteX2778" fmla="*/ 1565723 w 23037085"/>
              <a:gd name="connsiteY2778" fmla="*/ 1453026 h 9444169"/>
              <a:gd name="connsiteX2779" fmla="*/ 1543811 w 23037085"/>
              <a:gd name="connsiteY2779" fmla="*/ 1455439 h 9444169"/>
              <a:gd name="connsiteX2780" fmla="*/ 1737992 w 23037085"/>
              <a:gd name="connsiteY2780" fmla="*/ 1318269 h 9444169"/>
              <a:gd name="connsiteX2781" fmla="*/ 1765340 w 23037085"/>
              <a:gd name="connsiteY2781" fmla="*/ 1318269 h 9444169"/>
              <a:gd name="connsiteX2782" fmla="*/ 2071652 w 23037085"/>
              <a:gd name="connsiteY2782" fmla="*/ 1237582 h 9444169"/>
              <a:gd name="connsiteX2783" fmla="*/ 2074192 w 23037085"/>
              <a:gd name="connsiteY2783" fmla="*/ 1238622 h 9444169"/>
              <a:gd name="connsiteX2784" fmla="*/ 2074630 w 23037085"/>
              <a:gd name="connsiteY2784" fmla="*/ 1236042 h 9444169"/>
              <a:gd name="connsiteX2785" fmla="*/ 2157633 w 23037085"/>
              <a:gd name="connsiteY2785" fmla="*/ 1209003 h 9444169"/>
              <a:gd name="connsiteX2786" fmla="*/ 2172800 w 23037085"/>
              <a:gd name="connsiteY2786" fmla="*/ 1197145 h 9444169"/>
              <a:gd name="connsiteX2787" fmla="*/ 2174925 w 23037085"/>
              <a:gd name="connsiteY2787" fmla="*/ 1195487 h 9444169"/>
              <a:gd name="connsiteX2788" fmla="*/ 2213021 w 23037085"/>
              <a:gd name="connsiteY2788" fmla="*/ 1181967 h 9444169"/>
              <a:gd name="connsiteX2789" fmla="*/ 2271131 w 23037085"/>
              <a:gd name="connsiteY2789" fmla="*/ 1181967 h 9444169"/>
              <a:gd name="connsiteX2790" fmla="*/ 2292981 w 23037085"/>
              <a:gd name="connsiteY2790" fmla="*/ 1176003 h 9444169"/>
              <a:gd name="connsiteX2791" fmla="*/ 2281494 w 23037085"/>
              <a:gd name="connsiteY2791" fmla="*/ 1172643 h 9444169"/>
              <a:gd name="connsiteX2792" fmla="*/ 2275586 w 23037085"/>
              <a:gd name="connsiteY2792" fmla="*/ 1173629 h 9444169"/>
              <a:gd name="connsiteX2793" fmla="*/ 2217750 w 23037085"/>
              <a:gd name="connsiteY2793" fmla="*/ 1173629 h 9444169"/>
              <a:gd name="connsiteX2794" fmla="*/ 2275586 w 23037085"/>
              <a:gd name="connsiteY2794" fmla="*/ 1143811 h 9444169"/>
              <a:gd name="connsiteX2795" fmla="*/ 2886988 w 23037085"/>
              <a:gd name="connsiteY2795" fmla="*/ 981164 h 9444169"/>
              <a:gd name="connsiteX2796" fmla="*/ 3222985 w 23037085"/>
              <a:gd name="connsiteY2796" fmla="*/ 897133 h 9444169"/>
              <a:gd name="connsiteX2797" fmla="*/ 3305608 w 23037085"/>
              <a:gd name="connsiteY2797" fmla="*/ 870026 h 9444169"/>
              <a:gd name="connsiteX2798" fmla="*/ 3222985 w 23037085"/>
              <a:gd name="connsiteY2798" fmla="*/ 954058 h 9444169"/>
              <a:gd name="connsiteX2799" fmla="*/ 3082527 w 23037085"/>
              <a:gd name="connsiteY2799" fmla="*/ 954058 h 9444169"/>
              <a:gd name="connsiteX2800" fmla="*/ 3054987 w 23037085"/>
              <a:gd name="connsiteY2800" fmla="*/ 981164 h 9444169"/>
              <a:gd name="connsiteX2801" fmla="*/ 3039712 w 23037085"/>
              <a:gd name="connsiteY2801" fmla="*/ 996118 h 9444169"/>
              <a:gd name="connsiteX2802" fmla="*/ 3057375 w 23037085"/>
              <a:gd name="connsiteY2802" fmla="*/ 992453 h 9444169"/>
              <a:gd name="connsiteX2803" fmla="*/ 3126303 w 23037085"/>
              <a:gd name="connsiteY2803" fmla="*/ 1021826 h 9444169"/>
              <a:gd name="connsiteX2804" fmla="*/ 3193139 w 23037085"/>
              <a:gd name="connsiteY2804" fmla="*/ 1069302 h 9444169"/>
              <a:gd name="connsiteX2805" fmla="*/ 3201448 w 23037085"/>
              <a:gd name="connsiteY2805" fmla="*/ 1068971 h 9444169"/>
              <a:gd name="connsiteX2806" fmla="*/ 3282807 w 23037085"/>
              <a:gd name="connsiteY2806" fmla="*/ 1043445 h 9444169"/>
              <a:gd name="connsiteX2807" fmla="*/ 3364162 w 23037085"/>
              <a:gd name="connsiteY2807" fmla="*/ 1017919 h 9444169"/>
              <a:gd name="connsiteX2808" fmla="*/ 3432141 w 23037085"/>
              <a:gd name="connsiteY2808" fmla="*/ 999784 h 9444169"/>
              <a:gd name="connsiteX2809" fmla="*/ 3369483 w 23037085"/>
              <a:gd name="connsiteY2809" fmla="*/ 1002090 h 9444169"/>
              <a:gd name="connsiteX2810" fmla="*/ 3526204 w 23037085"/>
              <a:gd name="connsiteY2810" fmla="*/ 978752 h 9444169"/>
              <a:gd name="connsiteX2811" fmla="*/ 3464938 w 23037085"/>
              <a:gd name="connsiteY2811" fmla="*/ 994919 h 9444169"/>
              <a:gd name="connsiteX2812" fmla="*/ 3529581 w 23037085"/>
              <a:gd name="connsiteY2812" fmla="*/ 992392 h 9444169"/>
              <a:gd name="connsiteX2813" fmla="*/ 3556694 w 23037085"/>
              <a:gd name="connsiteY2813" fmla="*/ 992392 h 9444169"/>
              <a:gd name="connsiteX2814" fmla="*/ 3585207 w 23037085"/>
              <a:gd name="connsiteY2814" fmla="*/ 993492 h 9444169"/>
              <a:gd name="connsiteX2815" fmla="*/ 3565698 w 23037085"/>
              <a:gd name="connsiteY2815" fmla="*/ 980186 h 9444169"/>
              <a:gd name="connsiteX2816" fmla="*/ 3958446 w 23037085"/>
              <a:gd name="connsiteY2816" fmla="*/ 923656 h 9444169"/>
              <a:gd name="connsiteX2817" fmla="*/ 4096738 w 23037085"/>
              <a:gd name="connsiteY2817" fmla="*/ 923656 h 9444169"/>
              <a:gd name="connsiteX2818" fmla="*/ 4434166 w 23037085"/>
              <a:gd name="connsiteY2818" fmla="*/ 896738 h 9444169"/>
              <a:gd name="connsiteX2819" fmla="*/ 4602884 w 23037085"/>
              <a:gd name="connsiteY2819" fmla="*/ 869820 h 9444169"/>
              <a:gd name="connsiteX2820" fmla="*/ 4826914 w 23037085"/>
              <a:gd name="connsiteY2820" fmla="*/ 842898 h 9444169"/>
              <a:gd name="connsiteX2821" fmla="*/ 4965205 w 23037085"/>
              <a:gd name="connsiteY2821" fmla="*/ 815980 h 9444169"/>
              <a:gd name="connsiteX2822" fmla="*/ 5106268 w 23037085"/>
              <a:gd name="connsiteY2822" fmla="*/ 815980 h 9444169"/>
              <a:gd name="connsiteX2823" fmla="*/ 5357975 w 23037085"/>
              <a:gd name="connsiteY2823" fmla="*/ 789062 h 9444169"/>
              <a:gd name="connsiteX2824" fmla="*/ 5387967 w 23037085"/>
              <a:gd name="connsiteY2824" fmla="*/ 789447 h 9444169"/>
              <a:gd name="connsiteX2825" fmla="*/ 5390594 w 23037085"/>
              <a:gd name="connsiteY2825" fmla="*/ 771084 h 9444169"/>
              <a:gd name="connsiteX2826" fmla="*/ 5414490 w 23037085"/>
              <a:gd name="connsiteY2826" fmla="*/ 747177 h 9444169"/>
              <a:gd name="connsiteX2827" fmla="*/ 5438416 w 23037085"/>
              <a:gd name="connsiteY2827" fmla="*/ 771084 h 9444169"/>
              <a:gd name="connsiteX2828" fmla="*/ 5441401 w 23037085"/>
              <a:gd name="connsiteY2828" fmla="*/ 803956 h 9444169"/>
              <a:gd name="connsiteX2829" fmla="*/ 5462248 w 23037085"/>
              <a:gd name="connsiteY2829" fmla="*/ 818842 h 9444169"/>
              <a:gd name="connsiteX2830" fmla="*/ 5468632 w 23037085"/>
              <a:gd name="connsiteY2830" fmla="*/ 815980 h 9444169"/>
              <a:gd name="connsiteX2831" fmla="*/ 5525443 w 23037085"/>
              <a:gd name="connsiteY2831" fmla="*/ 806048 h 9444169"/>
              <a:gd name="connsiteX2832" fmla="*/ 5476960 w 23037085"/>
              <a:gd name="connsiteY2832" fmla="*/ 806048 h 9444169"/>
              <a:gd name="connsiteX2833" fmla="*/ 5558354 w 23037085"/>
              <a:gd name="connsiteY2833" fmla="*/ 794909 h 9444169"/>
              <a:gd name="connsiteX2834" fmla="*/ 5584607 w 23037085"/>
              <a:gd name="connsiteY2834" fmla="*/ 806048 h 9444169"/>
              <a:gd name="connsiteX2835" fmla="*/ 5527251 w 23037085"/>
              <a:gd name="connsiteY2835" fmla="*/ 806048 h 9444169"/>
              <a:gd name="connsiteX2836" fmla="*/ 5582033 w 23037085"/>
              <a:gd name="connsiteY2836" fmla="*/ 815980 h 9444169"/>
              <a:gd name="connsiteX2837" fmla="*/ 5609695 w 23037085"/>
              <a:gd name="connsiteY2837" fmla="*/ 815980 h 9444169"/>
              <a:gd name="connsiteX2838" fmla="*/ 5637347 w 23037085"/>
              <a:gd name="connsiteY2838" fmla="*/ 789062 h 9444169"/>
              <a:gd name="connsiteX2839" fmla="*/ 5637347 w 23037085"/>
              <a:gd name="connsiteY2839" fmla="*/ 815980 h 9444169"/>
              <a:gd name="connsiteX2840" fmla="*/ 5664973 w 23037085"/>
              <a:gd name="connsiteY2840" fmla="*/ 815980 h 9444169"/>
              <a:gd name="connsiteX2841" fmla="*/ 5685421 w 23037085"/>
              <a:gd name="connsiteY2841" fmla="*/ 803070 h 9444169"/>
              <a:gd name="connsiteX2842" fmla="*/ 5687090 w 23037085"/>
              <a:gd name="connsiteY2842" fmla="*/ 745152 h 9444169"/>
              <a:gd name="connsiteX2843" fmla="*/ 5798260 w 23037085"/>
              <a:gd name="connsiteY2843" fmla="*/ 700714 h 9444169"/>
              <a:gd name="connsiteX2844" fmla="*/ 6076262 w 23037085"/>
              <a:gd name="connsiteY2844" fmla="*/ 675024 h 9444169"/>
              <a:gd name="connsiteX2845" fmla="*/ 6186467 w 23037085"/>
              <a:gd name="connsiteY2845" fmla="*/ 675024 h 9444169"/>
              <a:gd name="connsiteX2846" fmla="*/ 6299463 w 23037085"/>
              <a:gd name="connsiteY2846" fmla="*/ 700714 h 9444169"/>
              <a:gd name="connsiteX2847" fmla="*/ 6522518 w 23037085"/>
              <a:gd name="connsiteY2847" fmla="*/ 728974 h 9444169"/>
              <a:gd name="connsiteX2848" fmla="*/ 6605287 w 23037085"/>
              <a:gd name="connsiteY2848" fmla="*/ 728974 h 9444169"/>
              <a:gd name="connsiteX2849" fmla="*/ 6855808 w 23037085"/>
              <a:gd name="connsiteY2849" fmla="*/ 700714 h 9444169"/>
              <a:gd name="connsiteX2850" fmla="*/ 6938662 w 23037085"/>
              <a:gd name="connsiteY2850" fmla="*/ 780358 h 9444169"/>
              <a:gd name="connsiteX2851" fmla="*/ 6961281 w 23037085"/>
              <a:gd name="connsiteY2851" fmla="*/ 783568 h 9444169"/>
              <a:gd name="connsiteX2852" fmla="*/ 6954583 w 23037085"/>
              <a:gd name="connsiteY2852" fmla="*/ 790237 h 9444169"/>
              <a:gd name="connsiteX2853" fmla="*/ 7086447 w 23037085"/>
              <a:gd name="connsiteY2853" fmla="*/ 790237 h 9444169"/>
              <a:gd name="connsiteX2854" fmla="*/ 7168439 w 23037085"/>
              <a:gd name="connsiteY2854" fmla="*/ 764547 h 9444169"/>
              <a:gd name="connsiteX2855" fmla="*/ 7225823 w 23037085"/>
              <a:gd name="connsiteY2855" fmla="*/ 710597 h 9444169"/>
              <a:gd name="connsiteX2856" fmla="*/ 7253157 w 23037085"/>
              <a:gd name="connsiteY2856" fmla="*/ 764547 h 9444169"/>
              <a:gd name="connsiteX2857" fmla="*/ 7335161 w 23037085"/>
              <a:gd name="connsiteY2857" fmla="*/ 790237 h 9444169"/>
              <a:gd name="connsiteX2858" fmla="*/ 7695979 w 23037085"/>
              <a:gd name="connsiteY2858" fmla="*/ 790237 h 9444169"/>
              <a:gd name="connsiteX2859" fmla="*/ 7750648 w 23037085"/>
              <a:gd name="connsiteY2859" fmla="*/ 815927 h 9444169"/>
              <a:gd name="connsiteX2860" fmla="*/ 7695979 w 23037085"/>
              <a:gd name="connsiteY2860" fmla="*/ 815927 h 9444169"/>
              <a:gd name="connsiteX2861" fmla="*/ 7556571 w 23037085"/>
              <a:gd name="connsiteY2861" fmla="*/ 815927 h 9444169"/>
              <a:gd name="connsiteX2862" fmla="*/ 7335161 w 23037085"/>
              <a:gd name="connsiteY2862" fmla="*/ 867311 h 9444169"/>
              <a:gd name="connsiteX2863" fmla="*/ 7253157 w 23037085"/>
              <a:gd name="connsiteY2863" fmla="*/ 867311 h 9444169"/>
              <a:gd name="connsiteX2864" fmla="*/ 7004476 w 23037085"/>
              <a:gd name="connsiteY2864" fmla="*/ 815927 h 9444169"/>
              <a:gd name="connsiteX2865" fmla="*/ 6947142 w 23037085"/>
              <a:gd name="connsiteY2865" fmla="*/ 815927 h 9444169"/>
              <a:gd name="connsiteX2866" fmla="*/ 6947142 w 23037085"/>
              <a:gd name="connsiteY2866" fmla="*/ 797596 h 9444169"/>
              <a:gd name="connsiteX2867" fmla="*/ 6938662 w 23037085"/>
              <a:gd name="connsiteY2867" fmla="*/ 806048 h 9444169"/>
              <a:gd name="connsiteX2868" fmla="*/ 6800744 w 23037085"/>
              <a:gd name="connsiteY2868" fmla="*/ 806048 h 9444169"/>
              <a:gd name="connsiteX2869" fmla="*/ 6767624 w 23037085"/>
              <a:gd name="connsiteY2869" fmla="*/ 792646 h 9444169"/>
              <a:gd name="connsiteX2870" fmla="*/ 6784901 w 23037085"/>
              <a:gd name="connsiteY2870" fmla="*/ 815980 h 9444169"/>
              <a:gd name="connsiteX2871" fmla="*/ 6392352 w 23037085"/>
              <a:gd name="connsiteY2871" fmla="*/ 842898 h 9444169"/>
              <a:gd name="connsiteX2872" fmla="*/ 6391242 w 23037085"/>
              <a:gd name="connsiteY2872" fmla="*/ 842817 h 9444169"/>
              <a:gd name="connsiteX2873" fmla="*/ 6396228 w 23037085"/>
              <a:gd name="connsiteY2873" fmla="*/ 849575 h 9444169"/>
              <a:gd name="connsiteX2874" fmla="*/ 6396228 w 23037085"/>
              <a:gd name="connsiteY2874" fmla="*/ 929261 h 9444169"/>
              <a:gd name="connsiteX2875" fmla="*/ 6368516 w 23037085"/>
              <a:gd name="connsiteY2875" fmla="*/ 929261 h 9444169"/>
              <a:gd name="connsiteX2876" fmla="*/ 6313285 w 23037085"/>
              <a:gd name="connsiteY2876" fmla="*/ 985040 h 9444169"/>
              <a:gd name="connsiteX2877" fmla="*/ 6257961 w 23037085"/>
              <a:gd name="connsiteY2877" fmla="*/ 958478 h 9444169"/>
              <a:gd name="connsiteX2878" fmla="*/ 6230289 w 23037085"/>
              <a:gd name="connsiteY2878" fmla="*/ 958478 h 9444169"/>
              <a:gd name="connsiteX2879" fmla="*/ 5951191 w 23037085"/>
              <a:gd name="connsiteY2879" fmla="*/ 985040 h 9444169"/>
              <a:gd name="connsiteX2880" fmla="*/ 5810253 w 23037085"/>
              <a:gd name="connsiteY2880" fmla="*/ 985040 h 9444169"/>
              <a:gd name="connsiteX2881" fmla="*/ 5641574 w 23037085"/>
              <a:gd name="connsiteY2881" fmla="*/ 1011602 h 9444169"/>
              <a:gd name="connsiteX2882" fmla="*/ 5586286 w 23037085"/>
              <a:gd name="connsiteY2882" fmla="*/ 1064726 h 9444169"/>
              <a:gd name="connsiteX2883" fmla="*/ 5584568 w 23037085"/>
              <a:gd name="connsiteY2883" fmla="*/ 1077979 h 9444169"/>
              <a:gd name="connsiteX2884" fmla="*/ 5590763 w 23037085"/>
              <a:gd name="connsiteY2884" fmla="*/ 1077979 h 9444169"/>
              <a:gd name="connsiteX2885" fmla="*/ 6029856 w 23037085"/>
              <a:gd name="connsiteY2885" fmla="*/ 1077979 h 9444169"/>
              <a:gd name="connsiteX2886" fmla="*/ 6111144 w 23037085"/>
              <a:gd name="connsiteY2886" fmla="*/ 1077979 h 9444169"/>
              <a:gd name="connsiteX2887" fmla="*/ 6111144 w 23037085"/>
              <a:gd name="connsiteY2887" fmla="*/ 1101694 h 9444169"/>
              <a:gd name="connsiteX2888" fmla="*/ 5948661 w 23037085"/>
              <a:gd name="connsiteY2888" fmla="*/ 1125409 h 9444169"/>
              <a:gd name="connsiteX2889" fmla="*/ 5810427 w 23037085"/>
              <a:gd name="connsiteY2889" fmla="*/ 1149124 h 9444169"/>
              <a:gd name="connsiteX2890" fmla="*/ 5805413 w 23037085"/>
              <a:gd name="connsiteY2890" fmla="*/ 1149124 h 9444169"/>
              <a:gd name="connsiteX2891" fmla="*/ 5734268 w 23037085"/>
              <a:gd name="connsiteY2891" fmla="*/ 1149124 h 9444169"/>
              <a:gd name="connsiteX2892" fmla="*/ 5729079 w 23037085"/>
              <a:gd name="connsiteY2892" fmla="*/ 1149124 h 9444169"/>
              <a:gd name="connsiteX2893" fmla="*/ 5699254 w 23037085"/>
              <a:gd name="connsiteY2893" fmla="*/ 1149124 h 9444169"/>
              <a:gd name="connsiteX2894" fmla="*/ 5536539 w 23037085"/>
              <a:gd name="connsiteY2894" fmla="*/ 1125409 h 9444169"/>
              <a:gd name="connsiteX2895" fmla="*/ 5509742 w 23037085"/>
              <a:gd name="connsiteY2895" fmla="*/ 1117850 h 9444169"/>
              <a:gd name="connsiteX2896" fmla="*/ 5501305 w 23037085"/>
              <a:gd name="connsiteY2896" fmla="*/ 1117850 h 9444169"/>
              <a:gd name="connsiteX2897" fmla="*/ 5523109 w 23037085"/>
              <a:gd name="connsiteY2897" fmla="*/ 1124708 h 9444169"/>
              <a:gd name="connsiteX2898" fmla="*/ 5437526 w 23037085"/>
              <a:gd name="connsiteY2898" fmla="*/ 1124708 h 9444169"/>
              <a:gd name="connsiteX2899" fmla="*/ 5327082 w 23037085"/>
              <a:gd name="connsiteY2899" fmla="*/ 1124708 h 9444169"/>
              <a:gd name="connsiteX2900" fmla="*/ 4907426 w 23037085"/>
              <a:gd name="connsiteY2900" fmla="*/ 1181238 h 9444169"/>
              <a:gd name="connsiteX2901" fmla="*/ 4600980 w 23037085"/>
              <a:gd name="connsiteY2901" fmla="*/ 1208156 h 9444169"/>
              <a:gd name="connsiteX2902" fmla="*/ 4319383 w 23037085"/>
              <a:gd name="connsiteY2902" fmla="*/ 1235077 h 9444169"/>
              <a:gd name="connsiteX2903" fmla="*/ 4123367 w 23037085"/>
              <a:gd name="connsiteY2903" fmla="*/ 1288913 h 9444169"/>
              <a:gd name="connsiteX2904" fmla="*/ 4012937 w 23037085"/>
              <a:gd name="connsiteY2904" fmla="*/ 1315831 h 9444169"/>
              <a:gd name="connsiteX2905" fmla="*/ 3985329 w 23037085"/>
              <a:gd name="connsiteY2905" fmla="*/ 1342753 h 9444169"/>
              <a:gd name="connsiteX2906" fmla="*/ 3957724 w 23037085"/>
              <a:gd name="connsiteY2906" fmla="*/ 1342753 h 9444169"/>
              <a:gd name="connsiteX2907" fmla="*/ 3944820 w 23037085"/>
              <a:gd name="connsiteY2907" fmla="*/ 1342753 h 9444169"/>
              <a:gd name="connsiteX2908" fmla="*/ 3955276 w 23037085"/>
              <a:gd name="connsiteY2908" fmla="*/ 1345165 h 9444169"/>
              <a:gd name="connsiteX2909" fmla="*/ 3884063 w 23037085"/>
              <a:gd name="connsiteY2909" fmla="*/ 1345165 h 9444169"/>
              <a:gd name="connsiteX2910" fmla="*/ 3891191 w 23037085"/>
              <a:gd name="connsiteY2910" fmla="*/ 1341710 h 9444169"/>
              <a:gd name="connsiteX2911" fmla="*/ 3882266 w 23037085"/>
              <a:gd name="connsiteY2911" fmla="*/ 1340621 h 9444169"/>
              <a:gd name="connsiteX2912" fmla="*/ 3880785 w 23037085"/>
              <a:gd name="connsiteY2912" fmla="*/ 1342991 h 9444169"/>
              <a:gd name="connsiteX2913" fmla="*/ 3867846 w 23037085"/>
              <a:gd name="connsiteY2913" fmla="*/ 1345955 h 9444169"/>
              <a:gd name="connsiteX2914" fmla="*/ 3841960 w 23037085"/>
              <a:gd name="connsiteY2914" fmla="*/ 1345955 h 9444169"/>
              <a:gd name="connsiteX2915" fmla="*/ 3799900 w 23037085"/>
              <a:gd name="connsiteY2915" fmla="*/ 1357813 h 9444169"/>
              <a:gd name="connsiteX2916" fmla="*/ 3796173 w 23037085"/>
              <a:gd name="connsiteY2916" fmla="*/ 1358532 h 9444169"/>
              <a:gd name="connsiteX2917" fmla="*/ 3832665 w 23037085"/>
              <a:gd name="connsiteY2917" fmla="*/ 1358532 h 9444169"/>
              <a:gd name="connsiteX2918" fmla="*/ 3740534 w 23037085"/>
              <a:gd name="connsiteY2918" fmla="*/ 1369265 h 9444169"/>
              <a:gd name="connsiteX2919" fmla="*/ 3738423 w 23037085"/>
              <a:gd name="connsiteY2919" fmla="*/ 1369671 h 9444169"/>
              <a:gd name="connsiteX2920" fmla="*/ 3738341 w 23037085"/>
              <a:gd name="connsiteY2920" fmla="*/ 1369518 h 9444169"/>
              <a:gd name="connsiteX2921" fmla="*/ 3737039 w 23037085"/>
              <a:gd name="connsiteY2921" fmla="*/ 1369671 h 9444169"/>
              <a:gd name="connsiteX2922" fmla="*/ 3737039 w 23037085"/>
              <a:gd name="connsiteY2922" fmla="*/ 1367137 h 9444169"/>
              <a:gd name="connsiteX2923" fmla="*/ 3734256 w 23037085"/>
              <a:gd name="connsiteY2923" fmla="*/ 1362034 h 9444169"/>
              <a:gd name="connsiteX2924" fmla="*/ 3734256 w 23037085"/>
              <a:gd name="connsiteY2924" fmla="*/ 1369671 h 9444169"/>
              <a:gd name="connsiteX2925" fmla="*/ 3728832 w 23037085"/>
              <a:gd name="connsiteY2925" fmla="*/ 1369671 h 9444169"/>
              <a:gd name="connsiteX2926" fmla="*/ 3731132 w 23037085"/>
              <a:gd name="connsiteY2926" fmla="*/ 1370784 h 9444169"/>
              <a:gd name="connsiteX2927" fmla="*/ 3734413 w 23037085"/>
              <a:gd name="connsiteY2927" fmla="*/ 1381923 h 9444169"/>
              <a:gd name="connsiteX2928" fmla="*/ 3626769 w 23037085"/>
              <a:gd name="connsiteY2928" fmla="*/ 1406428 h 9444169"/>
              <a:gd name="connsiteX2929" fmla="*/ 3629413 w 23037085"/>
              <a:gd name="connsiteY2929" fmla="*/ 1399962 h 9444169"/>
              <a:gd name="connsiteX2930" fmla="*/ 3618577 w 23037085"/>
              <a:gd name="connsiteY2930" fmla="*/ 1407193 h 9444169"/>
              <a:gd name="connsiteX2931" fmla="*/ 3676124 w 23037085"/>
              <a:gd name="connsiteY2931" fmla="*/ 1424507 h 9444169"/>
              <a:gd name="connsiteX2932" fmla="*/ 3720708 w 23037085"/>
              <a:gd name="connsiteY2932" fmla="*/ 1404336 h 9444169"/>
              <a:gd name="connsiteX2933" fmla="*/ 3856839 w 23037085"/>
              <a:gd name="connsiteY2933" fmla="*/ 1404336 h 9444169"/>
              <a:gd name="connsiteX2934" fmla="*/ 3835892 w 23037085"/>
              <a:gd name="connsiteY2934" fmla="*/ 1418129 h 9444169"/>
              <a:gd name="connsiteX2935" fmla="*/ 3869062 w 23037085"/>
              <a:gd name="connsiteY2935" fmla="*/ 1407254 h 9444169"/>
              <a:gd name="connsiteX2936" fmla="*/ 3916219 w 23037085"/>
              <a:gd name="connsiteY2936" fmla="*/ 1398503 h 9444169"/>
              <a:gd name="connsiteX2937" fmla="*/ 3943870 w 23037085"/>
              <a:gd name="connsiteY2937" fmla="*/ 1402653 h 9444169"/>
              <a:gd name="connsiteX2938" fmla="*/ 3975635 w 23037085"/>
              <a:gd name="connsiteY2938" fmla="*/ 1399468 h 9444169"/>
              <a:gd name="connsiteX2939" fmla="*/ 4059386 w 23037085"/>
              <a:gd name="connsiteY2939" fmla="*/ 1408051 h 9444169"/>
              <a:gd name="connsiteX2940" fmla="*/ 4064400 w 23037085"/>
              <a:gd name="connsiteY2940" fmla="*/ 1407254 h 9444169"/>
              <a:gd name="connsiteX2941" fmla="*/ 4085542 w 23037085"/>
              <a:gd name="connsiteY2941" fmla="*/ 1401873 h 9444169"/>
              <a:gd name="connsiteX2942" fmla="*/ 4120268 w 23037085"/>
              <a:gd name="connsiteY2942" fmla="*/ 1372831 h 9444169"/>
              <a:gd name="connsiteX2943" fmla="*/ 4162431 w 23037085"/>
              <a:gd name="connsiteY2943" fmla="*/ 1358183 h 9444169"/>
              <a:gd name="connsiteX2944" fmla="*/ 4308847 w 23037085"/>
              <a:gd name="connsiteY2944" fmla="*/ 1349568 h 9444169"/>
              <a:gd name="connsiteX2945" fmla="*/ 4374263 w 23037085"/>
              <a:gd name="connsiteY2945" fmla="*/ 1353365 h 9444169"/>
              <a:gd name="connsiteX2946" fmla="*/ 4455066 w 23037085"/>
              <a:gd name="connsiteY2946" fmla="*/ 1350429 h 9444169"/>
              <a:gd name="connsiteX2947" fmla="*/ 4537600 w 23037085"/>
              <a:gd name="connsiteY2947" fmla="*/ 1350429 h 9444169"/>
              <a:gd name="connsiteX2948" fmla="*/ 4570300 w 23037085"/>
              <a:gd name="connsiteY2948" fmla="*/ 1350429 h 9444169"/>
              <a:gd name="connsiteX2949" fmla="*/ 4691861 w 23037085"/>
              <a:gd name="connsiteY2949" fmla="*/ 1321899 h 9444169"/>
              <a:gd name="connsiteX2950" fmla="*/ 4857291 w 23037085"/>
              <a:gd name="connsiteY2950" fmla="*/ 1328689 h 9444169"/>
              <a:gd name="connsiteX2951" fmla="*/ 4875636 w 23037085"/>
              <a:gd name="connsiteY2951" fmla="*/ 1328689 h 9444169"/>
              <a:gd name="connsiteX2952" fmla="*/ 4864220 w 23037085"/>
              <a:gd name="connsiteY2952" fmla="*/ 1321856 h 9444169"/>
              <a:gd name="connsiteX2953" fmla="*/ 4997394 w 23037085"/>
              <a:gd name="connsiteY2953" fmla="*/ 1297949 h 9444169"/>
              <a:gd name="connsiteX2954" fmla="*/ 5001280 w 23037085"/>
              <a:gd name="connsiteY2954" fmla="*/ 1297447 h 9444169"/>
              <a:gd name="connsiteX2955" fmla="*/ 4998991 w 23037085"/>
              <a:gd name="connsiteY2955" fmla="*/ 1297322 h 9444169"/>
              <a:gd name="connsiteX2956" fmla="*/ 5131172 w 23037085"/>
              <a:gd name="connsiteY2956" fmla="*/ 1297322 h 9444169"/>
              <a:gd name="connsiteX2957" fmla="*/ 5126503 w 23037085"/>
              <a:gd name="connsiteY2957" fmla="*/ 1301525 h 9444169"/>
              <a:gd name="connsiteX2958" fmla="*/ 5136930 w 23037085"/>
              <a:gd name="connsiteY2958" fmla="*/ 1301525 h 9444169"/>
              <a:gd name="connsiteX2959" fmla="*/ 5247694 w 23037085"/>
              <a:gd name="connsiteY2959" fmla="*/ 1328689 h 9444169"/>
              <a:gd name="connsiteX2960" fmla="*/ 5585489 w 23037085"/>
              <a:gd name="connsiteY2960" fmla="*/ 1301525 h 9444169"/>
              <a:gd name="connsiteX2961" fmla="*/ 5696257 w 23037085"/>
              <a:gd name="connsiteY2961" fmla="*/ 1274365 h 9444169"/>
              <a:gd name="connsiteX2962" fmla="*/ 5741384 w 23037085"/>
              <a:gd name="connsiteY2962" fmla="*/ 1276693 h 9444169"/>
              <a:gd name="connsiteX2963" fmla="*/ 5709794 w 23037085"/>
              <a:gd name="connsiteY2963" fmla="*/ 1265885 h 9444169"/>
              <a:gd name="connsiteX2964" fmla="*/ 5850018 w 23037085"/>
              <a:gd name="connsiteY2964" fmla="*/ 1213027 h 9444169"/>
              <a:gd name="connsiteX2965" fmla="*/ 6045016 w 23037085"/>
              <a:gd name="connsiteY2965" fmla="*/ 1213027 h 9444169"/>
              <a:gd name="connsiteX2966" fmla="*/ 6154980 w 23037085"/>
              <a:gd name="connsiteY2966" fmla="*/ 1239458 h 9444169"/>
              <a:gd name="connsiteX2967" fmla="*/ 6322797 w 23037085"/>
              <a:gd name="connsiteY2967" fmla="*/ 1265885 h 9444169"/>
              <a:gd name="connsiteX2968" fmla="*/ 6405231 w 23037085"/>
              <a:gd name="connsiteY2968" fmla="*/ 1292312 h 9444169"/>
              <a:gd name="connsiteX2969" fmla="*/ 6334876 w 23037085"/>
              <a:gd name="connsiteY2969" fmla="*/ 1292312 h 9444169"/>
              <a:gd name="connsiteX2970" fmla="*/ 6403252 w 23037085"/>
              <a:gd name="connsiteY2970" fmla="*/ 1301095 h 9444169"/>
              <a:gd name="connsiteX2971" fmla="*/ 6793698 w 23037085"/>
              <a:gd name="connsiteY2971" fmla="*/ 1275404 h 9444169"/>
              <a:gd name="connsiteX2972" fmla="*/ 7294567 w 23037085"/>
              <a:gd name="connsiteY2972" fmla="*/ 1301095 h 9444169"/>
              <a:gd name="connsiteX2973" fmla="*/ 7407409 w 23037085"/>
              <a:gd name="connsiteY2973" fmla="*/ 1301095 h 9444169"/>
              <a:gd name="connsiteX2974" fmla="*/ 7425950 w 23037085"/>
              <a:gd name="connsiteY2974" fmla="*/ 1297333 h 9444169"/>
              <a:gd name="connsiteX2975" fmla="*/ 7465861 w 23037085"/>
              <a:gd name="connsiteY2975" fmla="*/ 1276984 h 9444169"/>
              <a:gd name="connsiteX2976" fmla="*/ 7506565 w 23037085"/>
              <a:gd name="connsiteY2976" fmla="*/ 1274020 h 9444169"/>
              <a:gd name="connsiteX2977" fmla="*/ 7864729 w 23037085"/>
              <a:gd name="connsiteY2977" fmla="*/ 1274020 h 9444169"/>
              <a:gd name="connsiteX2978" fmla="*/ 7918999 w 23037085"/>
              <a:gd name="connsiteY2978" fmla="*/ 1274020 h 9444169"/>
              <a:gd name="connsiteX2979" fmla="*/ 8000397 w 23037085"/>
              <a:gd name="connsiteY2979" fmla="*/ 1274020 h 9444169"/>
              <a:gd name="connsiteX2980" fmla="*/ 8084386 w 23037085"/>
              <a:gd name="connsiteY2980" fmla="*/ 1321450 h 9444169"/>
              <a:gd name="connsiteX2981" fmla="*/ 8000397 w 23037085"/>
              <a:gd name="connsiteY2981" fmla="*/ 1345165 h 9444169"/>
              <a:gd name="connsiteX2982" fmla="*/ 7973263 w 23037085"/>
              <a:gd name="connsiteY2982" fmla="*/ 1345165 h 9444169"/>
              <a:gd name="connsiteX2983" fmla="*/ 7560832 w 23037085"/>
              <a:gd name="connsiteY2983" fmla="*/ 1321450 h 9444169"/>
              <a:gd name="connsiteX2984" fmla="*/ 7534818 w 23037085"/>
              <a:gd name="connsiteY2984" fmla="*/ 1312091 h 9444169"/>
              <a:gd name="connsiteX2985" fmla="*/ 7545028 w 23037085"/>
              <a:gd name="connsiteY2985" fmla="*/ 1326785 h 9444169"/>
              <a:gd name="connsiteX2986" fmla="*/ 7211990 w 23037085"/>
              <a:gd name="connsiteY2986" fmla="*/ 1326785 h 9444169"/>
              <a:gd name="connsiteX2987" fmla="*/ 6989085 w 23037085"/>
              <a:gd name="connsiteY2987" fmla="*/ 1352479 h 9444169"/>
              <a:gd name="connsiteX2988" fmla="*/ 6793698 w 23037085"/>
              <a:gd name="connsiteY2988" fmla="*/ 1378169 h 9444169"/>
              <a:gd name="connsiteX2989" fmla="*/ 6680930 w 23037085"/>
              <a:gd name="connsiteY2989" fmla="*/ 1378169 h 9444169"/>
              <a:gd name="connsiteX2990" fmla="*/ 6672130 w 23037085"/>
              <a:gd name="connsiteY2990" fmla="*/ 1377863 h 9444169"/>
              <a:gd name="connsiteX2991" fmla="*/ 6665755 w 23037085"/>
              <a:gd name="connsiteY2991" fmla="*/ 1402475 h 9444169"/>
              <a:gd name="connsiteX2992" fmla="*/ 6702777 w 23037085"/>
              <a:gd name="connsiteY2992" fmla="*/ 1406147 h 9444169"/>
              <a:gd name="connsiteX2993" fmla="*/ 6981316 w 23037085"/>
              <a:gd name="connsiteY2993" fmla="*/ 1432866 h 9444169"/>
              <a:gd name="connsiteX2994" fmla="*/ 7287556 w 23037085"/>
              <a:gd name="connsiteY2994" fmla="*/ 1432866 h 9444169"/>
              <a:gd name="connsiteX2995" fmla="*/ 7286392 w 23037085"/>
              <a:gd name="connsiteY2995" fmla="*/ 1438506 h 9444169"/>
              <a:gd name="connsiteX2996" fmla="*/ 7301346 w 23037085"/>
              <a:gd name="connsiteY2996" fmla="*/ 1435727 h 9444169"/>
              <a:gd name="connsiteX2997" fmla="*/ 7469622 w 23037085"/>
              <a:gd name="connsiteY2997" fmla="*/ 1409090 h 9444169"/>
              <a:gd name="connsiteX2998" fmla="*/ 7916522 w 23037085"/>
              <a:gd name="connsiteY2998" fmla="*/ 1409090 h 9444169"/>
              <a:gd name="connsiteX2999" fmla="*/ 8167332 w 23037085"/>
              <a:gd name="connsiteY2999" fmla="*/ 1409090 h 9444169"/>
              <a:gd name="connsiteX3000" fmla="*/ 8363107 w 23037085"/>
              <a:gd name="connsiteY3000" fmla="*/ 1409090 h 9444169"/>
              <a:gd name="connsiteX3001" fmla="*/ 8390515 w 23037085"/>
              <a:gd name="connsiteY3001" fmla="*/ 1435727 h 9444169"/>
              <a:gd name="connsiteX3002" fmla="*/ 8445857 w 23037085"/>
              <a:gd name="connsiteY3002" fmla="*/ 1462364 h 9444169"/>
              <a:gd name="connsiteX3003" fmla="*/ 8451704 w 23037085"/>
              <a:gd name="connsiteY3003" fmla="*/ 1476414 h 9444169"/>
              <a:gd name="connsiteX3004" fmla="*/ 8458451 w 23037085"/>
              <a:gd name="connsiteY3004" fmla="*/ 1458079 h 9444169"/>
              <a:gd name="connsiteX3005" fmla="*/ 8513671 w 23037085"/>
              <a:gd name="connsiteY3005" fmla="*/ 1458079 h 9444169"/>
              <a:gd name="connsiteX3006" fmla="*/ 8517073 w 23037085"/>
              <a:gd name="connsiteY3006" fmla="*/ 1463318 h 9444169"/>
              <a:gd name="connsiteX3007" fmla="*/ 8617489 w 23037085"/>
              <a:gd name="connsiteY3007" fmla="*/ 1449994 h 9444169"/>
              <a:gd name="connsiteX3008" fmla="*/ 8738912 w 23037085"/>
              <a:gd name="connsiteY3008" fmla="*/ 1436378 h 9444169"/>
              <a:gd name="connsiteX3009" fmla="*/ 9497721 w 23037085"/>
              <a:gd name="connsiteY3009" fmla="*/ 1409151 h 9444169"/>
              <a:gd name="connsiteX3010" fmla="*/ 9832876 w 23037085"/>
              <a:gd name="connsiteY3010" fmla="*/ 1409151 h 9444169"/>
              <a:gd name="connsiteX3011" fmla="*/ 9832993 w 23037085"/>
              <a:gd name="connsiteY3011" fmla="*/ 1409802 h 9444169"/>
              <a:gd name="connsiteX3012" fmla="*/ 9845257 w 23037085"/>
              <a:gd name="connsiteY3012" fmla="*/ 1407403 h 9444169"/>
              <a:gd name="connsiteX3013" fmla="*/ 9900672 w 23037085"/>
              <a:gd name="connsiteY3013" fmla="*/ 1377585 h 9444169"/>
              <a:gd name="connsiteX3014" fmla="*/ 10180510 w 23037085"/>
              <a:gd name="connsiteY3014" fmla="*/ 1350479 h 9444169"/>
              <a:gd name="connsiteX3015" fmla="*/ 10349524 w 23037085"/>
              <a:gd name="connsiteY3015" fmla="*/ 1350479 h 9444169"/>
              <a:gd name="connsiteX3016" fmla="*/ 11164440 w 23037085"/>
              <a:gd name="connsiteY3016" fmla="*/ 1407403 h 9444169"/>
              <a:gd name="connsiteX3017" fmla="*/ 11807339 w 23037085"/>
              <a:gd name="connsiteY3017" fmla="*/ 1407403 h 9444169"/>
              <a:gd name="connsiteX3018" fmla="*/ 12367250 w 23037085"/>
              <a:gd name="connsiteY3018" fmla="*/ 1434510 h 9444169"/>
              <a:gd name="connsiteX3019" fmla="*/ 12758077 w 23037085"/>
              <a:gd name="connsiteY3019" fmla="*/ 1434510 h 9444169"/>
              <a:gd name="connsiteX3020" fmla="*/ 12767472 w 23037085"/>
              <a:gd name="connsiteY3020" fmla="*/ 1435706 h 9444169"/>
              <a:gd name="connsiteX3021" fmla="*/ 12766835 w 23037085"/>
              <a:gd name="connsiteY3021" fmla="*/ 1432101 h 9444169"/>
              <a:gd name="connsiteX3022" fmla="*/ 12821969 w 23037085"/>
              <a:gd name="connsiteY3022" fmla="*/ 1408763 h 9444169"/>
              <a:gd name="connsiteX3023" fmla="*/ 12824411 w 23037085"/>
              <a:gd name="connsiteY3023" fmla="*/ 1412556 h 9444169"/>
              <a:gd name="connsiteX3024" fmla="*/ 12833937 w 23037085"/>
              <a:gd name="connsiteY3024" fmla="*/ 1410482 h 9444169"/>
              <a:gd name="connsiteX3025" fmla="*/ 12872054 w 23037085"/>
              <a:gd name="connsiteY3025" fmla="*/ 1384087 h 9444169"/>
              <a:gd name="connsiteX3026" fmla="*/ 12899773 w 23037085"/>
              <a:gd name="connsiteY3026" fmla="*/ 1356664 h 9444169"/>
              <a:gd name="connsiteX3027" fmla="*/ 12902777 w 23037085"/>
              <a:gd name="connsiteY3027" fmla="*/ 1346984 h 9444169"/>
              <a:gd name="connsiteX3028" fmla="*/ 12897627 w 23037085"/>
              <a:gd name="connsiteY3028" fmla="*/ 1349503 h 9444169"/>
              <a:gd name="connsiteX3029" fmla="*/ 12842183 w 23037085"/>
              <a:gd name="connsiteY3029" fmla="*/ 1349503 h 9444169"/>
              <a:gd name="connsiteX3030" fmla="*/ 12140768 w 23037085"/>
              <a:gd name="connsiteY3030" fmla="*/ 1322393 h 9444169"/>
              <a:gd name="connsiteX3031" fmla="*/ 11943929 w 23037085"/>
              <a:gd name="connsiteY3031" fmla="*/ 1295287 h 9444169"/>
              <a:gd name="connsiteX3032" fmla="*/ 11916207 w 23037085"/>
              <a:gd name="connsiteY3032" fmla="*/ 1295287 h 9444169"/>
              <a:gd name="connsiteX3033" fmla="*/ 11888485 w 23037085"/>
              <a:gd name="connsiteY3033" fmla="*/ 1295287 h 9444169"/>
              <a:gd name="connsiteX3034" fmla="*/ 11860759 w 23037085"/>
              <a:gd name="connsiteY3034" fmla="*/ 1295287 h 9444169"/>
              <a:gd name="connsiteX3035" fmla="*/ 11805311 w 23037085"/>
              <a:gd name="connsiteY3035" fmla="*/ 1295287 h 9444169"/>
              <a:gd name="connsiteX3036" fmla="*/ 11774816 w 23037085"/>
              <a:gd name="connsiteY3036" fmla="*/ 1295287 h 9444169"/>
              <a:gd name="connsiteX3037" fmla="*/ 11747091 w 23037085"/>
              <a:gd name="connsiteY3037" fmla="*/ 1295287 h 9444169"/>
              <a:gd name="connsiteX3038" fmla="*/ 11719368 w 23037085"/>
              <a:gd name="connsiteY3038" fmla="*/ 1268180 h 9444169"/>
              <a:gd name="connsiteX3039" fmla="*/ 11608472 w 23037085"/>
              <a:gd name="connsiteY3039" fmla="*/ 1241074 h 9444169"/>
              <a:gd name="connsiteX3040" fmla="*/ 11104075 w 23037085"/>
              <a:gd name="connsiteY3040" fmla="*/ 1241074 h 9444169"/>
              <a:gd name="connsiteX3041" fmla="*/ 10460832 w 23037085"/>
              <a:gd name="connsiteY3041" fmla="*/ 1213963 h 9444169"/>
              <a:gd name="connsiteX3042" fmla="*/ 10291787 w 23037085"/>
              <a:gd name="connsiteY3042" fmla="*/ 1186857 h 9444169"/>
              <a:gd name="connsiteX3043" fmla="*/ 9618350 w 23037085"/>
              <a:gd name="connsiteY3043" fmla="*/ 1102825 h 9444169"/>
              <a:gd name="connsiteX3044" fmla="*/ 9759691 w 23037085"/>
              <a:gd name="connsiteY3044" fmla="*/ 1102825 h 9444169"/>
              <a:gd name="connsiteX3045" fmla="*/ 9791805 w 23037085"/>
              <a:gd name="connsiteY3045" fmla="*/ 1102825 h 9444169"/>
              <a:gd name="connsiteX3046" fmla="*/ 9777517 w 23037085"/>
              <a:gd name="connsiteY3046" fmla="*/ 1101751 h 9444169"/>
              <a:gd name="connsiteX3047" fmla="*/ 9608418 w 23037085"/>
              <a:gd name="connsiteY3047" fmla="*/ 1101751 h 9444169"/>
              <a:gd name="connsiteX3048" fmla="*/ 8907394 w 23037085"/>
              <a:gd name="connsiteY3048" fmla="*/ 1128498 h 9444169"/>
              <a:gd name="connsiteX3049" fmla="*/ 8375462 w 23037085"/>
              <a:gd name="connsiteY3049" fmla="*/ 1101751 h 9444169"/>
              <a:gd name="connsiteX3050" fmla="*/ 8261991 w 23037085"/>
              <a:gd name="connsiteY3050" fmla="*/ 1101751 h 9444169"/>
              <a:gd name="connsiteX3051" fmla="*/ 7588354 w 23037085"/>
              <a:gd name="connsiteY3051" fmla="*/ 1075000 h 9444169"/>
              <a:gd name="connsiteX3052" fmla="*/ 7577504 w 23037085"/>
              <a:gd name="connsiteY3052" fmla="*/ 1074676 h 9444169"/>
              <a:gd name="connsiteX3053" fmla="*/ 7563325 w 23037085"/>
              <a:gd name="connsiteY3053" fmla="*/ 1087861 h 9444169"/>
              <a:gd name="connsiteX3054" fmla="*/ 6919680 w 23037085"/>
              <a:gd name="connsiteY3054" fmla="*/ 1087861 h 9444169"/>
              <a:gd name="connsiteX3055" fmla="*/ 6695848 w 23037085"/>
              <a:gd name="connsiteY3055" fmla="*/ 1087861 h 9444169"/>
              <a:gd name="connsiteX3056" fmla="*/ 6640667 w 23037085"/>
              <a:gd name="connsiteY3056" fmla="*/ 1062171 h 9444169"/>
              <a:gd name="connsiteX3057" fmla="*/ 6695848 w 23037085"/>
              <a:gd name="connsiteY3057" fmla="*/ 1036477 h 9444169"/>
              <a:gd name="connsiteX3058" fmla="*/ 7535693 w 23037085"/>
              <a:gd name="connsiteY3058" fmla="*/ 959407 h 9444169"/>
              <a:gd name="connsiteX3059" fmla="*/ 7787121 w 23037085"/>
              <a:gd name="connsiteY3059" fmla="*/ 959407 h 9444169"/>
              <a:gd name="connsiteX3060" fmla="*/ 7928031 w 23037085"/>
              <a:gd name="connsiteY3060" fmla="*/ 931147 h 9444169"/>
              <a:gd name="connsiteX3061" fmla="*/ 8320069 w 23037085"/>
              <a:gd name="connsiteY3061" fmla="*/ 931147 h 9444169"/>
              <a:gd name="connsiteX3062" fmla="*/ 8402711 w 23037085"/>
              <a:gd name="connsiteY3062" fmla="*/ 959407 h 9444169"/>
              <a:gd name="connsiteX3063" fmla="*/ 8400807 w 23037085"/>
              <a:gd name="connsiteY3063" fmla="*/ 961798 h 9444169"/>
              <a:gd name="connsiteX3064" fmla="*/ 8410440 w 23037085"/>
              <a:gd name="connsiteY3064" fmla="*/ 960229 h 9444169"/>
              <a:gd name="connsiteX3065" fmla="*/ 8465515 w 23037085"/>
              <a:gd name="connsiteY3065" fmla="*/ 960229 h 9444169"/>
              <a:gd name="connsiteX3066" fmla="*/ 8553027 w 23037085"/>
              <a:gd name="connsiteY3066" fmla="*/ 957214 h 9444169"/>
              <a:gd name="connsiteX3067" fmla="*/ 8466953 w 23037085"/>
              <a:gd name="connsiteY3067" fmla="*/ 955307 h 9444169"/>
              <a:gd name="connsiteX3068" fmla="*/ 8607589 w 23037085"/>
              <a:gd name="connsiteY3068" fmla="*/ 930802 h 9444169"/>
              <a:gd name="connsiteX3069" fmla="*/ 9192620 w 23037085"/>
              <a:gd name="connsiteY3069" fmla="*/ 930802 h 9444169"/>
              <a:gd name="connsiteX3070" fmla="*/ 9248887 w 23037085"/>
              <a:gd name="connsiteY3070" fmla="*/ 930802 h 9444169"/>
              <a:gd name="connsiteX3071" fmla="*/ 9255869 w 23037085"/>
              <a:gd name="connsiteY3071" fmla="*/ 929599 h 9444169"/>
              <a:gd name="connsiteX3072" fmla="*/ 9283446 w 23037085"/>
              <a:gd name="connsiteY3072" fmla="*/ 930802 h 9444169"/>
              <a:gd name="connsiteX3073" fmla="*/ 9572386 w 23037085"/>
              <a:gd name="connsiteY3073" fmla="*/ 930802 h 9444169"/>
              <a:gd name="connsiteX3074" fmla="*/ 9591181 w 23037085"/>
              <a:gd name="connsiteY3074" fmla="*/ 927382 h 9444169"/>
              <a:gd name="connsiteX3075" fmla="*/ 9635393 w 23037085"/>
              <a:gd name="connsiteY3075" fmla="*/ 930802 h 9444169"/>
              <a:gd name="connsiteX3076" fmla="*/ 9753079 w 23037085"/>
              <a:gd name="connsiteY3076" fmla="*/ 930802 h 9444169"/>
              <a:gd name="connsiteX3077" fmla="*/ 10589226 w 23037085"/>
              <a:gd name="connsiteY3077" fmla="*/ 930802 h 9444169"/>
              <a:gd name="connsiteX3078" fmla="*/ 10644419 w 23037085"/>
              <a:gd name="connsiteY3078" fmla="*/ 955307 h 9444169"/>
              <a:gd name="connsiteX3079" fmla="*/ 10451256 w 23037085"/>
              <a:gd name="connsiteY3079" fmla="*/ 955307 h 9444169"/>
              <a:gd name="connsiteX3080" fmla="*/ 10383943 w 23037085"/>
              <a:gd name="connsiteY3080" fmla="*/ 955307 h 9444169"/>
              <a:gd name="connsiteX3081" fmla="*/ 10654479 w 23037085"/>
              <a:gd name="connsiteY3081" fmla="*/ 963531 h 9444169"/>
              <a:gd name="connsiteX3082" fmla="*/ 10684938 w 23037085"/>
              <a:gd name="connsiteY3082" fmla="*/ 963531 h 9444169"/>
              <a:gd name="connsiteX3083" fmla="*/ 10795753 w 23037085"/>
              <a:gd name="connsiteY3083" fmla="*/ 933798 h 9444169"/>
              <a:gd name="connsiteX3084" fmla="*/ 10807525 w 23037085"/>
              <a:gd name="connsiteY3084" fmla="*/ 933909 h 9444169"/>
              <a:gd name="connsiteX3085" fmla="*/ 10790460 w 23037085"/>
              <a:gd name="connsiteY3085" fmla="*/ 923635 h 9444169"/>
              <a:gd name="connsiteX3086" fmla="*/ 10929968 w 23037085"/>
              <a:gd name="connsiteY3086" fmla="*/ 897941 h 9444169"/>
              <a:gd name="connsiteX3087" fmla="*/ 11124177 w 23037085"/>
              <a:gd name="connsiteY3087" fmla="*/ 897941 h 9444169"/>
              <a:gd name="connsiteX3088" fmla="*/ 10984690 w 23037085"/>
              <a:gd name="connsiteY3088" fmla="*/ 897941 h 9444169"/>
              <a:gd name="connsiteX3089" fmla="*/ 10872527 w 23037085"/>
              <a:gd name="connsiteY3089" fmla="*/ 872251 h 9444169"/>
              <a:gd name="connsiteX3090" fmla="*/ 10708414 w 23037085"/>
              <a:gd name="connsiteY3090" fmla="*/ 872251 h 9444169"/>
              <a:gd name="connsiteX3091" fmla="*/ 10708414 w 23037085"/>
              <a:gd name="connsiteY3091" fmla="*/ 846560 h 9444169"/>
              <a:gd name="connsiteX3092" fmla="*/ 10735742 w 23037085"/>
              <a:gd name="connsiteY3092" fmla="*/ 820870 h 9444169"/>
              <a:gd name="connsiteX3093" fmla="*/ 10957346 w 23037085"/>
              <a:gd name="connsiteY3093" fmla="*/ 846560 h 9444169"/>
              <a:gd name="connsiteX3094" fmla="*/ 11124177 w 23037085"/>
              <a:gd name="connsiteY3094" fmla="*/ 846560 h 9444169"/>
              <a:gd name="connsiteX3095" fmla="*/ 11345756 w 23037085"/>
              <a:gd name="connsiteY3095" fmla="*/ 897941 h 9444169"/>
              <a:gd name="connsiteX3096" fmla="*/ 11564238 w 23037085"/>
              <a:gd name="connsiteY3096" fmla="*/ 923635 h 9444169"/>
              <a:gd name="connsiteX3097" fmla="*/ 11673614 w 23037085"/>
              <a:gd name="connsiteY3097" fmla="*/ 977584 h 9444169"/>
              <a:gd name="connsiteX3098" fmla="*/ 11667123 w 23037085"/>
              <a:gd name="connsiteY3098" fmla="*/ 977293 h 9444169"/>
              <a:gd name="connsiteX3099" fmla="*/ 11690429 w 23037085"/>
              <a:gd name="connsiteY3099" fmla="*/ 990559 h 9444169"/>
              <a:gd name="connsiteX3100" fmla="*/ 11745831 w 23037085"/>
              <a:gd name="connsiteY3100" fmla="*/ 990559 h 9444169"/>
              <a:gd name="connsiteX3101" fmla="*/ 11762784 w 23037085"/>
              <a:gd name="connsiteY3101" fmla="*/ 977584 h 9444169"/>
              <a:gd name="connsiteX3102" fmla="*/ 11749863 w 23037085"/>
              <a:gd name="connsiteY3102" fmla="*/ 977584 h 9444169"/>
              <a:gd name="connsiteX3103" fmla="*/ 11791816 w 23037085"/>
              <a:gd name="connsiteY3103" fmla="*/ 967595 h 9444169"/>
              <a:gd name="connsiteX3104" fmla="*/ 11804001 w 23037085"/>
              <a:gd name="connsiteY3104" fmla="*/ 963531 h 9444169"/>
              <a:gd name="connsiteX3105" fmla="*/ 11811126 w 23037085"/>
              <a:gd name="connsiteY3105" fmla="*/ 963531 h 9444169"/>
              <a:gd name="connsiteX3106" fmla="*/ 11811126 w 23037085"/>
              <a:gd name="connsiteY3106" fmla="*/ 958090 h 9444169"/>
              <a:gd name="connsiteX3107" fmla="*/ 11811126 w 23037085"/>
              <a:gd name="connsiteY3107" fmla="*/ 955307 h 9444169"/>
              <a:gd name="connsiteX3108" fmla="*/ 11943260 w 23037085"/>
              <a:gd name="connsiteY3108" fmla="*/ 955307 h 9444169"/>
              <a:gd name="connsiteX3109" fmla="*/ 11939958 w 23037085"/>
              <a:gd name="connsiteY3109" fmla="*/ 966446 h 9444169"/>
              <a:gd name="connsiteX3110" fmla="*/ 11926061 w 23037085"/>
              <a:gd name="connsiteY3110" fmla="*/ 973140 h 9444169"/>
              <a:gd name="connsiteX3111" fmla="*/ 11930975 w 23037085"/>
              <a:gd name="connsiteY3111" fmla="*/ 977335 h 9444169"/>
              <a:gd name="connsiteX3112" fmla="*/ 11948904 w 23037085"/>
              <a:gd name="connsiteY3112" fmla="*/ 960592 h 9444169"/>
              <a:gd name="connsiteX3113" fmla="*/ 12394499 w 23037085"/>
              <a:gd name="connsiteY3113" fmla="*/ 960592 h 9444169"/>
              <a:gd name="connsiteX3114" fmla="*/ 12727322 w 23037085"/>
              <a:gd name="connsiteY3114" fmla="*/ 1063356 h 9444169"/>
              <a:gd name="connsiteX3115" fmla="*/ 12687789 w 23037085"/>
              <a:gd name="connsiteY3115" fmla="*/ 1063356 h 9444169"/>
              <a:gd name="connsiteX3116" fmla="*/ 12726429 w 23037085"/>
              <a:gd name="connsiteY3116" fmla="*/ 1071640 h 9444169"/>
              <a:gd name="connsiteX3117" fmla="*/ 13123238 w 23037085"/>
              <a:gd name="connsiteY3117" fmla="*/ 1105427 h 9444169"/>
              <a:gd name="connsiteX3118" fmla="*/ 13416923 w 23037085"/>
              <a:gd name="connsiteY3118" fmla="*/ 1100676 h 9444169"/>
              <a:gd name="connsiteX3119" fmla="*/ 13478542 w 23037085"/>
              <a:gd name="connsiteY3119" fmla="*/ 1060726 h 9444169"/>
              <a:gd name="connsiteX3120" fmla="*/ 13573573 w 23037085"/>
              <a:gd name="connsiteY3120" fmla="*/ 1053854 h 9444169"/>
              <a:gd name="connsiteX3121" fmla="*/ 13770575 w 23037085"/>
              <a:gd name="connsiteY3121" fmla="*/ 1053854 h 9444169"/>
              <a:gd name="connsiteX3122" fmla="*/ 13798322 w 23037085"/>
              <a:gd name="connsiteY3122" fmla="*/ 1053854 h 9444169"/>
              <a:gd name="connsiteX3123" fmla="*/ 13967577 w 23037085"/>
              <a:gd name="connsiteY3123" fmla="*/ 1081349 h 9444169"/>
              <a:gd name="connsiteX3124" fmla="*/ 14894318 w 23037085"/>
              <a:gd name="connsiteY3124" fmla="*/ 1136345 h 9444169"/>
              <a:gd name="connsiteX3125" fmla="*/ 15285547 w 23037085"/>
              <a:gd name="connsiteY3125" fmla="*/ 1194088 h 9444169"/>
              <a:gd name="connsiteX3126" fmla="*/ 15790537 w 23037085"/>
              <a:gd name="connsiteY3126" fmla="*/ 1249081 h 9444169"/>
              <a:gd name="connsiteX3127" fmla="*/ 15900482 w 23037085"/>
              <a:gd name="connsiteY3127" fmla="*/ 1252518 h 9444169"/>
              <a:gd name="connsiteX3128" fmla="*/ 15956664 w 23037085"/>
              <a:gd name="connsiteY3128" fmla="*/ 1268045 h 9444169"/>
              <a:gd name="connsiteX3129" fmla="*/ 15999276 w 23037085"/>
              <a:gd name="connsiteY3129" fmla="*/ 1268045 h 9444169"/>
              <a:gd name="connsiteX3130" fmla="*/ 16126254 w 23037085"/>
              <a:gd name="connsiteY3130" fmla="*/ 1292070 h 9444169"/>
              <a:gd name="connsiteX3131" fmla="*/ 16195964 w 23037085"/>
              <a:gd name="connsiteY3131" fmla="*/ 1293984 h 9444169"/>
              <a:gd name="connsiteX3132" fmla="*/ 16126172 w 23037085"/>
              <a:gd name="connsiteY3132" fmla="*/ 1249807 h 9444169"/>
              <a:gd name="connsiteX3133" fmla="*/ 15998956 w 23037085"/>
              <a:gd name="connsiteY3133" fmla="*/ 1191259 h 9444169"/>
              <a:gd name="connsiteX3134" fmla="*/ 15915760 w 23037085"/>
              <a:gd name="connsiteY3134" fmla="*/ 1105847 h 9444169"/>
              <a:gd name="connsiteX3135" fmla="*/ 16026684 w 23037085"/>
              <a:gd name="connsiteY3135" fmla="*/ 1050744 h 9444169"/>
              <a:gd name="connsiteX3136" fmla="*/ 16672822 w 23037085"/>
              <a:gd name="connsiteY3136" fmla="*/ 1133398 h 9444169"/>
              <a:gd name="connsiteX3137" fmla="*/ 16855848 w 23037085"/>
              <a:gd name="connsiteY3137" fmla="*/ 1172662 h 9444169"/>
              <a:gd name="connsiteX3138" fmla="*/ 16909872 w 23037085"/>
              <a:gd name="connsiteY3138" fmla="*/ 1180393 h 9444169"/>
              <a:gd name="connsiteX3139" fmla="*/ 16916814 w 23037085"/>
              <a:gd name="connsiteY3139" fmla="*/ 1181788 h 9444169"/>
              <a:gd name="connsiteX3140" fmla="*/ 16922936 w 23037085"/>
              <a:gd name="connsiteY3140" fmla="*/ 1182263 h 9444169"/>
              <a:gd name="connsiteX3141" fmla="*/ 16949700 w 23037085"/>
              <a:gd name="connsiteY3141" fmla="*/ 1186093 h 9444169"/>
              <a:gd name="connsiteX3142" fmla="*/ 17038874 w 23037085"/>
              <a:gd name="connsiteY3142" fmla="*/ 1191259 h 9444169"/>
              <a:gd name="connsiteX3143" fmla="*/ 16922936 w 23037085"/>
              <a:gd name="connsiteY3143" fmla="*/ 1182263 h 9444169"/>
              <a:gd name="connsiteX3144" fmla="*/ 16909872 w 23037085"/>
              <a:gd name="connsiteY3144" fmla="*/ 1180393 h 9444169"/>
              <a:gd name="connsiteX3145" fmla="*/ 16802812 w 23037085"/>
              <a:gd name="connsiteY3145" fmla="*/ 1158885 h 9444169"/>
              <a:gd name="connsiteX3146" fmla="*/ 16589628 w 23037085"/>
              <a:gd name="connsiteY3146" fmla="*/ 1105847 h 9444169"/>
              <a:gd name="connsiteX3147" fmla="*/ 16557024 w 23037085"/>
              <a:gd name="connsiteY3147" fmla="*/ 1066975 h 9444169"/>
              <a:gd name="connsiteX3148" fmla="*/ 16518542 w 23037085"/>
              <a:gd name="connsiteY3148" fmla="*/ 1084441 h 9444169"/>
              <a:gd name="connsiteX3149" fmla="*/ 16353662 w 23037085"/>
              <a:gd name="connsiteY3149" fmla="*/ 1057374 h 9444169"/>
              <a:gd name="connsiteX3150" fmla="*/ 15427863 w 23037085"/>
              <a:gd name="connsiteY3150" fmla="*/ 862151 h 9444169"/>
              <a:gd name="connsiteX3151" fmla="*/ 15286497 w 23037085"/>
              <a:gd name="connsiteY3151" fmla="*/ 807158 h 9444169"/>
              <a:gd name="connsiteX3152" fmla="*/ 15049157 w 23037085"/>
              <a:gd name="connsiteY3152" fmla="*/ 789974 h 9444169"/>
              <a:gd name="connsiteX3153" fmla="*/ 15016104 w 23037085"/>
              <a:gd name="connsiteY3153" fmla="*/ 784756 h 9444169"/>
              <a:gd name="connsiteX3154" fmla="*/ 14861596 w 23037085"/>
              <a:gd name="connsiteY3154" fmla="*/ 799482 h 9444169"/>
              <a:gd name="connsiteX3155" fmla="*/ 14677715 w 23037085"/>
              <a:gd name="connsiteY3155" fmla="*/ 779792 h 9444169"/>
              <a:gd name="connsiteX3156" fmla="*/ 14635224 w 23037085"/>
              <a:gd name="connsiteY3156" fmla="*/ 769045 h 9444169"/>
              <a:gd name="connsiteX3157" fmla="*/ 14585217 w 23037085"/>
              <a:gd name="connsiteY3157" fmla="*/ 779664 h 9444169"/>
              <a:gd name="connsiteX3158" fmla="*/ 14557499 w 23037085"/>
              <a:gd name="connsiteY3158" fmla="*/ 779664 h 9444169"/>
              <a:gd name="connsiteX3159" fmla="*/ 14418475 w 23037085"/>
              <a:gd name="connsiteY3159" fmla="*/ 702031 h 9444169"/>
              <a:gd name="connsiteX3160" fmla="*/ 14310244 w 23037085"/>
              <a:gd name="connsiteY3160" fmla="*/ 675910 h 9444169"/>
              <a:gd name="connsiteX3161" fmla="*/ 14271928 w 23037085"/>
              <a:gd name="connsiteY3161" fmla="*/ 675910 h 9444169"/>
              <a:gd name="connsiteX3162" fmla="*/ 14048965 w 23037085"/>
              <a:gd name="connsiteY3162" fmla="*/ 702081 h 9444169"/>
              <a:gd name="connsiteX3163" fmla="*/ 13743419 w 23037085"/>
              <a:gd name="connsiteY3163" fmla="*/ 623569 h 9444169"/>
              <a:gd name="connsiteX3164" fmla="*/ 13685615 w 23037085"/>
              <a:gd name="connsiteY3164" fmla="*/ 571228 h 9444169"/>
              <a:gd name="connsiteX3165" fmla="*/ 13575509 w 23037085"/>
              <a:gd name="connsiteY3165" fmla="*/ 518886 h 9444169"/>
              <a:gd name="connsiteX3166" fmla="*/ 13635558 w 23037085"/>
              <a:gd name="connsiteY3166" fmla="*/ 509559 h 9444169"/>
              <a:gd name="connsiteX3167" fmla="*/ 13576263 w 23037085"/>
              <a:gd name="connsiteY3167" fmla="*/ 501954 h 9444169"/>
              <a:gd name="connsiteX3168" fmla="*/ 13379464 w 23037085"/>
              <a:gd name="connsiteY3168" fmla="*/ 471705 h 9444169"/>
              <a:gd name="connsiteX3169" fmla="*/ 13603982 w 23037085"/>
              <a:gd name="connsiteY3169" fmla="*/ 444211 h 9444169"/>
              <a:gd name="connsiteX3170" fmla="*/ 14025303 w 23037085"/>
              <a:gd name="connsiteY3170" fmla="*/ 416716 h 9444169"/>
              <a:gd name="connsiteX3171" fmla="*/ 7889088 w 23037085"/>
              <a:gd name="connsiteY3171" fmla="*/ 412976 h 9444169"/>
              <a:gd name="connsiteX3172" fmla="*/ 7958607 w 23037085"/>
              <a:gd name="connsiteY3172" fmla="*/ 423695 h 9444169"/>
              <a:gd name="connsiteX3173" fmla="*/ 7991981 w 23037085"/>
              <a:gd name="connsiteY3173" fmla="*/ 424449 h 9444169"/>
              <a:gd name="connsiteX3174" fmla="*/ 8051198 w 23037085"/>
              <a:gd name="connsiteY3174" fmla="*/ 429389 h 9444169"/>
              <a:gd name="connsiteX3175" fmla="*/ 8108347 w 23037085"/>
              <a:gd name="connsiteY3175" fmla="*/ 430762 h 9444169"/>
              <a:gd name="connsiteX3176" fmla="*/ 8148019 w 23037085"/>
              <a:gd name="connsiteY3176" fmla="*/ 437442 h 9444169"/>
              <a:gd name="connsiteX3177" fmla="*/ 8225502 w 23037085"/>
              <a:gd name="connsiteY3177" fmla="*/ 443890 h 9444169"/>
              <a:gd name="connsiteX3178" fmla="*/ 8280460 w 23037085"/>
              <a:gd name="connsiteY3178" fmla="*/ 417969 h 9444169"/>
              <a:gd name="connsiteX3179" fmla="*/ 8252983 w 23037085"/>
              <a:gd name="connsiteY3179" fmla="*/ 524239 h 9444169"/>
              <a:gd name="connsiteX3180" fmla="*/ 7947195 w 23037085"/>
              <a:gd name="connsiteY3180" fmla="*/ 498321 h 9444169"/>
              <a:gd name="connsiteX3181" fmla="*/ 7723979 w 23037085"/>
              <a:gd name="connsiteY3181" fmla="*/ 498321 h 9444169"/>
              <a:gd name="connsiteX3182" fmla="*/ 7610991 w 23037085"/>
              <a:gd name="connsiteY3182" fmla="*/ 498321 h 9444169"/>
              <a:gd name="connsiteX3183" fmla="*/ 7137005 w 23037085"/>
              <a:gd name="connsiteY3183" fmla="*/ 498321 h 9444169"/>
              <a:gd name="connsiteX3184" fmla="*/ 7081949 w 23037085"/>
              <a:gd name="connsiteY3184" fmla="*/ 498321 h 9444169"/>
              <a:gd name="connsiteX3185" fmla="*/ 7164567 w 23037085"/>
              <a:gd name="connsiteY3185" fmla="*/ 469808 h 9444169"/>
              <a:gd name="connsiteX3186" fmla="*/ 7332652 w 23037085"/>
              <a:gd name="connsiteY3186" fmla="*/ 443890 h 9444169"/>
              <a:gd name="connsiteX3187" fmla="*/ 7387769 w 23037085"/>
              <a:gd name="connsiteY3187" fmla="*/ 443890 h 9444169"/>
              <a:gd name="connsiteX3188" fmla="*/ 7555874 w 23037085"/>
              <a:gd name="connsiteY3188" fmla="*/ 469808 h 9444169"/>
              <a:gd name="connsiteX3189" fmla="*/ 7779093 w 23037085"/>
              <a:gd name="connsiteY3189" fmla="*/ 443890 h 9444169"/>
              <a:gd name="connsiteX3190" fmla="*/ 7847259 w 23037085"/>
              <a:gd name="connsiteY3190" fmla="*/ 429748 h 9444169"/>
              <a:gd name="connsiteX3191" fmla="*/ 10718952 w 23037085"/>
              <a:gd name="connsiteY3191" fmla="*/ 358969 h 9444169"/>
              <a:gd name="connsiteX3192" fmla="*/ 10723944 w 23037085"/>
              <a:gd name="connsiteY3192" fmla="*/ 361759 h 9444169"/>
              <a:gd name="connsiteX3193" fmla="*/ 10761781 w 23037085"/>
              <a:gd name="connsiteY3193" fmla="*/ 365076 h 9444169"/>
              <a:gd name="connsiteX3194" fmla="*/ 10759837 w 23037085"/>
              <a:gd name="connsiteY3194" fmla="*/ 363432 h 9444169"/>
              <a:gd name="connsiteX3195" fmla="*/ 10732123 w 23037085"/>
              <a:gd name="connsiteY3195" fmla="*/ 360065 h 9444169"/>
              <a:gd name="connsiteX3196" fmla="*/ 5697488 w 23037085"/>
              <a:gd name="connsiteY3196" fmla="*/ 293831 h 9444169"/>
              <a:gd name="connsiteX3197" fmla="*/ 6087963 w 23037085"/>
              <a:gd name="connsiteY3197" fmla="*/ 293831 h 9444169"/>
              <a:gd name="connsiteX3198" fmla="*/ 6310947 w 23037085"/>
              <a:gd name="connsiteY3198" fmla="*/ 293831 h 9444169"/>
              <a:gd name="connsiteX3199" fmla="*/ 6451217 w 23037085"/>
              <a:gd name="connsiteY3199" fmla="*/ 317738 h 9444169"/>
              <a:gd name="connsiteX3200" fmla="*/ 6478739 w 23037085"/>
              <a:gd name="connsiteY3200" fmla="*/ 341645 h 9444169"/>
              <a:gd name="connsiteX3201" fmla="*/ 6451217 w 23037085"/>
              <a:gd name="connsiteY3201" fmla="*/ 341645 h 9444169"/>
              <a:gd name="connsiteX3202" fmla="*/ 6420882 w 23037085"/>
              <a:gd name="connsiteY3202" fmla="*/ 365553 h 9444169"/>
              <a:gd name="connsiteX3203" fmla="*/ 5950579 w 23037085"/>
              <a:gd name="connsiteY3203" fmla="*/ 365553 h 9444169"/>
              <a:gd name="connsiteX3204" fmla="*/ 5697488 w 23037085"/>
              <a:gd name="connsiteY3204" fmla="*/ 365553 h 9444169"/>
              <a:gd name="connsiteX3205" fmla="*/ 5086571 w 23037085"/>
              <a:gd name="connsiteY3205" fmla="*/ 365553 h 9444169"/>
              <a:gd name="connsiteX3206" fmla="*/ 4723374 w 23037085"/>
              <a:gd name="connsiteY3206" fmla="*/ 389460 h 9444169"/>
              <a:gd name="connsiteX3207" fmla="*/ 4668342 w 23037085"/>
              <a:gd name="connsiteY3207" fmla="*/ 389460 h 9444169"/>
              <a:gd name="connsiteX3208" fmla="*/ 4863700 w 23037085"/>
              <a:gd name="connsiteY3208" fmla="*/ 341645 h 9444169"/>
              <a:gd name="connsiteX3209" fmla="*/ 5587397 w 23037085"/>
              <a:gd name="connsiteY3209" fmla="*/ 317738 h 9444169"/>
              <a:gd name="connsiteX3210" fmla="*/ 5697488 w 23037085"/>
              <a:gd name="connsiteY3210" fmla="*/ 293831 h 9444169"/>
              <a:gd name="connsiteX3211" fmla="*/ 9854943 w 23037085"/>
              <a:gd name="connsiteY3211" fmla="*/ 189234 h 9444169"/>
              <a:gd name="connsiteX3212" fmla="*/ 9853488 w 23037085"/>
              <a:gd name="connsiteY3212" fmla="*/ 193383 h 9444169"/>
              <a:gd name="connsiteX3213" fmla="*/ 9860680 w 23037085"/>
              <a:gd name="connsiteY3213" fmla="*/ 194995 h 9444169"/>
              <a:gd name="connsiteX3214" fmla="*/ 9860278 w 23037085"/>
              <a:gd name="connsiteY3214" fmla="*/ 196436 h 9444169"/>
              <a:gd name="connsiteX3215" fmla="*/ 9862043 w 23037085"/>
              <a:gd name="connsiteY3215" fmla="*/ 195896 h 9444169"/>
              <a:gd name="connsiteX3216" fmla="*/ 9863370 w 23037085"/>
              <a:gd name="connsiteY3216" fmla="*/ 192952 h 9444169"/>
              <a:gd name="connsiteX3217" fmla="*/ 8981736 w 23037085"/>
              <a:gd name="connsiteY3217" fmla="*/ 166988 h 9444169"/>
              <a:gd name="connsiteX3218" fmla="*/ 8986018 w 23037085"/>
              <a:gd name="connsiteY3218" fmla="*/ 168981 h 9444169"/>
              <a:gd name="connsiteX3219" fmla="*/ 8994629 w 23037085"/>
              <a:gd name="connsiteY3219" fmla="*/ 168981 h 9444169"/>
              <a:gd name="connsiteX3220" fmla="*/ 9009614 w 23037085"/>
              <a:gd name="connsiteY3220" fmla="*/ 167753 h 9444169"/>
              <a:gd name="connsiteX3221" fmla="*/ 8991042 w 23037085"/>
              <a:gd name="connsiteY3221" fmla="*/ 166988 h 9444169"/>
              <a:gd name="connsiteX3222" fmla="*/ 11480567 w 23037085"/>
              <a:gd name="connsiteY3222" fmla="*/ 152573 h 9444169"/>
              <a:gd name="connsiteX3223" fmla="*/ 11517323 w 23037085"/>
              <a:gd name="connsiteY3223" fmla="*/ 170077 h 9444169"/>
              <a:gd name="connsiteX3224" fmla="*/ 11517323 w 23037085"/>
              <a:gd name="connsiteY3224" fmla="*/ 193415 h 9444169"/>
              <a:gd name="connsiteX3225" fmla="*/ 11492829 w 23037085"/>
              <a:gd name="connsiteY3225" fmla="*/ 193415 h 9444169"/>
              <a:gd name="connsiteX3226" fmla="*/ 11443811 w 23037085"/>
              <a:gd name="connsiteY3226" fmla="*/ 170077 h 9444169"/>
              <a:gd name="connsiteX3227" fmla="*/ 11480567 w 23037085"/>
              <a:gd name="connsiteY3227" fmla="*/ 152573 h 9444169"/>
              <a:gd name="connsiteX3228" fmla="*/ 10683923 w 23037085"/>
              <a:gd name="connsiteY3228" fmla="*/ 109981 h 9444169"/>
              <a:gd name="connsiteX3229" fmla="*/ 10710825 w 23037085"/>
              <a:gd name="connsiteY3229" fmla="*/ 109981 h 9444169"/>
              <a:gd name="connsiteX3230" fmla="*/ 10928936 w 23037085"/>
              <a:gd name="connsiteY3230" fmla="*/ 109981 h 9444169"/>
              <a:gd name="connsiteX3231" fmla="*/ 11120084 w 23037085"/>
              <a:gd name="connsiteY3231" fmla="*/ 109981 h 9444169"/>
              <a:gd name="connsiteX3232" fmla="*/ 11146995 w 23037085"/>
              <a:gd name="connsiteY3232" fmla="*/ 133319 h 9444169"/>
              <a:gd name="connsiteX3233" fmla="*/ 11120084 w 23037085"/>
              <a:gd name="connsiteY3233" fmla="*/ 156657 h 9444169"/>
              <a:gd name="connsiteX3234" fmla="*/ 10710825 w 23037085"/>
              <a:gd name="connsiteY3234" fmla="*/ 133319 h 9444169"/>
              <a:gd name="connsiteX3235" fmla="*/ 10683923 w 23037085"/>
              <a:gd name="connsiteY3235" fmla="*/ 109981 h 9444169"/>
              <a:gd name="connsiteX3236" fmla="*/ 10041121 w 23037085"/>
              <a:gd name="connsiteY3236" fmla="*/ 68056 h 9444169"/>
              <a:gd name="connsiteX3237" fmla="*/ 10169621 w 23037085"/>
              <a:gd name="connsiteY3237" fmla="*/ 88241 h 9444169"/>
              <a:gd name="connsiteX3238" fmla="*/ 10114201 w 23037085"/>
              <a:gd name="connsiteY3238" fmla="*/ 115156 h 9444169"/>
              <a:gd name="connsiteX3239" fmla="*/ 10058782 w 23037085"/>
              <a:gd name="connsiteY3239" fmla="*/ 115156 h 9444169"/>
              <a:gd name="connsiteX3240" fmla="*/ 10031077 w 23037085"/>
              <a:gd name="connsiteY3240" fmla="*/ 142067 h 9444169"/>
              <a:gd name="connsiteX3241" fmla="*/ 10058782 w 23037085"/>
              <a:gd name="connsiteY3241" fmla="*/ 168981 h 9444169"/>
              <a:gd name="connsiteX3242" fmla="*/ 10169621 w 23037085"/>
              <a:gd name="connsiteY3242" fmla="*/ 195896 h 9444169"/>
              <a:gd name="connsiteX3243" fmla="*/ 10563095 w 23037085"/>
              <a:gd name="connsiteY3243" fmla="*/ 222806 h 9444169"/>
              <a:gd name="connsiteX3244" fmla="*/ 10843107 w 23037085"/>
              <a:gd name="connsiteY3244" fmla="*/ 222806 h 9444169"/>
              <a:gd name="connsiteX3245" fmla="*/ 10929085 w 23037085"/>
              <a:gd name="connsiteY3245" fmla="*/ 222806 h 9444169"/>
              <a:gd name="connsiteX3246" fmla="*/ 11710753 w 23037085"/>
              <a:gd name="connsiteY3246" fmla="*/ 222806 h 9444169"/>
              <a:gd name="connsiteX3247" fmla="*/ 12215322 w 23037085"/>
              <a:gd name="connsiteY3247" fmla="*/ 306240 h 9444169"/>
              <a:gd name="connsiteX3248" fmla="*/ 12328987 w 23037085"/>
              <a:gd name="connsiteY3248" fmla="*/ 306240 h 9444169"/>
              <a:gd name="connsiteX3249" fmla="*/ 12999904 w 23037085"/>
              <a:gd name="connsiteY3249" fmla="*/ 386980 h 9444169"/>
              <a:gd name="connsiteX3250" fmla="*/ 13030399 w 23037085"/>
              <a:gd name="connsiteY3250" fmla="*/ 440805 h 9444169"/>
              <a:gd name="connsiteX3251" fmla="*/ 12916734 w 23037085"/>
              <a:gd name="connsiteY3251" fmla="*/ 440805 h 9444169"/>
              <a:gd name="connsiteX3252" fmla="*/ 12525826 w 23037085"/>
              <a:gd name="connsiteY3252" fmla="*/ 440805 h 9444169"/>
              <a:gd name="connsiteX3253" fmla="*/ 12328987 w 23037085"/>
              <a:gd name="connsiteY3253" fmla="*/ 413894 h 9444169"/>
              <a:gd name="connsiteX3254" fmla="*/ 12104426 w 23037085"/>
              <a:gd name="connsiteY3254" fmla="*/ 440805 h 9444169"/>
              <a:gd name="connsiteX3255" fmla="*/ 11935310 w 23037085"/>
              <a:gd name="connsiteY3255" fmla="*/ 440805 h 9444169"/>
              <a:gd name="connsiteX3256" fmla="*/ 11541644 w 23037085"/>
              <a:gd name="connsiteY3256" fmla="*/ 413894 h 9444169"/>
              <a:gd name="connsiteX3257" fmla="*/ 11320827 w 23037085"/>
              <a:gd name="connsiteY3257" fmla="*/ 390343 h 9444169"/>
              <a:gd name="connsiteX3258" fmla="*/ 11257817 w 23037085"/>
              <a:gd name="connsiteY3258" fmla="*/ 392880 h 9444169"/>
              <a:gd name="connsiteX3259" fmla="*/ 11230009 w 23037085"/>
              <a:gd name="connsiteY3259" fmla="*/ 383617 h 9444169"/>
              <a:gd name="connsiteX3260" fmla="*/ 11126009 w 23037085"/>
              <a:gd name="connsiteY3260" fmla="*/ 386980 h 9444169"/>
              <a:gd name="connsiteX3261" fmla="*/ 11121536 w 23037085"/>
              <a:gd name="connsiteY3261" fmla="*/ 386980 h 9444169"/>
              <a:gd name="connsiteX3262" fmla="*/ 11221980 w 23037085"/>
              <a:gd name="connsiteY3262" fmla="*/ 392524 h 9444169"/>
              <a:gd name="connsiteX3263" fmla="*/ 11239806 w 23037085"/>
              <a:gd name="connsiteY3263" fmla="*/ 393602 h 9444169"/>
              <a:gd name="connsiteX3264" fmla="*/ 11257817 w 23037085"/>
              <a:gd name="connsiteY3264" fmla="*/ 392880 h 9444169"/>
              <a:gd name="connsiteX3265" fmla="*/ 11264486 w 23037085"/>
              <a:gd name="connsiteY3265" fmla="*/ 395097 h 9444169"/>
              <a:gd name="connsiteX3266" fmla="*/ 11432701 w 23037085"/>
              <a:gd name="connsiteY3266" fmla="*/ 405286 h 9444169"/>
              <a:gd name="connsiteX3267" fmla="*/ 11538839 w 23037085"/>
              <a:gd name="connsiteY3267" fmla="*/ 430812 h 9444169"/>
              <a:gd name="connsiteX3268" fmla="*/ 11459989 w 23037085"/>
              <a:gd name="connsiteY3268" fmla="*/ 430812 h 9444169"/>
              <a:gd name="connsiteX3269" fmla="*/ 11350876 w 23037085"/>
              <a:gd name="connsiteY3269" fmla="*/ 481865 h 9444169"/>
              <a:gd name="connsiteX3270" fmla="*/ 11211738 w 23037085"/>
              <a:gd name="connsiteY3270" fmla="*/ 560996 h 9444169"/>
              <a:gd name="connsiteX3271" fmla="*/ 10824282 w 23037085"/>
              <a:gd name="connsiteY3271" fmla="*/ 509943 h 9444169"/>
              <a:gd name="connsiteX3272" fmla="*/ 10796980 w 23037085"/>
              <a:gd name="connsiteY3272" fmla="*/ 430812 h 9444169"/>
              <a:gd name="connsiteX3273" fmla="*/ 10796980 w 23037085"/>
              <a:gd name="connsiteY3273" fmla="*/ 405286 h 9444169"/>
              <a:gd name="connsiteX3274" fmla="*/ 10826990 w 23037085"/>
              <a:gd name="connsiteY3274" fmla="*/ 409140 h 9444169"/>
              <a:gd name="connsiteX3275" fmla="*/ 10787595 w 23037085"/>
              <a:gd name="connsiteY3275" fmla="*/ 386980 h 9444169"/>
              <a:gd name="connsiteX3276" fmla="*/ 10762076 w 23037085"/>
              <a:gd name="connsiteY3276" fmla="*/ 365329 h 9444169"/>
              <a:gd name="connsiteX3277" fmla="*/ 10779172 w 23037085"/>
              <a:gd name="connsiteY3277" fmla="*/ 388392 h 9444169"/>
              <a:gd name="connsiteX3278" fmla="*/ 10638393 w 23037085"/>
              <a:gd name="connsiteY3278" fmla="*/ 361759 h 9444169"/>
              <a:gd name="connsiteX3279" fmla="*/ 10136130 w 23037085"/>
              <a:gd name="connsiteY3279" fmla="*/ 335122 h 9444169"/>
              <a:gd name="connsiteX3280" fmla="*/ 10053340 w 23037085"/>
              <a:gd name="connsiteY3280" fmla="*/ 361759 h 9444169"/>
              <a:gd name="connsiteX3281" fmla="*/ 10136130 w 23037085"/>
              <a:gd name="connsiteY3281" fmla="*/ 388392 h 9444169"/>
              <a:gd name="connsiteX3282" fmla="*/ 10249275 w 23037085"/>
              <a:gd name="connsiteY3282" fmla="*/ 388392 h 9444169"/>
              <a:gd name="connsiteX3283" fmla="*/ 10304474 w 23037085"/>
              <a:gd name="connsiteY3283" fmla="*/ 441666 h 9444169"/>
              <a:gd name="connsiteX3284" fmla="*/ 10221681 w 23037085"/>
              <a:gd name="connsiteY3284" fmla="*/ 468303 h 9444169"/>
              <a:gd name="connsiteX3285" fmla="*/ 10025739 w 23037085"/>
              <a:gd name="connsiteY3285" fmla="*/ 441666 h 9444169"/>
              <a:gd name="connsiteX3286" fmla="*/ 9940192 w 23037085"/>
              <a:gd name="connsiteY3286" fmla="*/ 361759 h 9444169"/>
              <a:gd name="connsiteX3287" fmla="*/ 9857402 w 23037085"/>
              <a:gd name="connsiteY3287" fmla="*/ 468303 h 9444169"/>
              <a:gd name="connsiteX3288" fmla="*/ 9774602 w 23037085"/>
              <a:gd name="connsiteY3288" fmla="*/ 468303 h 9444169"/>
              <a:gd name="connsiteX3289" fmla="*/ 9437872 w 23037085"/>
              <a:gd name="connsiteY3289" fmla="*/ 441666 h 9444169"/>
              <a:gd name="connsiteX3290" fmla="*/ 9382726 w 23037085"/>
              <a:gd name="connsiteY3290" fmla="*/ 468303 h 9444169"/>
              <a:gd name="connsiteX3291" fmla="*/ 9214097 w 23037085"/>
              <a:gd name="connsiteY3291" fmla="*/ 524239 h 9444169"/>
              <a:gd name="connsiteX3292" fmla="*/ 9186496 w 23037085"/>
              <a:gd name="connsiteY3292" fmla="*/ 524239 h 9444169"/>
              <a:gd name="connsiteX3293" fmla="*/ 9158913 w 23037085"/>
              <a:gd name="connsiteY3293" fmla="*/ 524239 h 9444169"/>
              <a:gd name="connsiteX3294" fmla="*/ 8993476 w 23037085"/>
              <a:gd name="connsiteY3294" fmla="*/ 468303 h 9444169"/>
              <a:gd name="connsiteX3295" fmla="*/ 8993476 w 23037085"/>
              <a:gd name="connsiteY3295" fmla="*/ 415029 h 9444169"/>
              <a:gd name="connsiteX3296" fmla="*/ 8935448 w 23037085"/>
              <a:gd name="connsiteY3296" fmla="*/ 335122 h 9444169"/>
              <a:gd name="connsiteX3297" fmla="*/ 8824555 w 23037085"/>
              <a:gd name="connsiteY3297" fmla="*/ 345112 h 9444169"/>
              <a:gd name="connsiteX3298" fmla="*/ 8724502 w 23037085"/>
              <a:gd name="connsiteY3298" fmla="*/ 336247 h 9444169"/>
              <a:gd name="connsiteX3299" fmla="*/ 8714339 w 23037085"/>
              <a:gd name="connsiteY3299" fmla="*/ 338058 h 9444169"/>
              <a:gd name="connsiteX3300" fmla="*/ 8603692 w 23037085"/>
              <a:gd name="connsiteY3300" fmla="*/ 338058 h 9444169"/>
              <a:gd name="connsiteX3301" fmla="*/ 8293516 w 23037085"/>
              <a:gd name="connsiteY3301" fmla="*/ 338058 h 9444169"/>
              <a:gd name="connsiteX3302" fmla="*/ 8127450 w 23037085"/>
              <a:gd name="connsiteY3302" fmla="*/ 338058 h 9444169"/>
              <a:gd name="connsiteX3303" fmla="*/ 7761669 w 23037085"/>
              <a:gd name="connsiteY3303" fmla="*/ 338058 h 9444169"/>
              <a:gd name="connsiteX3304" fmla="*/ 7537202 w 23037085"/>
              <a:gd name="connsiteY3304" fmla="*/ 338058 h 9444169"/>
              <a:gd name="connsiteX3305" fmla="*/ 7312734 w 23037085"/>
              <a:gd name="connsiteY3305" fmla="*/ 338058 h 9444169"/>
              <a:gd name="connsiteX3306" fmla="*/ 7032939 w 23037085"/>
              <a:gd name="connsiteY3306" fmla="*/ 284265 h 9444169"/>
              <a:gd name="connsiteX3307" fmla="*/ 7116006 w 23037085"/>
              <a:gd name="connsiteY3307" fmla="*/ 254682 h 9444169"/>
              <a:gd name="connsiteX3308" fmla="*/ 7368160 w 23037085"/>
              <a:gd name="connsiteY3308" fmla="*/ 254682 h 9444169"/>
              <a:gd name="connsiteX3309" fmla="*/ 8099639 w 23037085"/>
              <a:gd name="connsiteY3309" fmla="*/ 227785 h 9444169"/>
              <a:gd name="connsiteX3310" fmla="*/ 8462541 w 23037085"/>
              <a:gd name="connsiteY3310" fmla="*/ 254682 h 9444169"/>
              <a:gd name="connsiteX3311" fmla="*/ 8659051 w 23037085"/>
              <a:gd name="connsiteY3311" fmla="*/ 200888 h 9444169"/>
              <a:gd name="connsiteX3312" fmla="*/ 8784851 w 23037085"/>
              <a:gd name="connsiteY3312" fmla="*/ 177355 h 9444169"/>
              <a:gd name="connsiteX3313" fmla="*/ 8814591 w 23037085"/>
              <a:gd name="connsiteY3313" fmla="*/ 176561 h 9444169"/>
              <a:gd name="connsiteX3314" fmla="*/ 8814925 w 23037085"/>
              <a:gd name="connsiteY3314" fmla="*/ 175711 h 9444169"/>
              <a:gd name="connsiteX3315" fmla="*/ 8852900 w 23037085"/>
              <a:gd name="connsiteY3315" fmla="*/ 168981 h 9444169"/>
              <a:gd name="connsiteX3316" fmla="*/ 8921316 w 23037085"/>
              <a:gd name="connsiteY3316" fmla="*/ 168981 h 9444169"/>
              <a:gd name="connsiteX3317" fmla="*/ 8925465 w 23037085"/>
              <a:gd name="connsiteY3317" fmla="*/ 166988 h 9444169"/>
              <a:gd name="connsiteX3318" fmla="*/ 8907779 w 23037085"/>
              <a:gd name="connsiteY3318" fmla="*/ 166988 h 9444169"/>
              <a:gd name="connsiteX3319" fmla="*/ 9017742 w 23037085"/>
              <a:gd name="connsiteY3319" fmla="*/ 140561 h 9444169"/>
              <a:gd name="connsiteX3320" fmla="*/ 9098016 w 23037085"/>
              <a:gd name="connsiteY3320" fmla="*/ 114134 h 9444169"/>
              <a:gd name="connsiteX3321" fmla="*/ 9368345 w 23037085"/>
              <a:gd name="connsiteY3321" fmla="*/ 87708 h 9444169"/>
              <a:gd name="connsiteX3322" fmla="*/ 9366727 w 23037085"/>
              <a:gd name="connsiteY3322" fmla="*/ 89594 h 9444169"/>
              <a:gd name="connsiteX3323" fmla="*/ 9394204 w 23037085"/>
              <a:gd name="connsiteY3323" fmla="*/ 87708 h 9444169"/>
              <a:gd name="connsiteX3324" fmla="*/ 9421495 w 23037085"/>
              <a:gd name="connsiteY3324" fmla="*/ 87708 h 9444169"/>
              <a:gd name="connsiteX3325" fmla="*/ 9485665 w 23037085"/>
              <a:gd name="connsiteY3325" fmla="*/ 83142 h 9444169"/>
              <a:gd name="connsiteX3326" fmla="*/ 9422398 w 23037085"/>
              <a:gd name="connsiteY3326" fmla="*/ 83142 h 9444169"/>
              <a:gd name="connsiteX3327" fmla="*/ 9533394 w 23037085"/>
              <a:gd name="connsiteY3327" fmla="*/ 72003 h 9444169"/>
              <a:gd name="connsiteX3328" fmla="*/ 9860701 w 23037085"/>
              <a:gd name="connsiteY3328" fmla="*/ 83142 h 9444169"/>
              <a:gd name="connsiteX3329" fmla="*/ 9722709 w 23037085"/>
              <a:gd name="connsiteY3329" fmla="*/ 83142 h 9444169"/>
              <a:gd name="connsiteX3330" fmla="*/ 9567216 w 23037085"/>
              <a:gd name="connsiteY3330" fmla="*/ 83142 h 9444169"/>
              <a:gd name="connsiteX3331" fmla="*/ 9632749 w 23037085"/>
              <a:gd name="connsiteY3331" fmla="*/ 87708 h 9444169"/>
              <a:gd name="connsiteX3332" fmla="*/ 9864416 w 23037085"/>
              <a:gd name="connsiteY3332" fmla="*/ 87708 h 9444169"/>
              <a:gd name="connsiteX3333" fmla="*/ 9891751 w 23037085"/>
              <a:gd name="connsiteY3333" fmla="*/ 87708 h 9444169"/>
              <a:gd name="connsiteX3334" fmla="*/ 9891925 w 23037085"/>
              <a:gd name="connsiteY3334" fmla="*/ 87953 h 9444169"/>
              <a:gd name="connsiteX3335" fmla="*/ 7231944 w 23037085"/>
              <a:gd name="connsiteY3335" fmla="*/ 0 h 9444169"/>
              <a:gd name="connsiteX3336" fmla="*/ 7341798 w 23037085"/>
              <a:gd name="connsiteY3336" fmla="*/ 0 h 9444169"/>
              <a:gd name="connsiteX3337" fmla="*/ 7676851 w 23037085"/>
              <a:gd name="connsiteY3337" fmla="*/ 0 h 9444169"/>
              <a:gd name="connsiteX3338" fmla="*/ 7814167 w 23037085"/>
              <a:gd name="connsiteY3338" fmla="*/ 0 h 9444169"/>
              <a:gd name="connsiteX3339" fmla="*/ 8009121 w 23037085"/>
              <a:gd name="connsiteY3339" fmla="*/ 0 h 9444169"/>
              <a:gd name="connsiteX3340" fmla="*/ 8063988 w 23037085"/>
              <a:gd name="connsiteY3340" fmla="*/ 26256 h 9444169"/>
              <a:gd name="connsiteX3341" fmla="*/ 8036522 w 23037085"/>
              <a:gd name="connsiteY3341" fmla="*/ 55135 h 9444169"/>
              <a:gd name="connsiteX3342" fmla="*/ 8231577 w 23037085"/>
              <a:gd name="connsiteY3342" fmla="*/ 81391 h 9444169"/>
              <a:gd name="connsiteX3343" fmla="*/ 8179855 w 23037085"/>
              <a:gd name="connsiteY3343" fmla="*/ 84722 h 9444169"/>
              <a:gd name="connsiteX3344" fmla="*/ 8222293 w 23037085"/>
              <a:gd name="connsiteY3344" fmla="*/ 84722 h 9444169"/>
              <a:gd name="connsiteX3345" fmla="*/ 8390366 w 23037085"/>
              <a:gd name="connsiteY3345" fmla="*/ 84722 h 9444169"/>
              <a:gd name="connsiteX3346" fmla="*/ 8456180 w 23037085"/>
              <a:gd name="connsiteY3346" fmla="*/ 78793 h 9444169"/>
              <a:gd name="connsiteX3347" fmla="*/ 8463569 w 23037085"/>
              <a:gd name="connsiteY3347" fmla="*/ 83651 h 9444169"/>
              <a:gd name="connsiteX3348" fmla="*/ 8684246 w 23037085"/>
              <a:gd name="connsiteY3348" fmla="*/ 75829 h 9444169"/>
              <a:gd name="connsiteX3349" fmla="*/ 8933220 w 23037085"/>
              <a:gd name="connsiteY3349" fmla="*/ 84722 h 9444169"/>
              <a:gd name="connsiteX3350" fmla="*/ 8960857 w 23037085"/>
              <a:gd name="connsiteY3350" fmla="*/ 84722 h 9444169"/>
              <a:gd name="connsiteX3351" fmla="*/ 8990992 w 23037085"/>
              <a:gd name="connsiteY3351" fmla="*/ 108437 h 9444169"/>
              <a:gd name="connsiteX3352" fmla="*/ 8960857 w 23037085"/>
              <a:gd name="connsiteY3352" fmla="*/ 108437 h 9444169"/>
              <a:gd name="connsiteX3353" fmla="*/ 8933220 w 23037085"/>
              <a:gd name="connsiteY3353" fmla="*/ 108437 h 9444169"/>
              <a:gd name="connsiteX3354" fmla="*/ 8515856 w 23037085"/>
              <a:gd name="connsiteY3354" fmla="*/ 108437 h 9444169"/>
              <a:gd name="connsiteX3355" fmla="*/ 8471106 w 23037085"/>
              <a:gd name="connsiteY3355" fmla="*/ 87686 h 9444169"/>
              <a:gd name="connsiteX3356" fmla="*/ 8469604 w 23037085"/>
              <a:gd name="connsiteY3356" fmla="*/ 87619 h 9444169"/>
              <a:gd name="connsiteX3357" fmla="*/ 8501294 w 23037085"/>
              <a:gd name="connsiteY3357" fmla="*/ 108437 h 9444169"/>
              <a:gd name="connsiteX3358" fmla="*/ 8362887 w 23037085"/>
              <a:gd name="connsiteY3358" fmla="*/ 132152 h 9444169"/>
              <a:gd name="connsiteX3359" fmla="*/ 8053679 w 23037085"/>
              <a:gd name="connsiteY3359" fmla="*/ 132152 h 9444169"/>
              <a:gd name="connsiteX3360" fmla="*/ 7440459 w 23037085"/>
              <a:gd name="connsiteY3360" fmla="*/ 132152 h 9444169"/>
              <a:gd name="connsiteX3361" fmla="*/ 7158678 w 23037085"/>
              <a:gd name="connsiteY3361" fmla="*/ 132152 h 9444169"/>
              <a:gd name="connsiteX3362" fmla="*/ 7020618 w 23037085"/>
              <a:gd name="connsiteY3362" fmla="*/ 132152 h 9444169"/>
              <a:gd name="connsiteX3363" fmla="*/ 6628457 w 23037085"/>
              <a:gd name="connsiteY3363" fmla="*/ 132152 h 9444169"/>
              <a:gd name="connsiteX3364" fmla="*/ 6531483 w 23037085"/>
              <a:gd name="connsiteY3364" fmla="*/ 129188 h 9444169"/>
              <a:gd name="connsiteX3365" fmla="*/ 6503939 w 23037085"/>
              <a:gd name="connsiteY3365" fmla="*/ 123405 h 9444169"/>
              <a:gd name="connsiteX3366" fmla="*/ 6429106 w 23037085"/>
              <a:gd name="connsiteY3366" fmla="*/ 118451 h 9444169"/>
              <a:gd name="connsiteX3367" fmla="*/ 6373890 w 23037085"/>
              <a:gd name="connsiteY3367" fmla="*/ 65750 h 9444169"/>
              <a:gd name="connsiteX3368" fmla="*/ 6235467 w 23037085"/>
              <a:gd name="connsiteY3368" fmla="*/ 92099 h 9444169"/>
              <a:gd name="connsiteX3369" fmla="*/ 6263172 w 23037085"/>
              <a:gd name="connsiteY3369" fmla="*/ 118451 h 9444169"/>
              <a:gd name="connsiteX3370" fmla="*/ 6235467 w 23037085"/>
              <a:gd name="connsiteY3370" fmla="*/ 144800 h 9444169"/>
              <a:gd name="connsiteX3371" fmla="*/ 6180969 w 23037085"/>
              <a:gd name="connsiteY3371" fmla="*/ 132152 h 9444169"/>
              <a:gd name="connsiteX3372" fmla="*/ 6021496 w 23037085"/>
              <a:gd name="connsiteY3372" fmla="*/ 132152 h 9444169"/>
              <a:gd name="connsiteX3373" fmla="*/ 6009924 w 23037085"/>
              <a:gd name="connsiteY3373" fmla="*/ 136031 h 9444169"/>
              <a:gd name="connsiteX3374" fmla="*/ 6012447 w 23037085"/>
              <a:gd name="connsiteY3374" fmla="*/ 145600 h 9444169"/>
              <a:gd name="connsiteX3375" fmla="*/ 6013148 w 23037085"/>
              <a:gd name="connsiteY3375" fmla="*/ 148159 h 9444169"/>
              <a:gd name="connsiteX3376" fmla="*/ 5900131 w 23037085"/>
              <a:gd name="connsiteY3376" fmla="*/ 173849 h 9444169"/>
              <a:gd name="connsiteX3377" fmla="*/ 5872512 w 23037085"/>
              <a:gd name="connsiteY3377" fmla="*/ 173849 h 9444169"/>
              <a:gd name="connsiteX3378" fmla="*/ 5397530 w 23037085"/>
              <a:gd name="connsiteY3378" fmla="*/ 199540 h 9444169"/>
              <a:gd name="connsiteX3379" fmla="*/ 5201467 w 23037085"/>
              <a:gd name="connsiteY3379" fmla="*/ 199540 h 9444169"/>
              <a:gd name="connsiteX3380" fmla="*/ 5063386 w 23037085"/>
              <a:gd name="connsiteY3380" fmla="*/ 250924 h 9444169"/>
              <a:gd name="connsiteX3381" fmla="*/ 5005401 w 23037085"/>
              <a:gd name="connsiteY3381" fmla="*/ 250924 h 9444169"/>
              <a:gd name="connsiteX3382" fmla="*/ 4643673 w 23037085"/>
              <a:gd name="connsiteY3382" fmla="*/ 250924 h 9444169"/>
              <a:gd name="connsiteX3383" fmla="*/ 4558076 w 23037085"/>
              <a:gd name="connsiteY3383" fmla="*/ 225233 h 9444169"/>
              <a:gd name="connsiteX3384" fmla="*/ 4558076 w 23037085"/>
              <a:gd name="connsiteY3384" fmla="*/ 219340 h 9444169"/>
              <a:gd name="connsiteX3385" fmla="*/ 4549948 w 23037085"/>
              <a:gd name="connsiteY3385" fmla="*/ 224045 h 9444169"/>
              <a:gd name="connsiteX3386" fmla="*/ 4498112 w 23037085"/>
              <a:gd name="connsiteY3386" fmla="*/ 279183 h 9444169"/>
              <a:gd name="connsiteX3387" fmla="*/ 4483991 w 23037085"/>
              <a:gd name="connsiteY3387" fmla="*/ 266308 h 9444169"/>
              <a:gd name="connsiteX3388" fmla="*/ 4478963 w 23037085"/>
              <a:gd name="connsiteY3388" fmla="*/ 279906 h 9444169"/>
              <a:gd name="connsiteX3389" fmla="*/ 4478963 w 23037085"/>
              <a:gd name="connsiteY3389" fmla="*/ 332763 h 9444169"/>
              <a:gd name="connsiteX3390" fmla="*/ 4229922 w 23037085"/>
              <a:gd name="connsiteY3390" fmla="*/ 332763 h 9444169"/>
              <a:gd name="connsiteX3391" fmla="*/ 4175189 w 23037085"/>
              <a:gd name="connsiteY3391" fmla="*/ 332763 h 9444169"/>
              <a:gd name="connsiteX3392" fmla="*/ 4115663 w 23037085"/>
              <a:gd name="connsiteY3392" fmla="*/ 352581 h 9444169"/>
              <a:gd name="connsiteX3393" fmla="*/ 4091709 w 23037085"/>
              <a:gd name="connsiteY3393" fmla="*/ 346649 h 9444169"/>
              <a:gd name="connsiteX3394" fmla="*/ 4089830 w 23037085"/>
              <a:gd name="connsiteY3394" fmla="*/ 347254 h 9444169"/>
              <a:gd name="connsiteX3395" fmla="*/ 3965400 w 23037085"/>
              <a:gd name="connsiteY3395" fmla="*/ 340873 h 9444169"/>
              <a:gd name="connsiteX3396" fmla="*/ 3856156 w 23037085"/>
              <a:gd name="connsiteY3396" fmla="*/ 355656 h 9444169"/>
              <a:gd name="connsiteX3397" fmla="*/ 3841309 w 23037085"/>
              <a:gd name="connsiteY3397" fmla="*/ 359190 h 9444169"/>
              <a:gd name="connsiteX3398" fmla="*/ 3755441 w 23037085"/>
              <a:gd name="connsiteY3398" fmla="*/ 385617 h 9444169"/>
              <a:gd name="connsiteX3399" fmla="*/ 3743623 w 23037085"/>
              <a:gd name="connsiteY3399" fmla="*/ 388496 h 9444169"/>
              <a:gd name="connsiteX3400" fmla="*/ 3614392 w 23037085"/>
              <a:gd name="connsiteY3400" fmla="*/ 428937 h 9444169"/>
              <a:gd name="connsiteX3401" fmla="*/ 3531467 w 23037085"/>
              <a:gd name="connsiteY3401" fmla="*/ 428937 h 9444169"/>
              <a:gd name="connsiteX3402" fmla="*/ 3362828 w 23037085"/>
              <a:gd name="connsiteY3402" fmla="*/ 428937 h 9444169"/>
              <a:gd name="connsiteX3403" fmla="*/ 3361127 w 23037085"/>
              <a:gd name="connsiteY3403" fmla="*/ 429716 h 9444169"/>
              <a:gd name="connsiteX3404" fmla="*/ 3366835 w 23037085"/>
              <a:gd name="connsiteY3404" fmla="*/ 428787 h 9444169"/>
              <a:gd name="connsiteX3405" fmla="*/ 3313558 w 23037085"/>
              <a:gd name="connsiteY3405" fmla="*/ 480168 h 9444169"/>
              <a:gd name="connsiteX3406" fmla="*/ 3366835 w 23037085"/>
              <a:gd name="connsiteY3406" fmla="*/ 508427 h 9444169"/>
              <a:gd name="connsiteX3407" fmla="*/ 3366835 w 23037085"/>
              <a:gd name="connsiteY3407" fmla="*/ 534118 h 9444169"/>
              <a:gd name="connsiteX3408" fmla="*/ 3180367 w 23037085"/>
              <a:gd name="connsiteY3408" fmla="*/ 559811 h 9444169"/>
              <a:gd name="connsiteX3409" fmla="*/ 3151399 w 23037085"/>
              <a:gd name="connsiteY3409" fmla="*/ 534121 h 9444169"/>
              <a:gd name="connsiteX3410" fmla="*/ 3125979 w 23037085"/>
              <a:gd name="connsiteY3410" fmla="*/ 509908 h 9444169"/>
              <a:gd name="connsiteX3411" fmla="*/ 3111239 w 23037085"/>
              <a:gd name="connsiteY3411" fmla="*/ 513345 h 9444169"/>
              <a:gd name="connsiteX3412" fmla="*/ 2831999 w 23037085"/>
              <a:gd name="connsiteY3412" fmla="*/ 567801 h 9444169"/>
              <a:gd name="connsiteX3413" fmla="*/ 2749056 w 23037085"/>
              <a:gd name="connsiteY3413" fmla="*/ 567801 h 9444169"/>
              <a:gd name="connsiteX3414" fmla="*/ 2693761 w 23037085"/>
              <a:gd name="connsiteY3414" fmla="*/ 622259 h 9444169"/>
              <a:gd name="connsiteX3415" fmla="*/ 2749056 w 23037085"/>
              <a:gd name="connsiteY3415" fmla="*/ 622259 h 9444169"/>
              <a:gd name="connsiteX3416" fmla="*/ 2804351 w 23037085"/>
              <a:gd name="connsiteY3416" fmla="*/ 595028 h 9444169"/>
              <a:gd name="connsiteX3417" fmla="*/ 2831999 w 23037085"/>
              <a:gd name="connsiteY3417" fmla="*/ 622259 h 9444169"/>
              <a:gd name="connsiteX3418" fmla="*/ 2831999 w 23037085"/>
              <a:gd name="connsiteY3418" fmla="*/ 649487 h 9444169"/>
              <a:gd name="connsiteX3419" fmla="*/ 2580410 w 23037085"/>
              <a:gd name="connsiteY3419" fmla="*/ 676714 h 9444169"/>
              <a:gd name="connsiteX3420" fmla="*/ 2469820 w 23037085"/>
              <a:gd name="connsiteY3420" fmla="*/ 676714 h 9444169"/>
              <a:gd name="connsiteX3421" fmla="*/ 2160121 w 23037085"/>
              <a:gd name="connsiteY3421" fmla="*/ 703942 h 9444169"/>
              <a:gd name="connsiteX3422" fmla="*/ 2077189 w 23037085"/>
              <a:gd name="connsiteY3422" fmla="*/ 733892 h 9444169"/>
              <a:gd name="connsiteX3423" fmla="*/ 2049545 w 23037085"/>
              <a:gd name="connsiteY3423" fmla="*/ 737298 h 9444169"/>
              <a:gd name="connsiteX3424" fmla="*/ 2028584 w 23037085"/>
              <a:gd name="connsiteY3424" fmla="*/ 755362 h 9444169"/>
              <a:gd name="connsiteX3425" fmla="*/ 2021901 w 23037085"/>
              <a:gd name="connsiteY3425" fmla="*/ 761120 h 9444169"/>
              <a:gd name="connsiteX3426" fmla="*/ 1963852 w 23037085"/>
              <a:gd name="connsiteY3426" fmla="*/ 761120 h 9444169"/>
              <a:gd name="connsiteX3427" fmla="*/ 1949855 w 23037085"/>
              <a:gd name="connsiteY3427" fmla="*/ 773322 h 9444169"/>
              <a:gd name="connsiteX3428" fmla="*/ 1961040 w 23037085"/>
              <a:gd name="connsiteY3428" fmla="*/ 771920 h 9444169"/>
              <a:gd name="connsiteX3429" fmla="*/ 2045566 w 23037085"/>
              <a:gd name="connsiteY3429" fmla="*/ 824429 h 9444169"/>
              <a:gd name="connsiteX3430" fmla="*/ 2127367 w 23037085"/>
              <a:gd name="connsiteY3430" fmla="*/ 850685 h 9444169"/>
              <a:gd name="connsiteX3431" fmla="*/ 2181900 w 23037085"/>
              <a:gd name="connsiteY3431" fmla="*/ 798176 h 9444169"/>
              <a:gd name="connsiteX3432" fmla="*/ 2239220 w 23037085"/>
              <a:gd name="connsiteY3432" fmla="*/ 771920 h 9444169"/>
              <a:gd name="connsiteX3433" fmla="*/ 2293760 w 23037085"/>
              <a:gd name="connsiteY3433" fmla="*/ 771920 h 9444169"/>
              <a:gd name="connsiteX3434" fmla="*/ 2351710 w 23037085"/>
              <a:gd name="connsiteY3434" fmla="*/ 804739 h 9444169"/>
              <a:gd name="connsiteX3435" fmla="*/ 2424724 w 23037085"/>
              <a:gd name="connsiteY3435" fmla="*/ 798625 h 9444169"/>
              <a:gd name="connsiteX3436" fmla="*/ 2439200 w 23037085"/>
              <a:gd name="connsiteY3436" fmla="*/ 786650 h 9444169"/>
              <a:gd name="connsiteX3437" fmla="*/ 2524542 w 23037085"/>
              <a:gd name="connsiteY3437" fmla="*/ 786650 h 9444169"/>
              <a:gd name="connsiteX3438" fmla="*/ 2552072 w 23037085"/>
              <a:gd name="connsiteY3438" fmla="*/ 786650 h 9444169"/>
              <a:gd name="connsiteX3439" fmla="*/ 2569278 w 23037085"/>
              <a:gd name="connsiteY3439" fmla="*/ 766458 h 9444169"/>
              <a:gd name="connsiteX3440" fmla="*/ 2594787 w 23037085"/>
              <a:gd name="connsiteY3440" fmla="*/ 780063 h 9444169"/>
              <a:gd name="connsiteX3441" fmla="*/ 2704701 w 23037085"/>
              <a:gd name="connsiteY3441" fmla="*/ 742550 h 9444169"/>
              <a:gd name="connsiteX3442" fmla="*/ 2866336 w 23037085"/>
              <a:gd name="connsiteY3442" fmla="*/ 711600 h 9444169"/>
              <a:gd name="connsiteX3443" fmla="*/ 3171876 w 23037085"/>
              <a:gd name="connsiteY3443" fmla="*/ 686074 h 9444169"/>
              <a:gd name="connsiteX3444" fmla="*/ 3226437 w 23037085"/>
              <a:gd name="connsiteY3444" fmla="*/ 711600 h 9444169"/>
              <a:gd name="connsiteX3445" fmla="*/ 3280996 w 23037085"/>
              <a:gd name="connsiteY3445" fmla="*/ 739678 h 9444169"/>
              <a:gd name="connsiteX3446" fmla="*/ 3226437 w 23037085"/>
              <a:gd name="connsiteY3446" fmla="*/ 765205 h 9444169"/>
              <a:gd name="connsiteX3447" fmla="*/ 2923625 w 23037085"/>
              <a:gd name="connsiteY3447" fmla="*/ 790732 h 9444169"/>
              <a:gd name="connsiteX3448" fmla="*/ 2590808 w 23037085"/>
              <a:gd name="connsiteY3448" fmla="*/ 841785 h 9444169"/>
              <a:gd name="connsiteX3449" fmla="*/ 2536246 w 23037085"/>
              <a:gd name="connsiteY3449" fmla="*/ 841785 h 9444169"/>
              <a:gd name="connsiteX3450" fmla="*/ 2539008 w 23037085"/>
              <a:gd name="connsiteY3450" fmla="*/ 839201 h 9444169"/>
              <a:gd name="connsiteX3451" fmla="*/ 2524542 w 23037085"/>
              <a:gd name="connsiteY3451" fmla="*/ 840486 h 9444169"/>
              <a:gd name="connsiteX3452" fmla="*/ 2497011 w 23037085"/>
              <a:gd name="connsiteY3452" fmla="*/ 867404 h 9444169"/>
              <a:gd name="connsiteX3453" fmla="*/ 2356610 w 23037085"/>
              <a:gd name="connsiteY3453" fmla="*/ 950851 h 9444169"/>
              <a:gd name="connsiteX3454" fmla="*/ 2023474 w 23037085"/>
              <a:gd name="connsiteY3454" fmla="*/ 1004691 h 9444169"/>
              <a:gd name="connsiteX3455" fmla="*/ 1883090 w 23037085"/>
              <a:gd name="connsiteY3455" fmla="*/ 1058527 h 9444169"/>
              <a:gd name="connsiteX3456" fmla="*/ 1800514 w 23037085"/>
              <a:gd name="connsiteY3456" fmla="*/ 1085448 h 9444169"/>
              <a:gd name="connsiteX3457" fmla="*/ 1742710 w 23037085"/>
              <a:gd name="connsiteY3457" fmla="*/ 1085448 h 9444169"/>
              <a:gd name="connsiteX3458" fmla="*/ 1715184 w 23037085"/>
              <a:gd name="connsiteY3458" fmla="*/ 1085448 h 9444169"/>
              <a:gd name="connsiteX3459" fmla="*/ 1687658 w 23037085"/>
              <a:gd name="connsiteY3459" fmla="*/ 1085448 h 9444169"/>
              <a:gd name="connsiteX3460" fmla="*/ 1660131 w 23037085"/>
              <a:gd name="connsiteY3460" fmla="*/ 1112366 h 9444169"/>
              <a:gd name="connsiteX3461" fmla="*/ 1654049 w 23037085"/>
              <a:gd name="connsiteY3461" fmla="*/ 1112366 h 9444169"/>
              <a:gd name="connsiteX3462" fmla="*/ 1632604 w 23037085"/>
              <a:gd name="connsiteY3462" fmla="*/ 1112366 h 9444169"/>
              <a:gd name="connsiteX3463" fmla="*/ 1616185 w 23037085"/>
              <a:gd name="connsiteY3463" fmla="*/ 1100893 h 9444169"/>
              <a:gd name="connsiteX3464" fmla="*/ 1616185 w 23037085"/>
              <a:gd name="connsiteY3464" fmla="*/ 1112366 h 9444169"/>
              <a:gd name="connsiteX3465" fmla="*/ 1605046 w 23037085"/>
              <a:gd name="connsiteY3465" fmla="*/ 1112366 h 9444169"/>
              <a:gd name="connsiteX3466" fmla="*/ 1606078 w 23037085"/>
              <a:gd name="connsiteY3466" fmla="*/ 1095082 h 9444169"/>
              <a:gd name="connsiteX3467" fmla="*/ 1597911 w 23037085"/>
              <a:gd name="connsiteY3467" fmla="*/ 1107808 h 9444169"/>
              <a:gd name="connsiteX3468" fmla="*/ 1594523 w 23037085"/>
              <a:gd name="connsiteY3468" fmla="*/ 1124619 h 9444169"/>
              <a:gd name="connsiteX3469" fmla="*/ 1483346 w 23037085"/>
              <a:gd name="connsiteY3469" fmla="*/ 1207995 h 9444169"/>
              <a:gd name="connsiteX3470" fmla="*/ 1443577 w 23037085"/>
              <a:gd name="connsiteY3470" fmla="*/ 1198134 h 9444169"/>
              <a:gd name="connsiteX3471" fmla="*/ 1441769 w 23037085"/>
              <a:gd name="connsiteY3471" fmla="*/ 1198134 h 9444169"/>
              <a:gd name="connsiteX3472" fmla="*/ 1402001 w 23037085"/>
              <a:gd name="connsiteY3472" fmla="*/ 1207995 h 9444169"/>
              <a:gd name="connsiteX3473" fmla="*/ 1395792 w 23037085"/>
              <a:gd name="connsiteY3473" fmla="*/ 1206331 h 9444169"/>
              <a:gd name="connsiteX3474" fmla="*/ 1385882 w 23037085"/>
              <a:gd name="connsiteY3474" fmla="*/ 1202095 h 9444169"/>
              <a:gd name="connsiteX3475" fmla="*/ 1383063 w 23037085"/>
              <a:gd name="connsiteY3475" fmla="*/ 1200048 h 9444169"/>
              <a:gd name="connsiteX3476" fmla="*/ 1378273 w 23037085"/>
              <a:gd name="connsiteY3476" fmla="*/ 1194547 h 9444169"/>
              <a:gd name="connsiteX3477" fmla="*/ 1374884 w 23037085"/>
              <a:gd name="connsiteY3477" fmla="*/ 1181099 h 9444169"/>
              <a:gd name="connsiteX3478" fmla="*/ 1347767 w 23037085"/>
              <a:gd name="connsiteY3478" fmla="*/ 1151515 h 9444169"/>
              <a:gd name="connsiteX3479" fmla="*/ 1353852 w 23037085"/>
              <a:gd name="connsiteY3479" fmla="*/ 1142462 h 9444169"/>
              <a:gd name="connsiteX3480" fmla="*/ 1347767 w 23037085"/>
              <a:gd name="connsiteY3480" fmla="*/ 1145370 h 9444169"/>
              <a:gd name="connsiteX3481" fmla="*/ 1318180 w 23037085"/>
              <a:gd name="connsiteY3481" fmla="*/ 1145370 h 9444169"/>
              <a:gd name="connsiteX3482" fmla="*/ 1291287 w 23037085"/>
              <a:gd name="connsiteY3482" fmla="*/ 1173629 h 9444169"/>
              <a:gd name="connsiteX3483" fmla="*/ 1286475 w 23037085"/>
              <a:gd name="connsiteY3483" fmla="*/ 1173629 h 9444169"/>
              <a:gd name="connsiteX3484" fmla="*/ 1240027 w 23037085"/>
              <a:gd name="connsiteY3484" fmla="*/ 1173629 h 9444169"/>
              <a:gd name="connsiteX3485" fmla="*/ 1232173 w 23037085"/>
              <a:gd name="connsiteY3485" fmla="*/ 1183216 h 9444169"/>
              <a:gd name="connsiteX3486" fmla="*/ 1123708 w 23037085"/>
              <a:gd name="connsiteY3486" fmla="*/ 1316397 h 9444169"/>
              <a:gd name="connsiteX3487" fmla="*/ 1039648 w 23037085"/>
              <a:gd name="connsiteY3487" fmla="*/ 1316397 h 9444169"/>
              <a:gd name="connsiteX3488" fmla="*/ 958303 w 23037085"/>
              <a:gd name="connsiteY3488" fmla="*/ 1289764 h 9444169"/>
              <a:gd name="connsiteX3489" fmla="*/ 931186 w 23037085"/>
              <a:gd name="connsiteY3489" fmla="*/ 1263127 h 9444169"/>
              <a:gd name="connsiteX3490" fmla="*/ 958303 w 23037085"/>
              <a:gd name="connsiteY3490" fmla="*/ 1236490 h 9444169"/>
              <a:gd name="connsiteX3491" fmla="*/ 1259287 w 23037085"/>
              <a:gd name="connsiteY3491" fmla="*/ 1127281 h 9444169"/>
              <a:gd name="connsiteX3492" fmla="*/ 1258913 w 23037085"/>
              <a:gd name="connsiteY3492" fmla="*/ 1130274 h 9444169"/>
              <a:gd name="connsiteX3493" fmla="*/ 1264390 w 23037085"/>
              <a:gd name="connsiteY3493" fmla="*/ 1119679 h 9444169"/>
              <a:gd name="connsiteX3494" fmla="*/ 1264390 w 23037085"/>
              <a:gd name="connsiteY3494" fmla="*/ 1093986 h 9444169"/>
              <a:gd name="connsiteX3495" fmla="*/ 1290560 w 23037085"/>
              <a:gd name="connsiteY3495" fmla="*/ 1093986 h 9444169"/>
              <a:gd name="connsiteX3496" fmla="*/ 1270849 w 23037085"/>
              <a:gd name="connsiteY3496" fmla="*/ 1083057 h 9444169"/>
              <a:gd name="connsiteX3497" fmla="*/ 1267447 w 23037085"/>
              <a:gd name="connsiteY3497" fmla="*/ 1069843 h 9444169"/>
              <a:gd name="connsiteX3498" fmla="*/ 1240219 w 23037085"/>
              <a:gd name="connsiteY3498" fmla="*/ 1043417 h 9444169"/>
              <a:gd name="connsiteX3499" fmla="*/ 1241497 w 23037085"/>
              <a:gd name="connsiteY3499" fmla="*/ 1032250 h 9444169"/>
              <a:gd name="connsiteX3500" fmla="*/ 1232479 w 23037085"/>
              <a:gd name="connsiteY3500" fmla="*/ 1038851 h 9444169"/>
              <a:gd name="connsiteX3501" fmla="*/ 1205561 w 23037085"/>
              <a:gd name="connsiteY3501" fmla="*/ 1038851 h 9444169"/>
              <a:gd name="connsiteX3502" fmla="*/ 1198056 w 23037085"/>
              <a:gd name="connsiteY3502" fmla="*/ 1033068 h 9444169"/>
              <a:gd name="connsiteX3503" fmla="*/ 1198063 w 23037085"/>
              <a:gd name="connsiteY3503" fmla="*/ 1033086 h 9444169"/>
              <a:gd name="connsiteX3504" fmla="*/ 1008381 w 23037085"/>
              <a:gd name="connsiteY3504" fmla="*/ 1059512 h 9444169"/>
              <a:gd name="connsiteX3505" fmla="*/ 872129 w 23037085"/>
              <a:gd name="connsiteY3505" fmla="*/ 1112366 h 9444169"/>
              <a:gd name="connsiteX3506" fmla="*/ 845414 w 23037085"/>
              <a:gd name="connsiteY3506" fmla="*/ 1112366 h 9444169"/>
              <a:gd name="connsiteX3507" fmla="*/ 872129 w 23037085"/>
              <a:gd name="connsiteY3507" fmla="*/ 1085939 h 9444169"/>
              <a:gd name="connsiteX3508" fmla="*/ 1171344 w 23037085"/>
              <a:gd name="connsiteY3508" fmla="*/ 980229 h 9444169"/>
              <a:gd name="connsiteX3509" fmla="*/ 1178202 w 23037085"/>
              <a:gd name="connsiteY3509" fmla="*/ 988709 h 9444169"/>
              <a:gd name="connsiteX3510" fmla="*/ 1178643 w 23037085"/>
              <a:gd name="connsiteY3510" fmla="*/ 987011 h 9444169"/>
              <a:gd name="connsiteX3511" fmla="*/ 1504353 w 23037085"/>
              <a:gd name="connsiteY3511" fmla="*/ 906663 h 9444169"/>
              <a:gd name="connsiteX3512" fmla="*/ 1477435 w 23037085"/>
              <a:gd name="connsiteY3512" fmla="*/ 919624 h 9444169"/>
              <a:gd name="connsiteX3513" fmla="*/ 1462528 w 23037085"/>
              <a:gd name="connsiteY3513" fmla="*/ 926798 h 9444169"/>
              <a:gd name="connsiteX3514" fmla="*/ 1515217 w 23037085"/>
              <a:gd name="connsiteY3514" fmla="*/ 908638 h 9444169"/>
              <a:gd name="connsiteX3515" fmla="*/ 1542445 w 23037085"/>
              <a:gd name="connsiteY3515" fmla="*/ 882208 h 9444169"/>
              <a:gd name="connsiteX3516" fmla="*/ 1547142 w 23037085"/>
              <a:gd name="connsiteY3516" fmla="*/ 886354 h 9444169"/>
              <a:gd name="connsiteX3517" fmla="*/ 1546584 w 23037085"/>
              <a:gd name="connsiteY3517" fmla="*/ 876941 h 9444169"/>
              <a:gd name="connsiteX3518" fmla="*/ 1824707 w 23037085"/>
              <a:gd name="connsiteY3518" fmla="*/ 771920 h 9444169"/>
              <a:gd name="connsiteX3519" fmla="*/ 1831230 w 23037085"/>
              <a:gd name="connsiteY3519" fmla="*/ 773027 h 9444169"/>
              <a:gd name="connsiteX3520" fmla="*/ 1825632 w 23037085"/>
              <a:gd name="connsiteY3520" fmla="*/ 761120 h 9444169"/>
              <a:gd name="connsiteX3521" fmla="*/ 2215462 w 23037085"/>
              <a:gd name="connsiteY3521" fmla="*/ 622259 h 9444169"/>
              <a:gd name="connsiteX3522" fmla="*/ 2301170 w 23037085"/>
              <a:gd name="connsiteY3522" fmla="*/ 595028 h 9444169"/>
              <a:gd name="connsiteX3523" fmla="*/ 2328817 w 23037085"/>
              <a:gd name="connsiteY3523" fmla="*/ 595028 h 9444169"/>
              <a:gd name="connsiteX3524" fmla="*/ 2469820 w 23037085"/>
              <a:gd name="connsiteY3524" fmla="*/ 513345 h 9444169"/>
              <a:gd name="connsiteX3525" fmla="*/ 2608054 w 23037085"/>
              <a:gd name="connsiteY3525" fmla="*/ 483395 h 9444169"/>
              <a:gd name="connsiteX3526" fmla="*/ 3000649 w 23037085"/>
              <a:gd name="connsiteY3526" fmla="*/ 401709 h 9444169"/>
              <a:gd name="connsiteX3527" fmla="*/ 3448532 w 23037085"/>
              <a:gd name="connsiteY3527" fmla="*/ 292799 h 9444169"/>
              <a:gd name="connsiteX3528" fmla="*/ 3547663 w 23037085"/>
              <a:gd name="connsiteY3528" fmla="*/ 282906 h 9444169"/>
              <a:gd name="connsiteX3529" fmla="*/ 3455421 w 23037085"/>
              <a:gd name="connsiteY3529" fmla="*/ 279906 h 9444169"/>
              <a:gd name="connsiteX3530" fmla="*/ 3953514 w 23037085"/>
              <a:gd name="connsiteY3530" fmla="*/ 197984 h 9444169"/>
              <a:gd name="connsiteX3531" fmla="*/ 4312025 w 23037085"/>
              <a:gd name="connsiteY3531" fmla="*/ 171554 h 9444169"/>
              <a:gd name="connsiteX3532" fmla="*/ 4324900 w 23037085"/>
              <a:gd name="connsiteY3532" fmla="*/ 190686 h 9444169"/>
              <a:gd name="connsiteX3533" fmla="*/ 4328472 w 23037085"/>
              <a:gd name="connsiteY3533" fmla="*/ 171148 h 9444169"/>
              <a:gd name="connsiteX3534" fmla="*/ 4721516 w 23037085"/>
              <a:gd name="connsiteY3534" fmla="*/ 118451 h 9444169"/>
              <a:gd name="connsiteX3535" fmla="*/ 5114563 w 23037085"/>
              <a:gd name="connsiteY3535" fmla="*/ 92099 h 9444169"/>
              <a:gd name="connsiteX3536" fmla="*/ 5449522 w 23037085"/>
              <a:gd name="connsiteY3536" fmla="*/ 92099 h 9444169"/>
              <a:gd name="connsiteX3537" fmla="*/ 5983533 w 23037085"/>
              <a:gd name="connsiteY3537" fmla="*/ 65750 h 9444169"/>
              <a:gd name="connsiteX3538" fmla="*/ 6542739 w 23037085"/>
              <a:gd name="connsiteY3538" fmla="*/ 36765 h 9444169"/>
              <a:gd name="connsiteX3539" fmla="*/ 6570461 w 23037085"/>
              <a:gd name="connsiteY3539" fmla="*/ 36765 h 9444169"/>
              <a:gd name="connsiteX3540" fmla="*/ 6542739 w 23037085"/>
              <a:gd name="connsiteY3540" fmla="*/ 65750 h 9444169"/>
              <a:gd name="connsiteX3541" fmla="*/ 6515027 w 23037085"/>
              <a:gd name="connsiteY3541" fmla="*/ 65750 h 9444169"/>
              <a:gd name="connsiteX3542" fmla="*/ 6570461 w 23037085"/>
              <a:gd name="connsiteY3542" fmla="*/ 92099 h 9444169"/>
              <a:gd name="connsiteX3543" fmla="*/ 6594151 w 23037085"/>
              <a:gd name="connsiteY3543" fmla="*/ 92099 h 9444169"/>
              <a:gd name="connsiteX3544" fmla="*/ 6628457 w 23037085"/>
              <a:gd name="connsiteY3544" fmla="*/ 84722 h 9444169"/>
              <a:gd name="connsiteX3545" fmla="*/ 6935038 w 23037085"/>
              <a:gd name="connsiteY3545" fmla="*/ 84722 h 9444169"/>
              <a:gd name="connsiteX3546" fmla="*/ 7354818 w 23037085"/>
              <a:gd name="connsiteY3546" fmla="*/ 84722 h 9444169"/>
              <a:gd name="connsiteX3547" fmla="*/ 7606222 w 23037085"/>
              <a:gd name="connsiteY3547" fmla="*/ 84722 h 9444169"/>
              <a:gd name="connsiteX3548" fmla="*/ 7625638 w 23037085"/>
              <a:gd name="connsiteY3548" fmla="*/ 84722 h 9444169"/>
              <a:gd name="connsiteX3549" fmla="*/ 7621300 w 23037085"/>
              <a:gd name="connsiteY3549" fmla="*/ 84309 h 9444169"/>
              <a:gd name="connsiteX3550" fmla="*/ 7802648 w 23037085"/>
              <a:gd name="connsiteY3550" fmla="*/ 84309 h 9444169"/>
              <a:gd name="connsiteX3551" fmla="*/ 7798409 w 23037085"/>
              <a:gd name="connsiteY3551" fmla="*/ 84722 h 9444169"/>
              <a:gd name="connsiteX3552" fmla="*/ 7802375 w 23037085"/>
              <a:gd name="connsiteY3552" fmla="*/ 84722 h 9444169"/>
              <a:gd name="connsiteX3553" fmla="*/ 7915647 w 23037085"/>
              <a:gd name="connsiteY3553" fmla="*/ 84722 h 9444169"/>
              <a:gd name="connsiteX3554" fmla="*/ 7978337 w 23037085"/>
              <a:gd name="connsiteY3554" fmla="*/ 84722 h 9444169"/>
              <a:gd name="connsiteX3555" fmla="*/ 7926768 w 23037085"/>
              <a:gd name="connsiteY3555" fmla="*/ 81391 h 9444169"/>
              <a:gd name="connsiteX3556" fmla="*/ 7841633 w 23037085"/>
              <a:gd name="connsiteY3556" fmla="*/ 55135 h 9444169"/>
              <a:gd name="connsiteX3557" fmla="*/ 7481860 w 23037085"/>
              <a:gd name="connsiteY3557" fmla="*/ 55135 h 9444169"/>
              <a:gd name="connsiteX3558" fmla="*/ 7231944 w 23037085"/>
              <a:gd name="connsiteY3558" fmla="*/ 55135 h 9444169"/>
              <a:gd name="connsiteX3559" fmla="*/ 7204478 w 23037085"/>
              <a:gd name="connsiteY3559" fmla="*/ 26256 h 9444169"/>
              <a:gd name="connsiteX3560" fmla="*/ 7231944 w 23037085"/>
              <a:gd name="connsiteY3560" fmla="*/ 0 h 944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Lst>
            <a:rect l="l" t="t" r="r" b="b"/>
            <a:pathLst>
              <a:path w="23037085" h="9444169">
                <a:moveTo>
                  <a:pt x="16255758" y="9272341"/>
                </a:moveTo>
                <a:lnTo>
                  <a:pt x="16276398" y="9275829"/>
                </a:lnTo>
                <a:lnTo>
                  <a:pt x="16271246" y="9272850"/>
                </a:lnTo>
                <a:close/>
                <a:moveTo>
                  <a:pt x="15070328" y="9151221"/>
                </a:moveTo>
                <a:cubicBezTo>
                  <a:pt x="15093666" y="9151221"/>
                  <a:pt x="15093666" y="9151221"/>
                  <a:pt x="15117004" y="9151221"/>
                </a:cubicBezTo>
                <a:lnTo>
                  <a:pt x="15117004" y="9162360"/>
                </a:lnTo>
                <a:cubicBezTo>
                  <a:pt x="15093666" y="9162360"/>
                  <a:pt x="15093666" y="9162360"/>
                  <a:pt x="15070328" y="9162360"/>
                </a:cubicBezTo>
                <a:cubicBezTo>
                  <a:pt x="15070328" y="9162360"/>
                  <a:pt x="15070328" y="9162360"/>
                  <a:pt x="15070328" y="9151221"/>
                </a:cubicBezTo>
                <a:close/>
                <a:moveTo>
                  <a:pt x="14445446" y="9089955"/>
                </a:moveTo>
                <a:cubicBezTo>
                  <a:pt x="14456586" y="9089955"/>
                  <a:pt x="14456586" y="9089955"/>
                  <a:pt x="14456586" y="9101093"/>
                </a:cubicBezTo>
                <a:cubicBezTo>
                  <a:pt x="14456586" y="9101093"/>
                  <a:pt x="14456586" y="9101093"/>
                  <a:pt x="14445446" y="9101093"/>
                </a:cubicBezTo>
                <a:cubicBezTo>
                  <a:pt x="14445446" y="9089955"/>
                  <a:pt x="14445446" y="9089955"/>
                  <a:pt x="14445446" y="9089955"/>
                </a:cubicBezTo>
                <a:close/>
                <a:moveTo>
                  <a:pt x="16755944" y="9058499"/>
                </a:moveTo>
                <a:lnTo>
                  <a:pt x="16756448" y="9059030"/>
                </a:lnTo>
                <a:lnTo>
                  <a:pt x="16758626" y="9059353"/>
                </a:lnTo>
                <a:close/>
                <a:moveTo>
                  <a:pt x="18853984" y="9012713"/>
                </a:moveTo>
                <a:lnTo>
                  <a:pt x="18862058" y="9015265"/>
                </a:lnTo>
                <a:lnTo>
                  <a:pt x="18862986" y="9012713"/>
                </a:lnTo>
                <a:close/>
                <a:moveTo>
                  <a:pt x="21471232" y="9011685"/>
                </a:moveTo>
                <a:lnTo>
                  <a:pt x="21472190" y="9029361"/>
                </a:lnTo>
                <a:lnTo>
                  <a:pt x="21481962" y="9021453"/>
                </a:lnTo>
                <a:lnTo>
                  <a:pt x="21483104" y="9013614"/>
                </a:lnTo>
                <a:lnTo>
                  <a:pt x="21478460" y="9015325"/>
                </a:lnTo>
                <a:lnTo>
                  <a:pt x="21480598" y="9013062"/>
                </a:lnTo>
                <a:close/>
                <a:moveTo>
                  <a:pt x="21584492" y="8988781"/>
                </a:moveTo>
                <a:lnTo>
                  <a:pt x="21584172" y="8988898"/>
                </a:lnTo>
                <a:lnTo>
                  <a:pt x="21581784" y="8989080"/>
                </a:lnTo>
                <a:lnTo>
                  <a:pt x="21584122" y="8992087"/>
                </a:lnTo>
                <a:lnTo>
                  <a:pt x="21584122" y="8991728"/>
                </a:lnTo>
                <a:close/>
                <a:moveTo>
                  <a:pt x="21229604" y="8847227"/>
                </a:moveTo>
                <a:lnTo>
                  <a:pt x="21219814" y="8850739"/>
                </a:lnTo>
                <a:cubicBezTo>
                  <a:pt x="21219814" y="8905600"/>
                  <a:pt x="21192088" y="8933030"/>
                  <a:pt x="21133872" y="8933030"/>
                </a:cubicBezTo>
                <a:cubicBezTo>
                  <a:pt x="21022982" y="8960461"/>
                  <a:pt x="20912090" y="8987895"/>
                  <a:pt x="20770706" y="8960461"/>
                </a:cubicBezTo>
                <a:lnTo>
                  <a:pt x="20698914" y="8924006"/>
                </a:lnTo>
                <a:lnTo>
                  <a:pt x="20687586" y="8918255"/>
                </a:lnTo>
                <a:lnTo>
                  <a:pt x="20623554" y="8930450"/>
                </a:lnTo>
                <a:cubicBezTo>
                  <a:pt x="20512592" y="8957795"/>
                  <a:pt x="20426596" y="8957795"/>
                  <a:pt x="20315636" y="8957795"/>
                </a:cubicBezTo>
                <a:cubicBezTo>
                  <a:pt x="20260152" y="8985140"/>
                  <a:pt x="20201896" y="8957795"/>
                  <a:pt x="20174156" y="8985140"/>
                </a:cubicBezTo>
                <a:lnTo>
                  <a:pt x="20160928" y="8989621"/>
                </a:lnTo>
                <a:lnTo>
                  <a:pt x="20183112" y="8994827"/>
                </a:lnTo>
                <a:cubicBezTo>
                  <a:pt x="20212110" y="8994827"/>
                  <a:pt x="20240416" y="9001304"/>
                  <a:pt x="20264924" y="9011026"/>
                </a:cubicBezTo>
                <a:lnTo>
                  <a:pt x="20269522" y="9013799"/>
                </a:lnTo>
                <a:lnTo>
                  <a:pt x="20317476" y="9025240"/>
                </a:lnTo>
                <a:lnTo>
                  <a:pt x="20345212" y="9025240"/>
                </a:lnTo>
                <a:lnTo>
                  <a:pt x="20342432" y="9054656"/>
                </a:lnTo>
                <a:lnTo>
                  <a:pt x="20343748" y="9054656"/>
                </a:lnTo>
                <a:lnTo>
                  <a:pt x="20351906" y="9061435"/>
                </a:lnTo>
                <a:lnTo>
                  <a:pt x="20354218" y="9054677"/>
                </a:lnTo>
                <a:cubicBezTo>
                  <a:pt x="20409232" y="9054677"/>
                  <a:pt x="20436738" y="9054677"/>
                  <a:pt x="20466994" y="9083190"/>
                </a:cubicBezTo>
                <a:lnTo>
                  <a:pt x="20593684" y="9112958"/>
                </a:lnTo>
                <a:lnTo>
                  <a:pt x="20627198" y="9106015"/>
                </a:lnTo>
                <a:cubicBezTo>
                  <a:pt x="20715046" y="9085382"/>
                  <a:pt x="20806344" y="9065087"/>
                  <a:pt x="20904564" y="9079969"/>
                </a:cubicBezTo>
                <a:cubicBezTo>
                  <a:pt x="20959898" y="9079969"/>
                  <a:pt x="21015232" y="9023140"/>
                  <a:pt x="21070566" y="8996080"/>
                </a:cubicBezTo>
                <a:cubicBezTo>
                  <a:pt x="21098234" y="8996080"/>
                  <a:pt x="21098234" y="8969020"/>
                  <a:pt x="21125900" y="8969020"/>
                </a:cubicBezTo>
                <a:cubicBezTo>
                  <a:pt x="21168786" y="8969020"/>
                  <a:pt x="21210978" y="8969020"/>
                  <a:pt x="21252824" y="8975785"/>
                </a:cubicBezTo>
                <a:lnTo>
                  <a:pt x="21280142" y="8986148"/>
                </a:lnTo>
                <a:lnTo>
                  <a:pt x="21339332" y="8983671"/>
                </a:lnTo>
                <a:cubicBezTo>
                  <a:pt x="21363378" y="8980368"/>
                  <a:pt x="21383990" y="8973763"/>
                  <a:pt x="21397732" y="8960550"/>
                </a:cubicBezTo>
                <a:lnTo>
                  <a:pt x="21383976" y="8940710"/>
                </a:lnTo>
                <a:lnTo>
                  <a:pt x="21306572" y="8936984"/>
                </a:lnTo>
                <a:cubicBezTo>
                  <a:pt x="21279092" y="8936984"/>
                  <a:pt x="21224130" y="8909611"/>
                  <a:pt x="21224130" y="8882237"/>
                </a:cubicBezTo>
                <a:close/>
                <a:moveTo>
                  <a:pt x="13354960" y="8833579"/>
                </a:moveTo>
                <a:cubicBezTo>
                  <a:pt x="13378866" y="8833579"/>
                  <a:pt x="13378866" y="8833579"/>
                  <a:pt x="13378866" y="8833579"/>
                </a:cubicBezTo>
                <a:cubicBezTo>
                  <a:pt x="13402774" y="8833579"/>
                  <a:pt x="13426682" y="8833579"/>
                  <a:pt x="13450588" y="8833579"/>
                </a:cubicBezTo>
                <a:cubicBezTo>
                  <a:pt x="13450588" y="8856042"/>
                  <a:pt x="13450588" y="8856042"/>
                  <a:pt x="13450588" y="8856042"/>
                </a:cubicBezTo>
                <a:cubicBezTo>
                  <a:pt x="13426682" y="8856042"/>
                  <a:pt x="13402774" y="8856042"/>
                  <a:pt x="13354960" y="8856042"/>
                </a:cubicBezTo>
                <a:lnTo>
                  <a:pt x="13354960" y="8836387"/>
                </a:lnTo>
                <a:close/>
                <a:moveTo>
                  <a:pt x="8803812" y="8790080"/>
                </a:moveTo>
                <a:cubicBezTo>
                  <a:pt x="8808538" y="8788513"/>
                  <a:pt x="8808538" y="8794779"/>
                  <a:pt x="8808538" y="8794779"/>
                </a:cubicBezTo>
                <a:cubicBezTo>
                  <a:pt x="8797336" y="8794779"/>
                  <a:pt x="8797336" y="8794779"/>
                  <a:pt x="8797336" y="8794779"/>
                </a:cubicBezTo>
                <a:cubicBezTo>
                  <a:pt x="8800137" y="8791994"/>
                  <a:pt x="8802237" y="8790602"/>
                  <a:pt x="8803812" y="8790080"/>
                </a:cubicBezTo>
                <a:close/>
                <a:moveTo>
                  <a:pt x="14173608" y="8771754"/>
                </a:moveTo>
                <a:lnTo>
                  <a:pt x="14173178" y="8773772"/>
                </a:lnTo>
                <a:lnTo>
                  <a:pt x="14175886" y="8773754"/>
                </a:lnTo>
                <a:lnTo>
                  <a:pt x="14175886" y="8771989"/>
                </a:lnTo>
                <a:close/>
                <a:moveTo>
                  <a:pt x="18264794" y="8763647"/>
                </a:moveTo>
                <a:lnTo>
                  <a:pt x="18270606" y="8765120"/>
                </a:lnTo>
                <a:lnTo>
                  <a:pt x="18265596" y="8763647"/>
                </a:lnTo>
                <a:close/>
                <a:moveTo>
                  <a:pt x="13864864" y="8701142"/>
                </a:moveTo>
                <a:lnTo>
                  <a:pt x="13866870" y="8714772"/>
                </a:lnTo>
                <a:lnTo>
                  <a:pt x="13878226" y="8716263"/>
                </a:lnTo>
                <a:lnTo>
                  <a:pt x="13878226" y="8706936"/>
                </a:lnTo>
                <a:close/>
                <a:moveTo>
                  <a:pt x="18185254" y="8662780"/>
                </a:moveTo>
                <a:lnTo>
                  <a:pt x="18185618" y="8663854"/>
                </a:lnTo>
                <a:lnTo>
                  <a:pt x="18186162" y="8662808"/>
                </a:lnTo>
                <a:close/>
                <a:moveTo>
                  <a:pt x="21237002" y="8623613"/>
                </a:moveTo>
                <a:lnTo>
                  <a:pt x="21240742" y="8628940"/>
                </a:lnTo>
                <a:lnTo>
                  <a:pt x="21247536" y="8628545"/>
                </a:lnTo>
                <a:close/>
                <a:moveTo>
                  <a:pt x="6825627" y="8576531"/>
                </a:moveTo>
                <a:lnTo>
                  <a:pt x="6851284" y="8576531"/>
                </a:lnTo>
                <a:cubicBezTo>
                  <a:pt x="6877021" y="8576531"/>
                  <a:pt x="6877021" y="8576531"/>
                  <a:pt x="6877021" y="8576531"/>
                </a:cubicBezTo>
                <a:cubicBezTo>
                  <a:pt x="6902751" y="8576531"/>
                  <a:pt x="6928477" y="8576531"/>
                  <a:pt x="6956683" y="8601801"/>
                </a:cubicBezTo>
                <a:cubicBezTo>
                  <a:pt x="6956683" y="8624773"/>
                  <a:pt x="6928477" y="8647748"/>
                  <a:pt x="6877021" y="8624773"/>
                </a:cubicBezTo>
                <a:cubicBezTo>
                  <a:pt x="6851284" y="8624773"/>
                  <a:pt x="6825627" y="8624773"/>
                  <a:pt x="6799933" y="8624773"/>
                </a:cubicBezTo>
                <a:cubicBezTo>
                  <a:pt x="6799933" y="8601801"/>
                  <a:pt x="6799933" y="8601801"/>
                  <a:pt x="6799933" y="8601801"/>
                </a:cubicBezTo>
                <a:cubicBezTo>
                  <a:pt x="6799933" y="8601801"/>
                  <a:pt x="6799933" y="8576531"/>
                  <a:pt x="6825627" y="8576531"/>
                </a:cubicBezTo>
                <a:close/>
                <a:moveTo>
                  <a:pt x="13258946" y="8528563"/>
                </a:moveTo>
                <a:lnTo>
                  <a:pt x="13270276" y="8530172"/>
                </a:lnTo>
                <a:lnTo>
                  <a:pt x="13282234" y="8530172"/>
                </a:lnTo>
                <a:close/>
                <a:moveTo>
                  <a:pt x="19976400" y="8509656"/>
                </a:moveTo>
                <a:lnTo>
                  <a:pt x="19954836" y="8512969"/>
                </a:lnTo>
                <a:lnTo>
                  <a:pt x="19897282" y="8510724"/>
                </a:lnTo>
                <a:lnTo>
                  <a:pt x="19825492" y="8512841"/>
                </a:lnTo>
                <a:lnTo>
                  <a:pt x="19852254" y="8515983"/>
                </a:lnTo>
                <a:lnTo>
                  <a:pt x="19978638" y="8518389"/>
                </a:lnTo>
                <a:lnTo>
                  <a:pt x="19997378" y="8516777"/>
                </a:lnTo>
                <a:lnTo>
                  <a:pt x="20012844" y="8510435"/>
                </a:lnTo>
                <a:close/>
                <a:moveTo>
                  <a:pt x="20828240" y="8505186"/>
                </a:moveTo>
                <a:lnTo>
                  <a:pt x="20789782" y="8523556"/>
                </a:lnTo>
                <a:lnTo>
                  <a:pt x="20835860" y="8523937"/>
                </a:lnTo>
                <a:lnTo>
                  <a:pt x="20836314" y="8523652"/>
                </a:lnTo>
                <a:lnTo>
                  <a:pt x="20829618" y="8516076"/>
                </a:lnTo>
                <a:close/>
                <a:moveTo>
                  <a:pt x="18636280" y="8490129"/>
                </a:moveTo>
                <a:lnTo>
                  <a:pt x="18633270" y="8498090"/>
                </a:lnTo>
                <a:lnTo>
                  <a:pt x="18634578" y="8498090"/>
                </a:lnTo>
                <a:lnTo>
                  <a:pt x="18664476" y="8495738"/>
                </a:lnTo>
                <a:close/>
                <a:moveTo>
                  <a:pt x="18693528" y="8476097"/>
                </a:moveTo>
                <a:lnTo>
                  <a:pt x="18734798" y="8483083"/>
                </a:lnTo>
                <a:lnTo>
                  <a:pt x="18703848" y="8477062"/>
                </a:lnTo>
                <a:close/>
                <a:moveTo>
                  <a:pt x="6437177" y="8404610"/>
                </a:moveTo>
                <a:lnTo>
                  <a:pt x="6425245" y="8409696"/>
                </a:lnTo>
                <a:lnTo>
                  <a:pt x="6429355" y="8409696"/>
                </a:lnTo>
                <a:lnTo>
                  <a:pt x="6432565" y="8410902"/>
                </a:lnTo>
                <a:close/>
                <a:moveTo>
                  <a:pt x="7418946" y="8404219"/>
                </a:moveTo>
                <a:lnTo>
                  <a:pt x="7417865" y="8405614"/>
                </a:lnTo>
                <a:lnTo>
                  <a:pt x="7419085" y="8405301"/>
                </a:lnTo>
                <a:close/>
                <a:moveTo>
                  <a:pt x="4165979" y="8391554"/>
                </a:moveTo>
                <a:cubicBezTo>
                  <a:pt x="4189694" y="8391554"/>
                  <a:pt x="4213406" y="8391554"/>
                  <a:pt x="4213406" y="8391554"/>
                </a:cubicBezTo>
                <a:lnTo>
                  <a:pt x="4237121" y="8402692"/>
                </a:lnTo>
                <a:cubicBezTo>
                  <a:pt x="4213406" y="8402692"/>
                  <a:pt x="4189694" y="8402692"/>
                  <a:pt x="4165979" y="8391554"/>
                </a:cubicBezTo>
                <a:close/>
                <a:moveTo>
                  <a:pt x="4073902" y="8294810"/>
                </a:moveTo>
                <a:lnTo>
                  <a:pt x="4139755" y="8302049"/>
                </a:lnTo>
                <a:lnTo>
                  <a:pt x="4154730" y="8302049"/>
                </a:lnTo>
                <a:lnTo>
                  <a:pt x="4154079" y="8301533"/>
                </a:lnTo>
                <a:cubicBezTo>
                  <a:pt x="4129410" y="8294810"/>
                  <a:pt x="4101314" y="8294810"/>
                  <a:pt x="4073902" y="8294810"/>
                </a:cubicBezTo>
                <a:close/>
                <a:moveTo>
                  <a:pt x="13826578" y="8266668"/>
                </a:moveTo>
                <a:lnTo>
                  <a:pt x="13826578" y="8289697"/>
                </a:lnTo>
                <a:lnTo>
                  <a:pt x="13817750" y="8297839"/>
                </a:lnTo>
                <a:lnTo>
                  <a:pt x="13819874" y="8297839"/>
                </a:lnTo>
                <a:lnTo>
                  <a:pt x="13833304" y="8298184"/>
                </a:lnTo>
                <a:lnTo>
                  <a:pt x="13832814" y="8297519"/>
                </a:lnTo>
                <a:lnTo>
                  <a:pt x="13832814" y="8270604"/>
                </a:lnTo>
                <a:lnTo>
                  <a:pt x="13834066" y="8270668"/>
                </a:lnTo>
                <a:lnTo>
                  <a:pt x="13827750" y="8266704"/>
                </a:lnTo>
                <a:close/>
                <a:moveTo>
                  <a:pt x="18016270" y="8237526"/>
                </a:moveTo>
                <a:lnTo>
                  <a:pt x="18013148" y="8255949"/>
                </a:lnTo>
                <a:lnTo>
                  <a:pt x="18022536" y="8247789"/>
                </a:lnTo>
                <a:lnTo>
                  <a:pt x="18028728" y="8248234"/>
                </a:lnTo>
                <a:lnTo>
                  <a:pt x="18019740" y="8238081"/>
                </a:lnTo>
                <a:close/>
                <a:moveTo>
                  <a:pt x="6200798" y="8236501"/>
                </a:moveTo>
                <a:lnTo>
                  <a:pt x="6193186" y="8240451"/>
                </a:lnTo>
                <a:lnTo>
                  <a:pt x="6194553" y="8240213"/>
                </a:lnTo>
                <a:lnTo>
                  <a:pt x="6195748" y="8242761"/>
                </a:lnTo>
                <a:close/>
                <a:moveTo>
                  <a:pt x="14772846" y="8209249"/>
                </a:moveTo>
                <a:lnTo>
                  <a:pt x="14798860" y="8213501"/>
                </a:lnTo>
                <a:lnTo>
                  <a:pt x="14985568" y="8213501"/>
                </a:lnTo>
                <a:lnTo>
                  <a:pt x="14969460" y="8209249"/>
                </a:lnTo>
                <a:cubicBezTo>
                  <a:pt x="14914076" y="8209249"/>
                  <a:pt x="14831000" y="8209249"/>
                  <a:pt x="14772846" y="8209249"/>
                </a:cubicBezTo>
                <a:close/>
                <a:moveTo>
                  <a:pt x="14993216" y="8206096"/>
                </a:moveTo>
                <a:lnTo>
                  <a:pt x="14997154" y="8209249"/>
                </a:lnTo>
                <a:lnTo>
                  <a:pt x="14986282" y="8213501"/>
                </a:lnTo>
                <a:lnTo>
                  <a:pt x="15006418" y="8213501"/>
                </a:lnTo>
                <a:lnTo>
                  <a:pt x="15011652" y="8211327"/>
                </a:lnTo>
                <a:close/>
                <a:moveTo>
                  <a:pt x="3691847" y="8204519"/>
                </a:moveTo>
                <a:lnTo>
                  <a:pt x="3646737" y="8217843"/>
                </a:lnTo>
                <a:lnTo>
                  <a:pt x="3660694" y="8218640"/>
                </a:lnTo>
                <a:lnTo>
                  <a:pt x="3662061" y="8217484"/>
                </a:lnTo>
                <a:lnTo>
                  <a:pt x="3695303" y="8204939"/>
                </a:lnTo>
                <a:close/>
                <a:moveTo>
                  <a:pt x="17986426" y="8181893"/>
                </a:moveTo>
                <a:lnTo>
                  <a:pt x="17984850" y="8185163"/>
                </a:lnTo>
                <a:lnTo>
                  <a:pt x="17992188" y="8184808"/>
                </a:lnTo>
                <a:lnTo>
                  <a:pt x="17992960" y="8184808"/>
                </a:lnTo>
                <a:lnTo>
                  <a:pt x="17988908" y="8182864"/>
                </a:lnTo>
                <a:close/>
                <a:moveTo>
                  <a:pt x="5061974" y="8173298"/>
                </a:moveTo>
                <a:cubicBezTo>
                  <a:pt x="5037005" y="8176702"/>
                  <a:pt x="5015506" y="8190316"/>
                  <a:pt x="5001636" y="8231160"/>
                </a:cubicBezTo>
                <a:cubicBezTo>
                  <a:pt x="4987764" y="8244772"/>
                  <a:pt x="4966960" y="8251579"/>
                  <a:pt x="4946151" y="8254982"/>
                </a:cubicBezTo>
                <a:lnTo>
                  <a:pt x="4901223" y="8257740"/>
                </a:lnTo>
                <a:lnTo>
                  <a:pt x="5134011" y="8285640"/>
                </a:lnTo>
                <a:cubicBezTo>
                  <a:pt x="5312270" y="8302049"/>
                  <a:pt x="5494013" y="8315177"/>
                  <a:pt x="5675047" y="8328305"/>
                </a:cubicBezTo>
                <a:cubicBezTo>
                  <a:pt x="5745524" y="8341433"/>
                  <a:pt x="5816000" y="8355216"/>
                  <a:pt x="5886121" y="8362109"/>
                </a:cubicBezTo>
                <a:lnTo>
                  <a:pt x="6081208" y="8355059"/>
                </a:lnTo>
                <a:lnTo>
                  <a:pt x="6082166" y="8346757"/>
                </a:lnTo>
                <a:cubicBezTo>
                  <a:pt x="6027383" y="8346757"/>
                  <a:pt x="5999928" y="8346757"/>
                  <a:pt x="5972590" y="8346757"/>
                </a:cubicBezTo>
                <a:cubicBezTo>
                  <a:pt x="5915124" y="8320120"/>
                  <a:pt x="5887711" y="8320120"/>
                  <a:pt x="5860302" y="8320120"/>
                </a:cubicBezTo>
                <a:lnTo>
                  <a:pt x="5859064" y="8260359"/>
                </a:lnTo>
                <a:lnTo>
                  <a:pt x="5760420" y="8224352"/>
                </a:lnTo>
                <a:lnTo>
                  <a:pt x="5692720" y="8216113"/>
                </a:lnTo>
                <a:lnTo>
                  <a:pt x="5683215" y="8216904"/>
                </a:lnTo>
                <a:cubicBezTo>
                  <a:pt x="5672563" y="8220234"/>
                  <a:pt x="5665692" y="8226893"/>
                  <a:pt x="5665692" y="8240213"/>
                </a:cubicBezTo>
                <a:lnTo>
                  <a:pt x="5665692" y="8266850"/>
                </a:lnTo>
                <a:cubicBezTo>
                  <a:pt x="5556087" y="8266850"/>
                  <a:pt x="5471127" y="8266850"/>
                  <a:pt x="5388900" y="8266850"/>
                </a:cubicBezTo>
                <a:cubicBezTo>
                  <a:pt x="5361491" y="8240213"/>
                  <a:pt x="5334085" y="8240213"/>
                  <a:pt x="5361491" y="8213576"/>
                </a:cubicBezTo>
                <a:lnTo>
                  <a:pt x="5381099" y="8200868"/>
                </a:lnTo>
                <a:lnTo>
                  <a:pt x="5357437" y="8200526"/>
                </a:lnTo>
                <a:lnTo>
                  <a:pt x="5319374" y="8196295"/>
                </a:lnTo>
                <a:lnTo>
                  <a:pt x="5306669" y="8213576"/>
                </a:lnTo>
                <a:cubicBezTo>
                  <a:pt x="5249129" y="8266850"/>
                  <a:pt x="5194307" y="8240213"/>
                  <a:pt x="5112083" y="8240213"/>
                </a:cubicBezTo>
                <a:cubicBezTo>
                  <a:pt x="5112083" y="8240213"/>
                  <a:pt x="5084674" y="8240213"/>
                  <a:pt x="5084674" y="8213576"/>
                </a:cubicBezTo>
                <a:lnTo>
                  <a:pt x="5112083" y="8213576"/>
                </a:lnTo>
                <a:cubicBezTo>
                  <a:pt x="5112083" y="8186939"/>
                  <a:pt x="5139492" y="8213576"/>
                  <a:pt x="5139492" y="8186939"/>
                </a:cubicBezTo>
                <a:lnTo>
                  <a:pt x="5147054" y="8177139"/>
                </a:lnTo>
                <a:lnTo>
                  <a:pt x="5143122" y="8176701"/>
                </a:lnTo>
                <a:cubicBezTo>
                  <a:pt x="5115378" y="8176701"/>
                  <a:pt x="5086942" y="8169894"/>
                  <a:pt x="5061974" y="8173298"/>
                </a:cubicBezTo>
                <a:close/>
                <a:moveTo>
                  <a:pt x="3903896" y="8112701"/>
                </a:moveTo>
                <a:lnTo>
                  <a:pt x="3908279" y="8146021"/>
                </a:lnTo>
                <a:lnTo>
                  <a:pt x="3831562" y="8165498"/>
                </a:lnTo>
                <a:lnTo>
                  <a:pt x="3852596" y="8175815"/>
                </a:lnTo>
                <a:lnTo>
                  <a:pt x="3906700" y="8160331"/>
                </a:lnTo>
                <a:cubicBezTo>
                  <a:pt x="4046493" y="8187228"/>
                  <a:pt x="4213694" y="8160331"/>
                  <a:pt x="4350747" y="8214121"/>
                </a:cubicBezTo>
                <a:lnTo>
                  <a:pt x="4368117" y="8270184"/>
                </a:lnTo>
                <a:lnTo>
                  <a:pt x="4423305" y="8234359"/>
                </a:lnTo>
                <a:cubicBezTo>
                  <a:pt x="4444461" y="8225743"/>
                  <a:pt x="4465536" y="8221640"/>
                  <a:pt x="4486611" y="8220000"/>
                </a:cubicBezTo>
                <a:lnTo>
                  <a:pt x="4591051" y="8222697"/>
                </a:lnTo>
                <a:lnTo>
                  <a:pt x="4402073" y="8200185"/>
                </a:lnTo>
                <a:cubicBezTo>
                  <a:pt x="4244292" y="8182829"/>
                  <a:pt x="4090329" y="8161726"/>
                  <a:pt x="3936362" y="8119523"/>
                </a:cubicBezTo>
                <a:close/>
                <a:moveTo>
                  <a:pt x="2235257" y="8064676"/>
                </a:moveTo>
                <a:cubicBezTo>
                  <a:pt x="2240350" y="8065873"/>
                  <a:pt x="2246000" y="8069064"/>
                  <a:pt x="2253533" y="8075445"/>
                </a:cubicBezTo>
                <a:cubicBezTo>
                  <a:pt x="2445293" y="8100972"/>
                  <a:pt x="2667185" y="8100972"/>
                  <a:pt x="2861682" y="8154577"/>
                </a:cubicBezTo>
                <a:cubicBezTo>
                  <a:pt x="2946603" y="8180103"/>
                  <a:pt x="3001389" y="8180103"/>
                  <a:pt x="3083570" y="8180103"/>
                </a:cubicBezTo>
                <a:cubicBezTo>
                  <a:pt x="3168495" y="8180103"/>
                  <a:pt x="3223281" y="8180103"/>
                  <a:pt x="3305462" y="8231156"/>
                </a:cubicBezTo>
                <a:cubicBezTo>
                  <a:pt x="3250675" y="8231156"/>
                  <a:pt x="3195886" y="8231156"/>
                  <a:pt x="3138359" y="8231156"/>
                </a:cubicBezTo>
                <a:cubicBezTo>
                  <a:pt x="3110965" y="8231156"/>
                  <a:pt x="3056179" y="8231156"/>
                  <a:pt x="3028784" y="8205630"/>
                </a:cubicBezTo>
                <a:cubicBezTo>
                  <a:pt x="2919208" y="8180103"/>
                  <a:pt x="2834287" y="8180103"/>
                  <a:pt x="2724711" y="8180103"/>
                </a:cubicBezTo>
                <a:cubicBezTo>
                  <a:pt x="2667185" y="8180103"/>
                  <a:pt x="2612395" y="8180103"/>
                  <a:pt x="2557609" y="8154577"/>
                </a:cubicBezTo>
                <a:cubicBezTo>
                  <a:pt x="2502820" y="8126498"/>
                  <a:pt x="2417898" y="8100972"/>
                  <a:pt x="2363112" y="8126498"/>
                </a:cubicBezTo>
                <a:cubicBezTo>
                  <a:pt x="2308323" y="8126498"/>
                  <a:pt x="2253533" y="8100972"/>
                  <a:pt x="2168580" y="8075445"/>
                </a:cubicBezTo>
                <a:cubicBezTo>
                  <a:pt x="2209696" y="8075445"/>
                  <a:pt x="2219975" y="8061087"/>
                  <a:pt x="2235257" y="8064676"/>
                </a:cubicBezTo>
                <a:close/>
                <a:moveTo>
                  <a:pt x="12372176" y="8064118"/>
                </a:moveTo>
                <a:lnTo>
                  <a:pt x="12377724" y="8073936"/>
                </a:lnTo>
                <a:lnTo>
                  <a:pt x="12391336" y="8071961"/>
                </a:lnTo>
                <a:lnTo>
                  <a:pt x="12402300" y="8065744"/>
                </a:lnTo>
                <a:lnTo>
                  <a:pt x="12393812" y="8065744"/>
                </a:lnTo>
                <a:close/>
                <a:moveTo>
                  <a:pt x="7197290" y="8055310"/>
                </a:moveTo>
                <a:lnTo>
                  <a:pt x="7194738" y="8058435"/>
                </a:lnTo>
                <a:lnTo>
                  <a:pt x="7197518" y="8058566"/>
                </a:lnTo>
                <a:close/>
                <a:moveTo>
                  <a:pt x="7698709" y="8050449"/>
                </a:moveTo>
                <a:lnTo>
                  <a:pt x="7690570" y="8058598"/>
                </a:lnTo>
                <a:lnTo>
                  <a:pt x="7702158" y="8065509"/>
                </a:lnTo>
                <a:lnTo>
                  <a:pt x="7720403" y="8069904"/>
                </a:lnTo>
                <a:lnTo>
                  <a:pt x="7706598" y="8062246"/>
                </a:lnTo>
                <a:lnTo>
                  <a:pt x="7723100" y="8062246"/>
                </a:lnTo>
                <a:lnTo>
                  <a:pt x="7702158" y="8052118"/>
                </a:lnTo>
                <a:close/>
                <a:moveTo>
                  <a:pt x="11598238" y="8032983"/>
                </a:moveTo>
                <a:lnTo>
                  <a:pt x="11626580" y="8042193"/>
                </a:lnTo>
                <a:lnTo>
                  <a:pt x="11624074" y="8032983"/>
                </a:lnTo>
                <a:close/>
                <a:moveTo>
                  <a:pt x="13816888" y="8025275"/>
                </a:moveTo>
                <a:lnTo>
                  <a:pt x="13815462" y="8040175"/>
                </a:lnTo>
                <a:lnTo>
                  <a:pt x="13820244" y="8040054"/>
                </a:lnTo>
                <a:lnTo>
                  <a:pt x="13828576" y="8039577"/>
                </a:lnTo>
                <a:lnTo>
                  <a:pt x="13826942" y="8033364"/>
                </a:lnTo>
                <a:close/>
                <a:moveTo>
                  <a:pt x="10292890" y="8010104"/>
                </a:moveTo>
                <a:lnTo>
                  <a:pt x="10291899" y="8010200"/>
                </a:lnTo>
                <a:lnTo>
                  <a:pt x="10293034" y="8010634"/>
                </a:lnTo>
                <a:close/>
                <a:moveTo>
                  <a:pt x="13951180" y="8003175"/>
                </a:moveTo>
                <a:lnTo>
                  <a:pt x="13940150" y="8007108"/>
                </a:lnTo>
                <a:lnTo>
                  <a:pt x="13935700" y="8010709"/>
                </a:lnTo>
                <a:lnTo>
                  <a:pt x="13943086" y="8012190"/>
                </a:lnTo>
                <a:lnTo>
                  <a:pt x="13952182" y="8014300"/>
                </a:lnTo>
                <a:close/>
                <a:moveTo>
                  <a:pt x="14105844" y="7954617"/>
                </a:moveTo>
                <a:lnTo>
                  <a:pt x="14107990" y="7956378"/>
                </a:lnTo>
                <a:lnTo>
                  <a:pt x="14110378" y="7956290"/>
                </a:lnTo>
                <a:close/>
                <a:moveTo>
                  <a:pt x="6297552" y="7938638"/>
                </a:moveTo>
                <a:lnTo>
                  <a:pt x="6279435" y="7953766"/>
                </a:lnTo>
                <a:lnTo>
                  <a:pt x="6262627" y="7963393"/>
                </a:lnTo>
                <a:lnTo>
                  <a:pt x="6289940" y="7963393"/>
                </a:lnTo>
                <a:lnTo>
                  <a:pt x="6311826" y="7963393"/>
                </a:lnTo>
                <a:lnTo>
                  <a:pt x="6297552" y="7951154"/>
                </a:lnTo>
                <a:close/>
                <a:moveTo>
                  <a:pt x="6293499" y="7923760"/>
                </a:moveTo>
                <a:lnTo>
                  <a:pt x="6297552" y="7931524"/>
                </a:lnTo>
                <a:lnTo>
                  <a:pt x="6297552" y="7924535"/>
                </a:lnTo>
                <a:close/>
                <a:moveTo>
                  <a:pt x="19656568" y="7919204"/>
                </a:moveTo>
                <a:lnTo>
                  <a:pt x="19729060" y="7927532"/>
                </a:lnTo>
                <a:lnTo>
                  <a:pt x="19677208" y="7919628"/>
                </a:lnTo>
                <a:close/>
                <a:moveTo>
                  <a:pt x="10944275" y="7893536"/>
                </a:moveTo>
                <a:lnTo>
                  <a:pt x="10934762" y="7896571"/>
                </a:lnTo>
                <a:lnTo>
                  <a:pt x="10936346" y="7897140"/>
                </a:lnTo>
                <a:lnTo>
                  <a:pt x="10944287" y="7897400"/>
                </a:lnTo>
                <a:close/>
                <a:moveTo>
                  <a:pt x="18917382" y="7887685"/>
                </a:moveTo>
                <a:lnTo>
                  <a:pt x="18919884" y="7888546"/>
                </a:lnTo>
                <a:lnTo>
                  <a:pt x="18919780" y="7887731"/>
                </a:lnTo>
                <a:close/>
                <a:moveTo>
                  <a:pt x="3973556" y="7864176"/>
                </a:moveTo>
                <a:lnTo>
                  <a:pt x="4015660" y="7869703"/>
                </a:lnTo>
                <a:lnTo>
                  <a:pt x="3985586" y="7864176"/>
                </a:lnTo>
                <a:close/>
                <a:moveTo>
                  <a:pt x="19245396" y="7834881"/>
                </a:moveTo>
                <a:lnTo>
                  <a:pt x="19254024" y="7843080"/>
                </a:lnTo>
                <a:lnTo>
                  <a:pt x="19271300" y="7843080"/>
                </a:lnTo>
                <a:lnTo>
                  <a:pt x="19260732" y="7840269"/>
                </a:lnTo>
                <a:lnTo>
                  <a:pt x="19262332" y="7836144"/>
                </a:lnTo>
                <a:lnTo>
                  <a:pt x="19258860" y="7834881"/>
                </a:lnTo>
                <a:close/>
                <a:moveTo>
                  <a:pt x="19177578" y="7834881"/>
                </a:moveTo>
                <a:lnTo>
                  <a:pt x="19173928" y="7844155"/>
                </a:lnTo>
                <a:lnTo>
                  <a:pt x="19180960" y="7844155"/>
                </a:lnTo>
                <a:lnTo>
                  <a:pt x="19186860" y="7834881"/>
                </a:lnTo>
                <a:close/>
                <a:moveTo>
                  <a:pt x="11035872" y="7834009"/>
                </a:moveTo>
                <a:lnTo>
                  <a:pt x="11037005" y="7839970"/>
                </a:lnTo>
                <a:lnTo>
                  <a:pt x="11042150" y="7834009"/>
                </a:lnTo>
                <a:close/>
                <a:moveTo>
                  <a:pt x="9137558" y="7813988"/>
                </a:moveTo>
                <a:lnTo>
                  <a:pt x="9140138" y="7821493"/>
                </a:lnTo>
                <a:lnTo>
                  <a:pt x="9147898" y="7821493"/>
                </a:lnTo>
                <a:close/>
                <a:moveTo>
                  <a:pt x="3684395" y="7808219"/>
                </a:moveTo>
                <a:lnTo>
                  <a:pt x="3739196" y="7817258"/>
                </a:lnTo>
                <a:lnTo>
                  <a:pt x="3744527" y="7817390"/>
                </a:lnTo>
                <a:lnTo>
                  <a:pt x="3736826" y="7815472"/>
                </a:lnTo>
                <a:close/>
                <a:moveTo>
                  <a:pt x="3565421" y="7791760"/>
                </a:moveTo>
                <a:lnTo>
                  <a:pt x="3555507" y="7795298"/>
                </a:lnTo>
                <a:lnTo>
                  <a:pt x="3595008" y="7801038"/>
                </a:lnTo>
                <a:lnTo>
                  <a:pt x="3610229" y="7797960"/>
                </a:lnTo>
                <a:close/>
                <a:moveTo>
                  <a:pt x="17421142" y="7753127"/>
                </a:moveTo>
                <a:lnTo>
                  <a:pt x="17424024" y="7756027"/>
                </a:lnTo>
                <a:lnTo>
                  <a:pt x="17437548" y="7760682"/>
                </a:lnTo>
                <a:lnTo>
                  <a:pt x="17438228" y="7753301"/>
                </a:lnTo>
                <a:lnTo>
                  <a:pt x="17422442" y="7753301"/>
                </a:lnTo>
                <a:close/>
                <a:moveTo>
                  <a:pt x="18984864" y="7701875"/>
                </a:moveTo>
                <a:lnTo>
                  <a:pt x="18987292" y="7703455"/>
                </a:lnTo>
                <a:lnTo>
                  <a:pt x="18993922" y="7704814"/>
                </a:lnTo>
                <a:lnTo>
                  <a:pt x="18994392" y="7701875"/>
                </a:lnTo>
                <a:close/>
                <a:moveTo>
                  <a:pt x="18945456" y="7701875"/>
                </a:moveTo>
                <a:lnTo>
                  <a:pt x="18954416" y="7703693"/>
                </a:lnTo>
                <a:lnTo>
                  <a:pt x="18954416" y="7703455"/>
                </a:lnTo>
                <a:lnTo>
                  <a:pt x="18954416" y="7701875"/>
                </a:lnTo>
                <a:close/>
                <a:moveTo>
                  <a:pt x="17483572" y="7695761"/>
                </a:moveTo>
                <a:lnTo>
                  <a:pt x="17473440" y="7700028"/>
                </a:lnTo>
                <a:lnTo>
                  <a:pt x="17477776" y="7700028"/>
                </a:lnTo>
                <a:lnTo>
                  <a:pt x="17488334" y="7704213"/>
                </a:lnTo>
                <a:lnTo>
                  <a:pt x="17488910" y="7695857"/>
                </a:lnTo>
                <a:close/>
                <a:moveTo>
                  <a:pt x="13290092" y="7666651"/>
                </a:moveTo>
                <a:lnTo>
                  <a:pt x="13322344" y="7679790"/>
                </a:lnTo>
                <a:lnTo>
                  <a:pt x="13332350" y="7680508"/>
                </a:lnTo>
                <a:lnTo>
                  <a:pt x="13296870" y="7666889"/>
                </a:lnTo>
                <a:close/>
                <a:moveTo>
                  <a:pt x="20064616" y="7647405"/>
                </a:moveTo>
                <a:lnTo>
                  <a:pt x="20066566" y="7649939"/>
                </a:lnTo>
                <a:lnTo>
                  <a:pt x="20085114" y="7648267"/>
                </a:lnTo>
                <a:lnTo>
                  <a:pt x="20072864" y="7647405"/>
                </a:lnTo>
                <a:close/>
                <a:moveTo>
                  <a:pt x="2185956" y="7610098"/>
                </a:moveTo>
                <a:cubicBezTo>
                  <a:pt x="2202330" y="7611210"/>
                  <a:pt x="2220880" y="7614174"/>
                  <a:pt x="2241238" y="7620103"/>
                </a:cubicBezTo>
                <a:cubicBezTo>
                  <a:pt x="2267493" y="7620103"/>
                  <a:pt x="2293750" y="7620103"/>
                  <a:pt x="2293750" y="7620103"/>
                </a:cubicBezTo>
                <a:cubicBezTo>
                  <a:pt x="2320009" y="7620103"/>
                  <a:pt x="2346265" y="7643818"/>
                  <a:pt x="2398781" y="7643818"/>
                </a:cubicBezTo>
                <a:cubicBezTo>
                  <a:pt x="2346265" y="7667533"/>
                  <a:pt x="2293750" y="7667533"/>
                  <a:pt x="2241238" y="7667533"/>
                </a:cubicBezTo>
                <a:cubicBezTo>
                  <a:pt x="2186060" y="7667533"/>
                  <a:pt x="2133551" y="7667533"/>
                  <a:pt x="2107296" y="7620103"/>
                </a:cubicBezTo>
                <a:cubicBezTo>
                  <a:pt x="2107296" y="7620103"/>
                  <a:pt x="2136833" y="7606763"/>
                  <a:pt x="2185956" y="7610098"/>
                </a:cubicBezTo>
                <a:close/>
                <a:moveTo>
                  <a:pt x="2842533" y="7595132"/>
                </a:moveTo>
                <a:cubicBezTo>
                  <a:pt x="2842533" y="7595132"/>
                  <a:pt x="2865874" y="7595132"/>
                  <a:pt x="2889212" y="7595132"/>
                </a:cubicBezTo>
                <a:cubicBezTo>
                  <a:pt x="2865874" y="7606270"/>
                  <a:pt x="2842533" y="7595132"/>
                  <a:pt x="2842533" y="7595132"/>
                </a:cubicBezTo>
                <a:close/>
                <a:moveTo>
                  <a:pt x="5547070" y="7590174"/>
                </a:moveTo>
                <a:lnTo>
                  <a:pt x="5566795" y="7593776"/>
                </a:lnTo>
                <a:lnTo>
                  <a:pt x="5555223" y="7590174"/>
                </a:lnTo>
                <a:close/>
                <a:moveTo>
                  <a:pt x="11044900" y="7586847"/>
                </a:moveTo>
                <a:lnTo>
                  <a:pt x="11044900" y="7589110"/>
                </a:lnTo>
                <a:lnTo>
                  <a:pt x="11044900" y="7590815"/>
                </a:lnTo>
                <a:lnTo>
                  <a:pt x="11051371" y="7587295"/>
                </a:lnTo>
                <a:lnTo>
                  <a:pt x="11051480" y="7586847"/>
                </a:lnTo>
                <a:lnTo>
                  <a:pt x="11046876" y="7586847"/>
                </a:lnTo>
                <a:close/>
                <a:moveTo>
                  <a:pt x="5471194" y="7557171"/>
                </a:moveTo>
                <a:lnTo>
                  <a:pt x="5469298" y="7563748"/>
                </a:lnTo>
                <a:lnTo>
                  <a:pt x="5480209" y="7564064"/>
                </a:lnTo>
                <a:close/>
                <a:moveTo>
                  <a:pt x="15001168" y="7531154"/>
                </a:moveTo>
                <a:lnTo>
                  <a:pt x="15166560" y="7537577"/>
                </a:lnTo>
                <a:lnTo>
                  <a:pt x="15166178" y="7537548"/>
                </a:lnTo>
                <a:lnTo>
                  <a:pt x="15092616" y="7532360"/>
                </a:lnTo>
                <a:lnTo>
                  <a:pt x="15003390" y="7531178"/>
                </a:lnTo>
                <a:close/>
                <a:moveTo>
                  <a:pt x="7067700" y="7531139"/>
                </a:moveTo>
                <a:lnTo>
                  <a:pt x="7072572" y="7533908"/>
                </a:lnTo>
                <a:lnTo>
                  <a:pt x="7087155" y="7546940"/>
                </a:lnTo>
                <a:lnTo>
                  <a:pt x="7088394" y="7541104"/>
                </a:lnTo>
                <a:lnTo>
                  <a:pt x="7107906" y="7533250"/>
                </a:lnTo>
                <a:lnTo>
                  <a:pt x="7077447" y="7531734"/>
                </a:lnTo>
                <a:close/>
                <a:moveTo>
                  <a:pt x="21401916" y="7495997"/>
                </a:moveTo>
                <a:lnTo>
                  <a:pt x="21409400" y="7500598"/>
                </a:lnTo>
                <a:lnTo>
                  <a:pt x="21409400" y="7495997"/>
                </a:lnTo>
                <a:close/>
                <a:moveTo>
                  <a:pt x="4691246" y="7476858"/>
                </a:moveTo>
                <a:lnTo>
                  <a:pt x="4686645" y="7479360"/>
                </a:lnTo>
                <a:lnTo>
                  <a:pt x="4691367" y="7478545"/>
                </a:lnTo>
                <a:close/>
                <a:moveTo>
                  <a:pt x="3366351" y="7415649"/>
                </a:moveTo>
                <a:lnTo>
                  <a:pt x="3367166" y="7427257"/>
                </a:lnTo>
                <a:lnTo>
                  <a:pt x="3415721" y="7417706"/>
                </a:lnTo>
                <a:lnTo>
                  <a:pt x="3371401" y="7415649"/>
                </a:lnTo>
                <a:close/>
                <a:moveTo>
                  <a:pt x="10562306" y="7391339"/>
                </a:moveTo>
                <a:lnTo>
                  <a:pt x="10541708" y="7394492"/>
                </a:lnTo>
                <a:lnTo>
                  <a:pt x="10571850" y="7393507"/>
                </a:lnTo>
                <a:close/>
                <a:moveTo>
                  <a:pt x="12695018" y="7334322"/>
                </a:moveTo>
                <a:lnTo>
                  <a:pt x="12685728" y="7339781"/>
                </a:lnTo>
                <a:lnTo>
                  <a:pt x="12702540" y="7341058"/>
                </a:lnTo>
                <a:lnTo>
                  <a:pt x="12698266" y="7337472"/>
                </a:lnTo>
                <a:lnTo>
                  <a:pt x="12698266" y="7334504"/>
                </a:lnTo>
                <a:close/>
                <a:moveTo>
                  <a:pt x="3721153" y="7312998"/>
                </a:moveTo>
                <a:lnTo>
                  <a:pt x="3718612" y="7332600"/>
                </a:lnTo>
                <a:lnTo>
                  <a:pt x="3711245" y="7340710"/>
                </a:lnTo>
                <a:lnTo>
                  <a:pt x="3734448" y="7341948"/>
                </a:lnTo>
                <a:lnTo>
                  <a:pt x="3736893" y="7332418"/>
                </a:lnTo>
                <a:lnTo>
                  <a:pt x="3736893" y="7325575"/>
                </a:lnTo>
                <a:lnTo>
                  <a:pt x="3742231" y="7325575"/>
                </a:lnTo>
                <a:lnTo>
                  <a:pt x="3740794" y="7324856"/>
                </a:lnTo>
                <a:cubicBezTo>
                  <a:pt x="3737399" y="7318927"/>
                  <a:pt x="3737399" y="7312998"/>
                  <a:pt x="3737399" y="7312998"/>
                </a:cubicBezTo>
                <a:close/>
                <a:moveTo>
                  <a:pt x="2862650" y="7299956"/>
                </a:moveTo>
                <a:lnTo>
                  <a:pt x="2783853" y="7301639"/>
                </a:lnTo>
                <a:lnTo>
                  <a:pt x="2876347" y="7313376"/>
                </a:lnTo>
                <a:lnTo>
                  <a:pt x="2855973" y="7313376"/>
                </a:lnTo>
                <a:lnTo>
                  <a:pt x="2885899" y="7317557"/>
                </a:lnTo>
                <a:lnTo>
                  <a:pt x="2905788" y="7323924"/>
                </a:lnTo>
                <a:lnTo>
                  <a:pt x="2910244" y="7318290"/>
                </a:lnTo>
                <a:cubicBezTo>
                  <a:pt x="2921336" y="7314913"/>
                  <a:pt x="2935891" y="7314913"/>
                  <a:pt x="2949756" y="7314913"/>
                </a:cubicBezTo>
                <a:cubicBezTo>
                  <a:pt x="2977485" y="7314913"/>
                  <a:pt x="3005214" y="7314913"/>
                  <a:pt x="3005214" y="7314913"/>
                </a:cubicBezTo>
                <a:lnTo>
                  <a:pt x="3043681" y="7314913"/>
                </a:lnTo>
                <a:lnTo>
                  <a:pt x="2894333" y="7299956"/>
                </a:lnTo>
                <a:lnTo>
                  <a:pt x="2891376" y="7299956"/>
                </a:lnTo>
                <a:close/>
                <a:moveTo>
                  <a:pt x="4894202" y="7275450"/>
                </a:moveTo>
                <a:lnTo>
                  <a:pt x="4893981" y="7275750"/>
                </a:lnTo>
                <a:lnTo>
                  <a:pt x="4893793" y="7279287"/>
                </a:lnTo>
                <a:lnTo>
                  <a:pt x="4838932" y="7329543"/>
                </a:lnTo>
                <a:cubicBezTo>
                  <a:pt x="4795576" y="7309368"/>
                  <a:pt x="4722808" y="7334585"/>
                  <a:pt x="4677517" y="7303066"/>
                </a:cubicBezTo>
                <a:lnTo>
                  <a:pt x="4670211" y="7291422"/>
                </a:lnTo>
                <a:lnTo>
                  <a:pt x="4635260" y="7303233"/>
                </a:lnTo>
                <a:cubicBezTo>
                  <a:pt x="4621400" y="7303233"/>
                  <a:pt x="4599923" y="7303233"/>
                  <a:pt x="4578443" y="7299888"/>
                </a:cubicBezTo>
                <a:lnTo>
                  <a:pt x="4564457" y="7294130"/>
                </a:lnTo>
                <a:lnTo>
                  <a:pt x="4496357" y="7299956"/>
                </a:lnTo>
                <a:cubicBezTo>
                  <a:pt x="4413280" y="7299956"/>
                  <a:pt x="4327430" y="7299956"/>
                  <a:pt x="4244349" y="7299956"/>
                </a:cubicBezTo>
                <a:cubicBezTo>
                  <a:pt x="4130809" y="7299956"/>
                  <a:pt x="4047728" y="7274429"/>
                  <a:pt x="3936956" y="7299956"/>
                </a:cubicBezTo>
                <a:lnTo>
                  <a:pt x="3927846" y="7299845"/>
                </a:lnTo>
                <a:lnTo>
                  <a:pt x="3930212" y="7312998"/>
                </a:lnTo>
                <a:lnTo>
                  <a:pt x="3926319" y="7314735"/>
                </a:lnTo>
                <a:lnTo>
                  <a:pt x="4366497" y="7317586"/>
                </a:lnTo>
                <a:cubicBezTo>
                  <a:pt x="4520034" y="7320575"/>
                  <a:pt x="4673566" y="7326553"/>
                  <a:pt x="4827786" y="7338507"/>
                </a:cubicBezTo>
                <a:lnTo>
                  <a:pt x="4851479" y="7343649"/>
                </a:lnTo>
                <a:lnTo>
                  <a:pt x="4895234" y="7343133"/>
                </a:lnTo>
                <a:lnTo>
                  <a:pt x="4890540" y="7339628"/>
                </a:lnTo>
                <a:lnTo>
                  <a:pt x="4893793" y="7279287"/>
                </a:lnTo>
                <a:lnTo>
                  <a:pt x="4893981" y="7279112"/>
                </a:lnTo>
                <a:lnTo>
                  <a:pt x="4900643" y="7275450"/>
                </a:lnTo>
                <a:close/>
                <a:moveTo>
                  <a:pt x="20171740" y="7192230"/>
                </a:moveTo>
                <a:lnTo>
                  <a:pt x="20181526" y="7196422"/>
                </a:lnTo>
                <a:lnTo>
                  <a:pt x="20186938" y="7192230"/>
                </a:lnTo>
                <a:lnTo>
                  <a:pt x="20173258" y="7192230"/>
                </a:lnTo>
                <a:close/>
                <a:moveTo>
                  <a:pt x="5411569" y="7189672"/>
                </a:moveTo>
                <a:lnTo>
                  <a:pt x="5412170" y="7189960"/>
                </a:lnTo>
                <a:lnTo>
                  <a:pt x="5412501" y="7189679"/>
                </a:lnTo>
                <a:close/>
                <a:moveTo>
                  <a:pt x="5409953" y="7188889"/>
                </a:moveTo>
                <a:lnTo>
                  <a:pt x="5410963" y="7189380"/>
                </a:lnTo>
                <a:lnTo>
                  <a:pt x="5412533" y="7189661"/>
                </a:lnTo>
                <a:lnTo>
                  <a:pt x="5413237" y="7189063"/>
                </a:lnTo>
                <a:close/>
                <a:moveTo>
                  <a:pt x="5173758" y="7187287"/>
                </a:moveTo>
                <a:lnTo>
                  <a:pt x="5195125" y="7193561"/>
                </a:lnTo>
                <a:cubicBezTo>
                  <a:pt x="5222848" y="7193561"/>
                  <a:pt x="5281054" y="7193561"/>
                  <a:pt x="5308758" y="7193561"/>
                </a:cubicBezTo>
                <a:lnTo>
                  <a:pt x="5309868" y="7188650"/>
                </a:lnTo>
                <a:close/>
                <a:moveTo>
                  <a:pt x="20593054" y="7166675"/>
                </a:moveTo>
                <a:lnTo>
                  <a:pt x="20588338" y="7180892"/>
                </a:lnTo>
                <a:lnTo>
                  <a:pt x="20605736" y="7170117"/>
                </a:lnTo>
                <a:lnTo>
                  <a:pt x="20607772" y="7168102"/>
                </a:lnTo>
                <a:close/>
                <a:moveTo>
                  <a:pt x="5317082" y="7156640"/>
                </a:moveTo>
                <a:lnTo>
                  <a:pt x="5314310" y="7168946"/>
                </a:lnTo>
                <a:lnTo>
                  <a:pt x="5313316" y="7168985"/>
                </a:lnTo>
                <a:lnTo>
                  <a:pt x="5314246" y="7169230"/>
                </a:lnTo>
                <a:lnTo>
                  <a:pt x="5314310" y="7168946"/>
                </a:lnTo>
                <a:lnTo>
                  <a:pt x="5328712" y="7168330"/>
                </a:lnTo>
                <a:lnTo>
                  <a:pt x="5319288" y="7163256"/>
                </a:lnTo>
                <a:close/>
                <a:moveTo>
                  <a:pt x="4542920" y="7136120"/>
                </a:moveTo>
                <a:lnTo>
                  <a:pt x="4542920" y="7136530"/>
                </a:lnTo>
                <a:lnTo>
                  <a:pt x="4542920" y="7154562"/>
                </a:lnTo>
                <a:lnTo>
                  <a:pt x="4544002" y="7154038"/>
                </a:lnTo>
                <a:lnTo>
                  <a:pt x="4564425" y="7154038"/>
                </a:lnTo>
                <a:lnTo>
                  <a:pt x="4579638" y="7149498"/>
                </a:lnTo>
                <a:lnTo>
                  <a:pt x="4592300" y="7153440"/>
                </a:lnTo>
                <a:cubicBezTo>
                  <a:pt x="4606852" y="7153440"/>
                  <a:pt x="4621400" y="7153440"/>
                  <a:pt x="4635260" y="7166814"/>
                </a:cubicBezTo>
                <a:cubicBezTo>
                  <a:pt x="4621400" y="7153440"/>
                  <a:pt x="4606852" y="7146754"/>
                  <a:pt x="4588834" y="7146754"/>
                </a:cubicBezTo>
                <a:lnTo>
                  <a:pt x="4579638" y="7149498"/>
                </a:lnTo>
                <a:lnTo>
                  <a:pt x="4549340" y="7140064"/>
                </a:lnTo>
                <a:close/>
                <a:moveTo>
                  <a:pt x="10037568" y="7069726"/>
                </a:moveTo>
                <a:lnTo>
                  <a:pt x="10029997" y="7074626"/>
                </a:lnTo>
                <a:lnTo>
                  <a:pt x="10002472" y="7083363"/>
                </a:lnTo>
                <a:lnTo>
                  <a:pt x="10036502" y="7085619"/>
                </a:lnTo>
                <a:lnTo>
                  <a:pt x="10039718" y="7085662"/>
                </a:lnTo>
                <a:lnTo>
                  <a:pt x="10037964" y="7084559"/>
                </a:lnTo>
                <a:close/>
                <a:moveTo>
                  <a:pt x="21098526" y="7026039"/>
                </a:moveTo>
                <a:lnTo>
                  <a:pt x="21091516" y="7030698"/>
                </a:lnTo>
                <a:lnTo>
                  <a:pt x="21097782" y="7030698"/>
                </a:lnTo>
                <a:close/>
                <a:moveTo>
                  <a:pt x="21216376" y="6991111"/>
                </a:moveTo>
                <a:lnTo>
                  <a:pt x="21216718" y="6991524"/>
                </a:lnTo>
                <a:lnTo>
                  <a:pt x="21217728" y="6991524"/>
                </a:lnTo>
                <a:close/>
                <a:moveTo>
                  <a:pt x="20665594" y="6932375"/>
                </a:moveTo>
                <a:lnTo>
                  <a:pt x="20678938" y="6938592"/>
                </a:lnTo>
                <a:lnTo>
                  <a:pt x="20685266" y="6936698"/>
                </a:lnTo>
                <a:lnTo>
                  <a:pt x="20674042" y="6932375"/>
                </a:lnTo>
                <a:close/>
                <a:moveTo>
                  <a:pt x="20658576" y="6926417"/>
                </a:moveTo>
                <a:lnTo>
                  <a:pt x="20657726" y="6928709"/>
                </a:lnTo>
                <a:lnTo>
                  <a:pt x="20658942" y="6929275"/>
                </a:lnTo>
                <a:lnTo>
                  <a:pt x="20665028" y="6928901"/>
                </a:lnTo>
                <a:close/>
                <a:moveTo>
                  <a:pt x="16193196" y="6907030"/>
                </a:moveTo>
                <a:lnTo>
                  <a:pt x="16171254" y="6919414"/>
                </a:lnTo>
                <a:lnTo>
                  <a:pt x="16165072" y="6919083"/>
                </a:lnTo>
                <a:lnTo>
                  <a:pt x="16148292" y="6919083"/>
                </a:lnTo>
                <a:lnTo>
                  <a:pt x="16167740" y="6921400"/>
                </a:lnTo>
                <a:lnTo>
                  <a:pt x="16171254" y="6919414"/>
                </a:lnTo>
                <a:lnTo>
                  <a:pt x="16235452" y="6922876"/>
                </a:lnTo>
                <a:lnTo>
                  <a:pt x="16208108" y="6914019"/>
                </a:lnTo>
                <a:close/>
                <a:moveTo>
                  <a:pt x="19740348" y="6840535"/>
                </a:moveTo>
                <a:lnTo>
                  <a:pt x="19806620" y="6850500"/>
                </a:lnTo>
                <a:lnTo>
                  <a:pt x="19921656" y="6861008"/>
                </a:lnTo>
                <a:lnTo>
                  <a:pt x="19920596" y="6860165"/>
                </a:lnTo>
                <a:lnTo>
                  <a:pt x="19813084" y="6845781"/>
                </a:lnTo>
                <a:close/>
                <a:moveTo>
                  <a:pt x="21484794" y="6819123"/>
                </a:moveTo>
                <a:lnTo>
                  <a:pt x="21523068" y="6829418"/>
                </a:lnTo>
                <a:lnTo>
                  <a:pt x="21499870" y="6819788"/>
                </a:lnTo>
                <a:close/>
                <a:moveTo>
                  <a:pt x="20597410" y="6797461"/>
                </a:moveTo>
                <a:lnTo>
                  <a:pt x="20598694" y="6798938"/>
                </a:lnTo>
                <a:lnTo>
                  <a:pt x="20599498" y="6797560"/>
                </a:lnTo>
                <a:close/>
                <a:moveTo>
                  <a:pt x="6347744" y="6794144"/>
                </a:moveTo>
                <a:lnTo>
                  <a:pt x="6498682" y="6822738"/>
                </a:lnTo>
                <a:cubicBezTo>
                  <a:pt x="6555170" y="6831169"/>
                  <a:pt x="6611208" y="6836503"/>
                  <a:pt x="6667283" y="6836503"/>
                </a:cubicBezTo>
                <a:cubicBezTo>
                  <a:pt x="6639553" y="6808977"/>
                  <a:pt x="6556429" y="6808977"/>
                  <a:pt x="6500796" y="6808977"/>
                </a:cubicBezTo>
                <a:cubicBezTo>
                  <a:pt x="6486914" y="6808977"/>
                  <a:pt x="6472344" y="6808977"/>
                  <a:pt x="6461224" y="6805190"/>
                </a:cubicBezTo>
                <a:lnTo>
                  <a:pt x="6458174" y="6800874"/>
                </a:lnTo>
                <a:close/>
                <a:moveTo>
                  <a:pt x="3791729" y="6771127"/>
                </a:moveTo>
                <a:lnTo>
                  <a:pt x="3801280" y="6771233"/>
                </a:lnTo>
                <a:lnTo>
                  <a:pt x="3801274" y="6771127"/>
                </a:lnTo>
                <a:close/>
                <a:moveTo>
                  <a:pt x="20615914" y="6761404"/>
                </a:moveTo>
                <a:lnTo>
                  <a:pt x="20625484" y="6764094"/>
                </a:lnTo>
                <a:lnTo>
                  <a:pt x="20627722" y="6762468"/>
                </a:lnTo>
                <a:close/>
                <a:moveTo>
                  <a:pt x="9727600" y="6716871"/>
                </a:moveTo>
                <a:lnTo>
                  <a:pt x="9715394" y="6720170"/>
                </a:lnTo>
                <a:lnTo>
                  <a:pt x="9786008" y="6730276"/>
                </a:lnTo>
                <a:lnTo>
                  <a:pt x="9810130" y="6726127"/>
                </a:lnTo>
                <a:close/>
                <a:moveTo>
                  <a:pt x="22388226" y="6713942"/>
                </a:moveTo>
                <a:lnTo>
                  <a:pt x="22383768" y="6718077"/>
                </a:lnTo>
                <a:lnTo>
                  <a:pt x="22404992" y="6719127"/>
                </a:lnTo>
                <a:close/>
                <a:moveTo>
                  <a:pt x="4491521" y="6666031"/>
                </a:moveTo>
                <a:lnTo>
                  <a:pt x="4503126" y="6667768"/>
                </a:lnTo>
                <a:lnTo>
                  <a:pt x="4507336" y="6667085"/>
                </a:lnTo>
                <a:close/>
                <a:moveTo>
                  <a:pt x="4415650" y="6660971"/>
                </a:moveTo>
                <a:lnTo>
                  <a:pt x="4409284" y="6662014"/>
                </a:lnTo>
                <a:lnTo>
                  <a:pt x="4431284" y="6662014"/>
                </a:lnTo>
                <a:close/>
                <a:moveTo>
                  <a:pt x="10273875" y="6629412"/>
                </a:moveTo>
                <a:lnTo>
                  <a:pt x="10274468" y="6635544"/>
                </a:lnTo>
                <a:lnTo>
                  <a:pt x="10295036" y="6629412"/>
                </a:lnTo>
                <a:close/>
                <a:moveTo>
                  <a:pt x="16303540" y="6607935"/>
                </a:moveTo>
                <a:lnTo>
                  <a:pt x="16298132" y="6612523"/>
                </a:lnTo>
                <a:lnTo>
                  <a:pt x="16302776" y="6622181"/>
                </a:lnTo>
                <a:close/>
                <a:moveTo>
                  <a:pt x="13588242" y="6607832"/>
                </a:moveTo>
                <a:lnTo>
                  <a:pt x="13473940" y="6612056"/>
                </a:lnTo>
                <a:lnTo>
                  <a:pt x="13496386" y="6628579"/>
                </a:lnTo>
                <a:cubicBezTo>
                  <a:pt x="13521318" y="6631992"/>
                  <a:pt x="13549708" y="6625170"/>
                  <a:pt x="13577414" y="6611519"/>
                </a:cubicBezTo>
                <a:close/>
                <a:moveTo>
                  <a:pt x="2066509" y="6606281"/>
                </a:moveTo>
                <a:lnTo>
                  <a:pt x="2065174" y="6609064"/>
                </a:lnTo>
                <a:lnTo>
                  <a:pt x="2075036" y="6609064"/>
                </a:lnTo>
                <a:close/>
                <a:moveTo>
                  <a:pt x="13876162" y="6540292"/>
                </a:moveTo>
                <a:lnTo>
                  <a:pt x="13878090" y="6542683"/>
                </a:lnTo>
                <a:lnTo>
                  <a:pt x="13876916" y="6540292"/>
                </a:lnTo>
                <a:close/>
                <a:moveTo>
                  <a:pt x="15616144" y="6534366"/>
                </a:moveTo>
                <a:lnTo>
                  <a:pt x="15615766" y="6542683"/>
                </a:lnTo>
                <a:lnTo>
                  <a:pt x="15602862" y="6553281"/>
                </a:lnTo>
                <a:lnTo>
                  <a:pt x="15624516" y="6554192"/>
                </a:lnTo>
                <a:lnTo>
                  <a:pt x="15635790" y="6554420"/>
                </a:lnTo>
                <a:lnTo>
                  <a:pt x="15632624" y="6549028"/>
                </a:lnTo>
                <a:close/>
                <a:moveTo>
                  <a:pt x="17035910" y="6524100"/>
                </a:moveTo>
                <a:lnTo>
                  <a:pt x="17037466" y="6524185"/>
                </a:lnTo>
                <a:lnTo>
                  <a:pt x="17037390" y="6524100"/>
                </a:lnTo>
                <a:close/>
                <a:moveTo>
                  <a:pt x="13098338" y="6366634"/>
                </a:moveTo>
                <a:lnTo>
                  <a:pt x="13103808" y="6373773"/>
                </a:lnTo>
                <a:lnTo>
                  <a:pt x="13110758" y="6367805"/>
                </a:lnTo>
                <a:close/>
                <a:moveTo>
                  <a:pt x="12867874" y="6348638"/>
                </a:moveTo>
                <a:lnTo>
                  <a:pt x="12835326" y="6351588"/>
                </a:lnTo>
                <a:lnTo>
                  <a:pt x="13034076" y="6363649"/>
                </a:lnTo>
                <a:lnTo>
                  <a:pt x="13044566" y="6361570"/>
                </a:lnTo>
                <a:lnTo>
                  <a:pt x="12913862" y="6349257"/>
                </a:lnTo>
                <a:close/>
                <a:moveTo>
                  <a:pt x="8536436" y="6318467"/>
                </a:moveTo>
                <a:lnTo>
                  <a:pt x="8449502" y="6328254"/>
                </a:lnTo>
                <a:lnTo>
                  <a:pt x="8626286" y="6330624"/>
                </a:lnTo>
                <a:close/>
                <a:moveTo>
                  <a:pt x="12967034" y="6296678"/>
                </a:moveTo>
                <a:lnTo>
                  <a:pt x="12963904" y="6299364"/>
                </a:lnTo>
                <a:lnTo>
                  <a:pt x="12968678" y="6300361"/>
                </a:lnTo>
                <a:close/>
                <a:moveTo>
                  <a:pt x="13329020" y="6293126"/>
                </a:moveTo>
                <a:lnTo>
                  <a:pt x="13318582" y="6293315"/>
                </a:lnTo>
                <a:lnTo>
                  <a:pt x="13298102" y="6295695"/>
                </a:lnTo>
                <a:lnTo>
                  <a:pt x="13294254" y="6297532"/>
                </a:lnTo>
                <a:lnTo>
                  <a:pt x="13315476" y="6297532"/>
                </a:lnTo>
                <a:lnTo>
                  <a:pt x="13315476" y="6304194"/>
                </a:lnTo>
                <a:lnTo>
                  <a:pt x="13319158" y="6297930"/>
                </a:lnTo>
                <a:lnTo>
                  <a:pt x="13324540" y="6298372"/>
                </a:lnTo>
                <a:close/>
                <a:moveTo>
                  <a:pt x="3925316" y="6279543"/>
                </a:moveTo>
                <a:lnTo>
                  <a:pt x="3927657" y="6286813"/>
                </a:lnTo>
                <a:lnTo>
                  <a:pt x="3881800" y="6313717"/>
                </a:lnTo>
                <a:lnTo>
                  <a:pt x="3936771" y="6304062"/>
                </a:lnTo>
                <a:cubicBezTo>
                  <a:pt x="3936771" y="6304062"/>
                  <a:pt x="3936771" y="6297422"/>
                  <a:pt x="3940237" y="6290781"/>
                </a:cubicBezTo>
                <a:lnTo>
                  <a:pt x="3950122" y="6285375"/>
                </a:lnTo>
                <a:lnTo>
                  <a:pt x="3936212" y="6285375"/>
                </a:lnTo>
                <a:close/>
                <a:moveTo>
                  <a:pt x="15420928" y="6263553"/>
                </a:moveTo>
                <a:lnTo>
                  <a:pt x="15427372" y="6267208"/>
                </a:lnTo>
                <a:lnTo>
                  <a:pt x="15455042" y="6266820"/>
                </a:lnTo>
                <a:lnTo>
                  <a:pt x="15459112" y="6264802"/>
                </a:lnTo>
                <a:close/>
                <a:moveTo>
                  <a:pt x="9478654" y="6260407"/>
                </a:moveTo>
                <a:lnTo>
                  <a:pt x="9476928" y="6260870"/>
                </a:lnTo>
                <a:cubicBezTo>
                  <a:pt x="9476928" y="6260870"/>
                  <a:pt x="9476928" y="6267592"/>
                  <a:pt x="9473484" y="6274318"/>
                </a:cubicBezTo>
                <a:lnTo>
                  <a:pt x="9467781" y="6277500"/>
                </a:lnTo>
                <a:lnTo>
                  <a:pt x="9484782" y="6277500"/>
                </a:lnTo>
                <a:close/>
                <a:moveTo>
                  <a:pt x="9172980" y="6237756"/>
                </a:moveTo>
                <a:lnTo>
                  <a:pt x="9164094" y="6251642"/>
                </a:lnTo>
                <a:lnTo>
                  <a:pt x="9212706" y="6252685"/>
                </a:lnTo>
                <a:lnTo>
                  <a:pt x="9180724" y="6238372"/>
                </a:lnTo>
                <a:close/>
                <a:moveTo>
                  <a:pt x="14276134" y="6219892"/>
                </a:moveTo>
                <a:lnTo>
                  <a:pt x="14742826" y="6234742"/>
                </a:lnTo>
                <a:lnTo>
                  <a:pt x="14922778" y="6247265"/>
                </a:lnTo>
                <a:lnTo>
                  <a:pt x="15053150" y="6251528"/>
                </a:lnTo>
                <a:lnTo>
                  <a:pt x="14943486" y="6241550"/>
                </a:lnTo>
                <a:lnTo>
                  <a:pt x="14813850" y="6237002"/>
                </a:lnTo>
                <a:lnTo>
                  <a:pt x="14742826" y="6234742"/>
                </a:lnTo>
                <a:lnTo>
                  <a:pt x="14608866" y="6225418"/>
                </a:lnTo>
                <a:lnTo>
                  <a:pt x="14503272" y="6222461"/>
                </a:lnTo>
                <a:close/>
                <a:moveTo>
                  <a:pt x="7638364" y="6154572"/>
                </a:moveTo>
                <a:lnTo>
                  <a:pt x="7629051" y="6156372"/>
                </a:lnTo>
                <a:lnTo>
                  <a:pt x="7638364" y="6156372"/>
                </a:lnTo>
                <a:close/>
                <a:moveTo>
                  <a:pt x="1409410" y="6088572"/>
                </a:moveTo>
                <a:lnTo>
                  <a:pt x="1414058" y="6099494"/>
                </a:lnTo>
                <a:lnTo>
                  <a:pt x="1415994" y="6107270"/>
                </a:lnTo>
                <a:lnTo>
                  <a:pt x="1420393" y="6094387"/>
                </a:lnTo>
                <a:close/>
                <a:moveTo>
                  <a:pt x="9345826" y="6069270"/>
                </a:moveTo>
                <a:lnTo>
                  <a:pt x="9345826" y="6091604"/>
                </a:lnTo>
                <a:cubicBezTo>
                  <a:pt x="9345826" y="6095366"/>
                  <a:pt x="9345826" y="6095366"/>
                  <a:pt x="9345826" y="6095366"/>
                </a:cubicBezTo>
                <a:lnTo>
                  <a:pt x="9294396" y="6120227"/>
                </a:lnTo>
                <a:lnTo>
                  <a:pt x="9347324" y="6115294"/>
                </a:lnTo>
                <a:lnTo>
                  <a:pt x="9343410" y="6110060"/>
                </a:lnTo>
                <a:cubicBezTo>
                  <a:pt x="9343410" y="6102875"/>
                  <a:pt x="9350274" y="6095344"/>
                  <a:pt x="9364192" y="6080291"/>
                </a:cubicBezTo>
                <a:lnTo>
                  <a:pt x="9391576" y="6069270"/>
                </a:lnTo>
                <a:lnTo>
                  <a:pt x="9364626" y="6069270"/>
                </a:lnTo>
                <a:close/>
                <a:moveTo>
                  <a:pt x="17341684" y="6053985"/>
                </a:moveTo>
                <a:lnTo>
                  <a:pt x="17340964" y="6055124"/>
                </a:lnTo>
                <a:lnTo>
                  <a:pt x="17342146" y="6056754"/>
                </a:lnTo>
                <a:close/>
                <a:moveTo>
                  <a:pt x="1016947" y="6051331"/>
                </a:moveTo>
                <a:lnTo>
                  <a:pt x="999609" y="6065633"/>
                </a:lnTo>
                <a:lnTo>
                  <a:pt x="999374" y="6065751"/>
                </a:lnTo>
                <a:lnTo>
                  <a:pt x="999374" y="6069907"/>
                </a:lnTo>
                <a:lnTo>
                  <a:pt x="1006983" y="6069907"/>
                </a:lnTo>
                <a:lnTo>
                  <a:pt x="1016947" y="6059900"/>
                </a:lnTo>
                <a:lnTo>
                  <a:pt x="1016947" y="6054484"/>
                </a:lnTo>
                <a:close/>
                <a:moveTo>
                  <a:pt x="698365" y="6051299"/>
                </a:moveTo>
                <a:cubicBezTo>
                  <a:pt x="698365" y="6051299"/>
                  <a:pt x="698365" y="6051299"/>
                  <a:pt x="709504" y="6051299"/>
                </a:cubicBezTo>
                <a:cubicBezTo>
                  <a:pt x="709504" y="6051299"/>
                  <a:pt x="709504" y="6051299"/>
                  <a:pt x="709504" y="6062437"/>
                </a:cubicBezTo>
                <a:cubicBezTo>
                  <a:pt x="698365" y="6051299"/>
                  <a:pt x="698365" y="6051299"/>
                  <a:pt x="698365" y="6051299"/>
                </a:cubicBezTo>
                <a:close/>
                <a:moveTo>
                  <a:pt x="17345160" y="6048476"/>
                </a:moveTo>
                <a:lnTo>
                  <a:pt x="17343410" y="6051249"/>
                </a:lnTo>
                <a:lnTo>
                  <a:pt x="17349228" y="6048761"/>
                </a:lnTo>
                <a:close/>
                <a:moveTo>
                  <a:pt x="14410426" y="6005416"/>
                </a:moveTo>
                <a:lnTo>
                  <a:pt x="14378590" y="6009235"/>
                </a:lnTo>
                <a:lnTo>
                  <a:pt x="14368408" y="6020000"/>
                </a:lnTo>
                <a:lnTo>
                  <a:pt x="14394852" y="6021921"/>
                </a:lnTo>
                <a:lnTo>
                  <a:pt x="14398244" y="6022249"/>
                </a:lnTo>
                <a:close/>
                <a:moveTo>
                  <a:pt x="8891594" y="6004701"/>
                </a:moveTo>
                <a:lnTo>
                  <a:pt x="8879986" y="6008612"/>
                </a:lnTo>
                <a:cubicBezTo>
                  <a:pt x="8879986" y="6008612"/>
                  <a:pt x="8852278" y="6008612"/>
                  <a:pt x="8824552" y="6008612"/>
                </a:cubicBezTo>
                <a:lnTo>
                  <a:pt x="8805515" y="6012018"/>
                </a:lnTo>
                <a:lnTo>
                  <a:pt x="8843460" y="6013427"/>
                </a:lnTo>
                <a:lnTo>
                  <a:pt x="8797624" y="6013427"/>
                </a:lnTo>
                <a:lnTo>
                  <a:pt x="8762652" y="6019687"/>
                </a:lnTo>
                <a:lnTo>
                  <a:pt x="8800173" y="6023925"/>
                </a:lnTo>
                <a:lnTo>
                  <a:pt x="8859947" y="6017434"/>
                </a:lnTo>
                <a:lnTo>
                  <a:pt x="8887676" y="6017434"/>
                </a:lnTo>
                <a:lnTo>
                  <a:pt x="8898830" y="6017434"/>
                </a:lnTo>
                <a:close/>
                <a:moveTo>
                  <a:pt x="1360823" y="5992164"/>
                </a:moveTo>
                <a:lnTo>
                  <a:pt x="1363307" y="5995317"/>
                </a:lnTo>
                <a:lnTo>
                  <a:pt x="1369026" y="5996694"/>
                </a:lnTo>
                <a:close/>
                <a:moveTo>
                  <a:pt x="21244888" y="5983640"/>
                </a:moveTo>
                <a:lnTo>
                  <a:pt x="21244888" y="5987192"/>
                </a:lnTo>
                <a:lnTo>
                  <a:pt x="21253704" y="5987192"/>
                </a:lnTo>
                <a:close/>
                <a:moveTo>
                  <a:pt x="19780404" y="5981164"/>
                </a:moveTo>
                <a:lnTo>
                  <a:pt x="19788820" y="5982594"/>
                </a:lnTo>
                <a:lnTo>
                  <a:pt x="19781496" y="5981189"/>
                </a:lnTo>
                <a:close/>
                <a:moveTo>
                  <a:pt x="21546346" y="5952164"/>
                </a:moveTo>
                <a:lnTo>
                  <a:pt x="21555594" y="5966787"/>
                </a:lnTo>
                <a:lnTo>
                  <a:pt x="21590096" y="5966787"/>
                </a:lnTo>
                <a:lnTo>
                  <a:pt x="21590734" y="5966947"/>
                </a:lnTo>
                <a:lnTo>
                  <a:pt x="21590178" y="5952164"/>
                </a:lnTo>
                <a:lnTo>
                  <a:pt x="21577188" y="5952164"/>
                </a:lnTo>
                <a:close/>
                <a:moveTo>
                  <a:pt x="1323140" y="5948207"/>
                </a:moveTo>
                <a:lnTo>
                  <a:pt x="1314308" y="5949609"/>
                </a:lnTo>
                <a:lnTo>
                  <a:pt x="1308340" y="5949773"/>
                </a:lnTo>
                <a:lnTo>
                  <a:pt x="1308340" y="5955879"/>
                </a:lnTo>
                <a:lnTo>
                  <a:pt x="1314126" y="5955879"/>
                </a:lnTo>
                <a:lnTo>
                  <a:pt x="1323140" y="5957032"/>
                </a:lnTo>
                <a:close/>
                <a:moveTo>
                  <a:pt x="1488773" y="5904791"/>
                </a:moveTo>
                <a:lnTo>
                  <a:pt x="1488410" y="5905858"/>
                </a:lnTo>
                <a:lnTo>
                  <a:pt x="1489855" y="5905801"/>
                </a:lnTo>
                <a:close/>
                <a:moveTo>
                  <a:pt x="1809984" y="5805133"/>
                </a:moveTo>
                <a:lnTo>
                  <a:pt x="1813201" y="5810400"/>
                </a:lnTo>
                <a:lnTo>
                  <a:pt x="1829988" y="5805133"/>
                </a:lnTo>
                <a:close/>
                <a:moveTo>
                  <a:pt x="2575154" y="5801969"/>
                </a:moveTo>
                <a:lnTo>
                  <a:pt x="2549737" y="5802948"/>
                </a:lnTo>
                <a:lnTo>
                  <a:pt x="2561374" y="5804937"/>
                </a:lnTo>
                <a:close/>
                <a:moveTo>
                  <a:pt x="9301994" y="5790610"/>
                </a:moveTo>
                <a:lnTo>
                  <a:pt x="9299446" y="5790788"/>
                </a:lnTo>
                <a:lnTo>
                  <a:pt x="9302852" y="5793763"/>
                </a:lnTo>
                <a:lnTo>
                  <a:pt x="9304695" y="5795325"/>
                </a:lnTo>
                <a:close/>
                <a:moveTo>
                  <a:pt x="2928336" y="5788318"/>
                </a:moveTo>
                <a:lnTo>
                  <a:pt x="2920781" y="5788610"/>
                </a:lnTo>
                <a:lnTo>
                  <a:pt x="2980460" y="5790610"/>
                </a:lnTo>
                <a:close/>
                <a:moveTo>
                  <a:pt x="1786180" y="5761062"/>
                </a:moveTo>
                <a:lnTo>
                  <a:pt x="1786180" y="5780628"/>
                </a:lnTo>
                <a:lnTo>
                  <a:pt x="1758846" y="5780628"/>
                </a:lnTo>
                <a:lnTo>
                  <a:pt x="1761607" y="5784535"/>
                </a:lnTo>
                <a:lnTo>
                  <a:pt x="1748728" y="5795450"/>
                </a:lnTo>
                <a:lnTo>
                  <a:pt x="1792287" y="5795450"/>
                </a:lnTo>
                <a:lnTo>
                  <a:pt x="1794486" y="5795962"/>
                </a:lnTo>
                <a:lnTo>
                  <a:pt x="1794486" y="5781418"/>
                </a:lnTo>
                <a:cubicBezTo>
                  <a:pt x="1794486" y="5781418"/>
                  <a:pt x="1794486" y="5775489"/>
                  <a:pt x="1790689" y="5766596"/>
                </a:cubicBezTo>
                <a:close/>
                <a:moveTo>
                  <a:pt x="18228454" y="5754905"/>
                </a:moveTo>
                <a:lnTo>
                  <a:pt x="18225312" y="5767179"/>
                </a:lnTo>
                <a:lnTo>
                  <a:pt x="18204244" y="5778930"/>
                </a:lnTo>
                <a:lnTo>
                  <a:pt x="18217212" y="5784976"/>
                </a:lnTo>
                <a:lnTo>
                  <a:pt x="18219824" y="5784976"/>
                </a:lnTo>
                <a:lnTo>
                  <a:pt x="18230668" y="5755229"/>
                </a:lnTo>
                <a:close/>
                <a:moveTo>
                  <a:pt x="1747095" y="5742116"/>
                </a:moveTo>
                <a:lnTo>
                  <a:pt x="1758102" y="5756721"/>
                </a:lnTo>
                <a:lnTo>
                  <a:pt x="1782643" y="5756721"/>
                </a:lnTo>
                <a:lnTo>
                  <a:pt x="1779461" y="5752820"/>
                </a:lnTo>
                <a:lnTo>
                  <a:pt x="1768682" y="5756123"/>
                </a:lnTo>
                <a:lnTo>
                  <a:pt x="1764198" y="5753212"/>
                </a:lnTo>
                <a:lnTo>
                  <a:pt x="1764166" y="5753244"/>
                </a:lnTo>
                <a:lnTo>
                  <a:pt x="1764166" y="5753190"/>
                </a:lnTo>
                <a:close/>
                <a:moveTo>
                  <a:pt x="12231430" y="5701973"/>
                </a:moveTo>
                <a:lnTo>
                  <a:pt x="12282640" y="5711706"/>
                </a:lnTo>
                <a:lnTo>
                  <a:pt x="12330568" y="5711706"/>
                </a:lnTo>
                <a:close/>
                <a:moveTo>
                  <a:pt x="11740020" y="5693759"/>
                </a:moveTo>
                <a:cubicBezTo>
                  <a:pt x="11726138" y="5694191"/>
                  <a:pt x="11712257" y="5696785"/>
                  <a:pt x="11698376" y="5698514"/>
                </a:cubicBezTo>
                <a:lnTo>
                  <a:pt x="11696166" y="5698493"/>
                </a:lnTo>
                <a:lnTo>
                  <a:pt x="11723608" y="5702240"/>
                </a:lnTo>
                <a:lnTo>
                  <a:pt x="11726138" y="5701973"/>
                </a:lnTo>
                <a:cubicBezTo>
                  <a:pt x="11753902" y="5701973"/>
                  <a:pt x="11781664" y="5701973"/>
                  <a:pt x="11781664" y="5701973"/>
                </a:cubicBezTo>
                <a:cubicBezTo>
                  <a:pt x="11767783" y="5695057"/>
                  <a:pt x="11753901" y="5693327"/>
                  <a:pt x="11740020" y="5693759"/>
                </a:cubicBezTo>
                <a:close/>
                <a:moveTo>
                  <a:pt x="11617042" y="5664141"/>
                </a:moveTo>
                <a:lnTo>
                  <a:pt x="11596896" y="5671094"/>
                </a:lnTo>
                <a:lnTo>
                  <a:pt x="11578462" y="5686180"/>
                </a:lnTo>
                <a:lnTo>
                  <a:pt x="11606006" y="5686180"/>
                </a:lnTo>
                <a:lnTo>
                  <a:pt x="11645274" y="5691543"/>
                </a:lnTo>
                <a:lnTo>
                  <a:pt x="11615084" y="5674304"/>
                </a:lnTo>
                <a:close/>
                <a:moveTo>
                  <a:pt x="17370624" y="5640828"/>
                </a:moveTo>
                <a:lnTo>
                  <a:pt x="17373772" y="5642785"/>
                </a:lnTo>
                <a:lnTo>
                  <a:pt x="17377320" y="5643479"/>
                </a:lnTo>
                <a:lnTo>
                  <a:pt x="17417114" y="5647735"/>
                </a:lnTo>
                <a:lnTo>
                  <a:pt x="17479434" y="5651529"/>
                </a:lnTo>
                <a:lnTo>
                  <a:pt x="17465864" y="5649749"/>
                </a:lnTo>
                <a:close/>
                <a:moveTo>
                  <a:pt x="1649729" y="5597167"/>
                </a:moveTo>
                <a:lnTo>
                  <a:pt x="1652807" y="5599131"/>
                </a:lnTo>
                <a:lnTo>
                  <a:pt x="1658174" y="5599131"/>
                </a:lnTo>
                <a:lnTo>
                  <a:pt x="1655861" y="5597249"/>
                </a:lnTo>
                <a:close/>
                <a:moveTo>
                  <a:pt x="18379150" y="5534124"/>
                </a:moveTo>
                <a:lnTo>
                  <a:pt x="18375770" y="5534288"/>
                </a:lnTo>
                <a:lnTo>
                  <a:pt x="18375770" y="5552569"/>
                </a:lnTo>
                <a:lnTo>
                  <a:pt x="18387918" y="5537917"/>
                </a:lnTo>
                <a:close/>
                <a:moveTo>
                  <a:pt x="15759914" y="5507021"/>
                </a:moveTo>
                <a:lnTo>
                  <a:pt x="16011066" y="5529743"/>
                </a:lnTo>
                <a:lnTo>
                  <a:pt x="16031428" y="5530010"/>
                </a:lnTo>
                <a:close/>
                <a:moveTo>
                  <a:pt x="15718584" y="5504509"/>
                </a:moveTo>
                <a:lnTo>
                  <a:pt x="15715804" y="5504705"/>
                </a:lnTo>
                <a:lnTo>
                  <a:pt x="15751670" y="5506323"/>
                </a:lnTo>
                <a:lnTo>
                  <a:pt x="15741306" y="5505444"/>
                </a:lnTo>
                <a:close/>
                <a:moveTo>
                  <a:pt x="1581882" y="5394769"/>
                </a:moveTo>
                <a:lnTo>
                  <a:pt x="1544680" y="5403556"/>
                </a:lnTo>
                <a:lnTo>
                  <a:pt x="1627615" y="5394769"/>
                </a:lnTo>
                <a:close/>
                <a:moveTo>
                  <a:pt x="1600747" y="5309094"/>
                </a:moveTo>
                <a:lnTo>
                  <a:pt x="1633088" y="5315318"/>
                </a:lnTo>
                <a:lnTo>
                  <a:pt x="1635391" y="5311684"/>
                </a:lnTo>
                <a:lnTo>
                  <a:pt x="1631964" y="5310086"/>
                </a:lnTo>
                <a:close/>
                <a:moveTo>
                  <a:pt x="1068662" y="5281240"/>
                </a:moveTo>
                <a:lnTo>
                  <a:pt x="1132373" y="5287595"/>
                </a:lnTo>
                <a:lnTo>
                  <a:pt x="1114242" y="5282670"/>
                </a:lnTo>
                <a:close/>
                <a:moveTo>
                  <a:pt x="15819420" y="5264414"/>
                </a:moveTo>
                <a:lnTo>
                  <a:pt x="15813484" y="5272525"/>
                </a:lnTo>
                <a:lnTo>
                  <a:pt x="15812248" y="5272525"/>
                </a:lnTo>
                <a:lnTo>
                  <a:pt x="15820878" y="5285072"/>
                </a:lnTo>
                <a:lnTo>
                  <a:pt x="15822672" y="5285097"/>
                </a:lnTo>
                <a:close/>
                <a:moveTo>
                  <a:pt x="22740484" y="5205866"/>
                </a:moveTo>
                <a:lnTo>
                  <a:pt x="22763822" y="5205866"/>
                </a:lnTo>
                <a:cubicBezTo>
                  <a:pt x="22763822" y="5205866"/>
                  <a:pt x="22787160" y="5205866"/>
                  <a:pt x="22787160" y="5217005"/>
                </a:cubicBezTo>
                <a:lnTo>
                  <a:pt x="22763822" y="5217005"/>
                </a:lnTo>
                <a:cubicBezTo>
                  <a:pt x="22763822" y="5217005"/>
                  <a:pt x="22740484" y="5217005"/>
                  <a:pt x="22740484" y="5205866"/>
                </a:cubicBezTo>
                <a:close/>
                <a:moveTo>
                  <a:pt x="15560898" y="5190390"/>
                </a:moveTo>
                <a:lnTo>
                  <a:pt x="15568186" y="5198607"/>
                </a:lnTo>
                <a:lnTo>
                  <a:pt x="15573728" y="5198268"/>
                </a:lnTo>
                <a:close/>
                <a:moveTo>
                  <a:pt x="11809008" y="5183194"/>
                </a:moveTo>
                <a:lnTo>
                  <a:pt x="11793998" y="5200112"/>
                </a:lnTo>
                <a:lnTo>
                  <a:pt x="11791226" y="5209318"/>
                </a:lnTo>
                <a:lnTo>
                  <a:pt x="11806824" y="5209318"/>
                </a:lnTo>
                <a:lnTo>
                  <a:pt x="11823066" y="5210087"/>
                </a:lnTo>
                <a:lnTo>
                  <a:pt x="11812204" y="5198429"/>
                </a:lnTo>
                <a:close/>
                <a:moveTo>
                  <a:pt x="11817710" y="5142959"/>
                </a:moveTo>
                <a:lnTo>
                  <a:pt x="11821760" y="5145347"/>
                </a:lnTo>
                <a:lnTo>
                  <a:pt x="11820878" y="5152329"/>
                </a:lnTo>
                <a:lnTo>
                  <a:pt x="11839820" y="5143166"/>
                </a:lnTo>
                <a:lnTo>
                  <a:pt x="11828184" y="5143166"/>
                </a:lnTo>
                <a:close/>
                <a:moveTo>
                  <a:pt x="8831320" y="5089060"/>
                </a:moveTo>
                <a:lnTo>
                  <a:pt x="8836776" y="5093063"/>
                </a:lnTo>
                <a:lnTo>
                  <a:pt x="8839174" y="5089060"/>
                </a:lnTo>
                <a:close/>
                <a:moveTo>
                  <a:pt x="4949010" y="5089060"/>
                </a:moveTo>
                <a:lnTo>
                  <a:pt x="4942031" y="5089526"/>
                </a:lnTo>
                <a:lnTo>
                  <a:pt x="4962102" y="5089060"/>
                </a:lnTo>
                <a:close/>
                <a:moveTo>
                  <a:pt x="9244246" y="5060700"/>
                </a:moveTo>
                <a:lnTo>
                  <a:pt x="9241692" y="5061650"/>
                </a:lnTo>
                <a:lnTo>
                  <a:pt x="9249808" y="5060700"/>
                </a:lnTo>
                <a:lnTo>
                  <a:pt x="9255418" y="5060814"/>
                </a:lnTo>
                <a:lnTo>
                  <a:pt x="9255176" y="5060700"/>
                </a:lnTo>
                <a:lnTo>
                  <a:pt x="9249808" y="5060700"/>
                </a:lnTo>
                <a:close/>
                <a:moveTo>
                  <a:pt x="8815474" y="5060700"/>
                </a:moveTo>
                <a:lnTo>
                  <a:pt x="8809820" y="5063141"/>
                </a:lnTo>
                <a:lnTo>
                  <a:pt x="8820866" y="5063141"/>
                </a:lnTo>
                <a:lnTo>
                  <a:pt x="8825624" y="5060700"/>
                </a:lnTo>
                <a:close/>
                <a:moveTo>
                  <a:pt x="16784542" y="5050764"/>
                </a:moveTo>
                <a:lnTo>
                  <a:pt x="16922566" y="5063063"/>
                </a:lnTo>
                <a:lnTo>
                  <a:pt x="16982988" y="5069248"/>
                </a:lnTo>
                <a:lnTo>
                  <a:pt x="16879330" y="5050764"/>
                </a:lnTo>
                <a:close/>
                <a:moveTo>
                  <a:pt x="5946398" y="5032420"/>
                </a:moveTo>
                <a:lnTo>
                  <a:pt x="5787064" y="5042729"/>
                </a:lnTo>
                <a:lnTo>
                  <a:pt x="5930124" y="5037223"/>
                </a:lnTo>
                <a:close/>
                <a:moveTo>
                  <a:pt x="1908620" y="5011355"/>
                </a:moveTo>
                <a:lnTo>
                  <a:pt x="1908934" y="5023356"/>
                </a:lnTo>
                <a:lnTo>
                  <a:pt x="1942094" y="5023356"/>
                </a:lnTo>
                <a:lnTo>
                  <a:pt x="1944136" y="5020961"/>
                </a:lnTo>
                <a:lnTo>
                  <a:pt x="1936403" y="5020961"/>
                </a:lnTo>
                <a:close/>
                <a:moveTo>
                  <a:pt x="21677406" y="5004989"/>
                </a:moveTo>
                <a:lnTo>
                  <a:pt x="21666134" y="5009433"/>
                </a:lnTo>
                <a:lnTo>
                  <a:pt x="21677406" y="5009744"/>
                </a:lnTo>
                <a:close/>
                <a:moveTo>
                  <a:pt x="16515720" y="4994964"/>
                </a:moveTo>
                <a:lnTo>
                  <a:pt x="16515720" y="4996006"/>
                </a:lnTo>
                <a:lnTo>
                  <a:pt x="16517034" y="4996006"/>
                </a:lnTo>
                <a:close/>
                <a:moveTo>
                  <a:pt x="18698596" y="4973088"/>
                </a:moveTo>
                <a:lnTo>
                  <a:pt x="18689162" y="4976989"/>
                </a:lnTo>
                <a:lnTo>
                  <a:pt x="18696332" y="4977576"/>
                </a:lnTo>
                <a:close/>
                <a:moveTo>
                  <a:pt x="21674230" y="4962889"/>
                </a:moveTo>
                <a:lnTo>
                  <a:pt x="21681828" y="4972125"/>
                </a:lnTo>
                <a:lnTo>
                  <a:pt x="21695918" y="4969046"/>
                </a:lnTo>
                <a:lnTo>
                  <a:pt x="21694042" y="4968530"/>
                </a:lnTo>
                <a:close/>
                <a:moveTo>
                  <a:pt x="18400008" y="4914256"/>
                </a:moveTo>
                <a:lnTo>
                  <a:pt x="18379484" y="4932313"/>
                </a:lnTo>
                <a:lnTo>
                  <a:pt x="18410528" y="4924541"/>
                </a:lnTo>
                <a:lnTo>
                  <a:pt x="18418530" y="4921576"/>
                </a:lnTo>
                <a:lnTo>
                  <a:pt x="18418204" y="4918000"/>
                </a:lnTo>
                <a:close/>
                <a:moveTo>
                  <a:pt x="1852631" y="4848478"/>
                </a:moveTo>
                <a:lnTo>
                  <a:pt x="1829699" y="4849271"/>
                </a:lnTo>
                <a:lnTo>
                  <a:pt x="1835959" y="4855808"/>
                </a:lnTo>
                <a:close/>
                <a:moveTo>
                  <a:pt x="3786785" y="4799598"/>
                </a:moveTo>
                <a:lnTo>
                  <a:pt x="3786785" y="4805872"/>
                </a:lnTo>
                <a:lnTo>
                  <a:pt x="3790156" y="4805353"/>
                </a:lnTo>
                <a:lnTo>
                  <a:pt x="3799195" y="4806050"/>
                </a:lnTo>
                <a:lnTo>
                  <a:pt x="3792434" y="4801627"/>
                </a:lnTo>
                <a:close/>
                <a:moveTo>
                  <a:pt x="2970055" y="4725674"/>
                </a:moveTo>
                <a:lnTo>
                  <a:pt x="2908817" y="4748642"/>
                </a:lnTo>
                <a:lnTo>
                  <a:pt x="2983706" y="4748642"/>
                </a:lnTo>
                <a:lnTo>
                  <a:pt x="2999574" y="4739151"/>
                </a:lnTo>
                <a:lnTo>
                  <a:pt x="2983863" y="4739151"/>
                </a:lnTo>
                <a:close/>
                <a:moveTo>
                  <a:pt x="22794070" y="4715852"/>
                </a:moveTo>
                <a:lnTo>
                  <a:pt x="22783516" y="4717432"/>
                </a:lnTo>
                <a:lnTo>
                  <a:pt x="22760248" y="4743770"/>
                </a:lnTo>
                <a:lnTo>
                  <a:pt x="22764124" y="4742503"/>
                </a:lnTo>
                <a:lnTo>
                  <a:pt x="22774550" y="4729449"/>
                </a:lnTo>
                <a:lnTo>
                  <a:pt x="22780206" y="4729449"/>
                </a:lnTo>
                <a:lnTo>
                  <a:pt x="22792436" y="4717457"/>
                </a:lnTo>
                <a:close/>
                <a:moveTo>
                  <a:pt x="13049766" y="4706400"/>
                </a:moveTo>
                <a:lnTo>
                  <a:pt x="13027484" y="4713037"/>
                </a:lnTo>
                <a:lnTo>
                  <a:pt x="13018046" y="4712428"/>
                </a:lnTo>
                <a:lnTo>
                  <a:pt x="13032282" y="4719492"/>
                </a:lnTo>
                <a:lnTo>
                  <a:pt x="13051140" y="4720371"/>
                </a:lnTo>
                <a:close/>
                <a:moveTo>
                  <a:pt x="17892574" y="4695215"/>
                </a:moveTo>
                <a:lnTo>
                  <a:pt x="17896570" y="4696240"/>
                </a:lnTo>
                <a:lnTo>
                  <a:pt x="17897886" y="4695838"/>
                </a:lnTo>
                <a:close/>
                <a:moveTo>
                  <a:pt x="10731281" y="4694852"/>
                </a:moveTo>
                <a:lnTo>
                  <a:pt x="10837678" y="4700347"/>
                </a:lnTo>
                <a:lnTo>
                  <a:pt x="10927592" y="4700347"/>
                </a:lnTo>
                <a:lnTo>
                  <a:pt x="10870114" y="4694852"/>
                </a:lnTo>
                <a:close/>
                <a:moveTo>
                  <a:pt x="10125902" y="4693300"/>
                </a:moveTo>
                <a:lnTo>
                  <a:pt x="10140216" y="4694852"/>
                </a:lnTo>
                <a:lnTo>
                  <a:pt x="10132270" y="4693300"/>
                </a:lnTo>
                <a:close/>
                <a:moveTo>
                  <a:pt x="12663110" y="4689539"/>
                </a:moveTo>
                <a:lnTo>
                  <a:pt x="12655256" y="4698176"/>
                </a:lnTo>
                <a:lnTo>
                  <a:pt x="12665672" y="4699286"/>
                </a:lnTo>
                <a:lnTo>
                  <a:pt x="12665896" y="4694852"/>
                </a:lnTo>
                <a:lnTo>
                  <a:pt x="12690010" y="4691272"/>
                </a:lnTo>
                <a:close/>
                <a:moveTo>
                  <a:pt x="8465540" y="4666535"/>
                </a:moveTo>
                <a:lnTo>
                  <a:pt x="8471298" y="4667475"/>
                </a:lnTo>
                <a:lnTo>
                  <a:pt x="8501918" y="4667475"/>
                </a:lnTo>
                <a:close/>
                <a:moveTo>
                  <a:pt x="9803968" y="4663425"/>
                </a:moveTo>
                <a:lnTo>
                  <a:pt x="9767265" y="4667194"/>
                </a:lnTo>
                <a:lnTo>
                  <a:pt x="9770342" y="4667475"/>
                </a:lnTo>
                <a:lnTo>
                  <a:pt x="9804452" y="4667475"/>
                </a:lnTo>
                <a:lnTo>
                  <a:pt x="9818304" y="4667475"/>
                </a:lnTo>
                <a:close/>
                <a:moveTo>
                  <a:pt x="3131772" y="4661507"/>
                </a:moveTo>
                <a:lnTo>
                  <a:pt x="3123993" y="4663539"/>
                </a:lnTo>
                <a:lnTo>
                  <a:pt x="3131164" y="4664105"/>
                </a:lnTo>
                <a:close/>
                <a:moveTo>
                  <a:pt x="9966110" y="4656528"/>
                </a:moveTo>
                <a:lnTo>
                  <a:pt x="9942612" y="4663425"/>
                </a:lnTo>
                <a:lnTo>
                  <a:pt x="9920800" y="4669589"/>
                </a:lnTo>
                <a:lnTo>
                  <a:pt x="9942060" y="4669589"/>
                </a:lnTo>
                <a:lnTo>
                  <a:pt x="9983006" y="4670660"/>
                </a:lnTo>
                <a:close/>
                <a:moveTo>
                  <a:pt x="13493168" y="4654201"/>
                </a:moveTo>
                <a:lnTo>
                  <a:pt x="13455052" y="4665952"/>
                </a:lnTo>
                <a:lnTo>
                  <a:pt x="13445542" y="4665952"/>
                </a:lnTo>
                <a:lnTo>
                  <a:pt x="13448036" y="4668083"/>
                </a:lnTo>
                <a:lnTo>
                  <a:pt x="13458424" y="4668083"/>
                </a:lnTo>
                <a:lnTo>
                  <a:pt x="13488592" y="4669653"/>
                </a:lnTo>
                <a:close/>
                <a:moveTo>
                  <a:pt x="15316334" y="4609852"/>
                </a:moveTo>
                <a:lnTo>
                  <a:pt x="15402252" y="4630831"/>
                </a:lnTo>
                <a:lnTo>
                  <a:pt x="15571776" y="4634208"/>
                </a:lnTo>
                <a:close/>
                <a:moveTo>
                  <a:pt x="16981242" y="4590397"/>
                </a:moveTo>
                <a:lnTo>
                  <a:pt x="17045418" y="4608646"/>
                </a:lnTo>
                <a:lnTo>
                  <a:pt x="17058934" y="4610255"/>
                </a:lnTo>
                <a:lnTo>
                  <a:pt x="17110842" y="4601714"/>
                </a:lnTo>
                <a:close/>
                <a:moveTo>
                  <a:pt x="16463568" y="4583600"/>
                </a:moveTo>
                <a:lnTo>
                  <a:pt x="16461322" y="4586714"/>
                </a:lnTo>
                <a:lnTo>
                  <a:pt x="16474472" y="4586714"/>
                </a:lnTo>
                <a:lnTo>
                  <a:pt x="16476272" y="4588518"/>
                </a:lnTo>
                <a:lnTo>
                  <a:pt x="16477674" y="4584710"/>
                </a:lnTo>
                <a:lnTo>
                  <a:pt x="16479076" y="4584344"/>
                </a:lnTo>
                <a:close/>
                <a:moveTo>
                  <a:pt x="16878224" y="4581404"/>
                </a:moveTo>
                <a:lnTo>
                  <a:pt x="16884876" y="4583600"/>
                </a:lnTo>
                <a:lnTo>
                  <a:pt x="16891072" y="4582525"/>
                </a:lnTo>
                <a:close/>
                <a:moveTo>
                  <a:pt x="15458878" y="4568902"/>
                </a:moveTo>
                <a:lnTo>
                  <a:pt x="15453660" y="4576127"/>
                </a:lnTo>
                <a:lnTo>
                  <a:pt x="15458198" y="4579262"/>
                </a:lnTo>
                <a:lnTo>
                  <a:pt x="15462912" y="4579550"/>
                </a:lnTo>
                <a:close/>
                <a:moveTo>
                  <a:pt x="13149608" y="4554177"/>
                </a:moveTo>
                <a:lnTo>
                  <a:pt x="13158918" y="4556817"/>
                </a:lnTo>
                <a:lnTo>
                  <a:pt x="13158918" y="4555362"/>
                </a:lnTo>
                <a:lnTo>
                  <a:pt x="13158918" y="4554177"/>
                </a:lnTo>
                <a:close/>
                <a:moveTo>
                  <a:pt x="1300577" y="4539204"/>
                </a:moveTo>
                <a:lnTo>
                  <a:pt x="1304646" y="4541870"/>
                </a:lnTo>
                <a:cubicBezTo>
                  <a:pt x="1307198" y="4545152"/>
                  <a:pt x="1308657" y="4549527"/>
                  <a:pt x="1308657" y="4555362"/>
                </a:cubicBezTo>
                <a:close/>
                <a:moveTo>
                  <a:pt x="13372486" y="4528498"/>
                </a:moveTo>
                <a:lnTo>
                  <a:pt x="13368606" y="4528647"/>
                </a:lnTo>
                <a:lnTo>
                  <a:pt x="13379250" y="4529009"/>
                </a:lnTo>
                <a:lnTo>
                  <a:pt x="13373614" y="4528547"/>
                </a:lnTo>
                <a:close/>
                <a:moveTo>
                  <a:pt x="2908618" y="4480138"/>
                </a:moveTo>
                <a:lnTo>
                  <a:pt x="2909817" y="4493526"/>
                </a:lnTo>
                <a:lnTo>
                  <a:pt x="2921813" y="4499543"/>
                </a:lnTo>
                <a:lnTo>
                  <a:pt x="2927952" y="4492419"/>
                </a:lnTo>
                <a:lnTo>
                  <a:pt x="2922685" y="4494099"/>
                </a:lnTo>
                <a:close/>
                <a:moveTo>
                  <a:pt x="839051" y="4465709"/>
                </a:moveTo>
                <a:cubicBezTo>
                  <a:pt x="863279" y="4465709"/>
                  <a:pt x="884435" y="4471686"/>
                  <a:pt x="899449" y="4483640"/>
                </a:cubicBezTo>
                <a:cubicBezTo>
                  <a:pt x="926748" y="4507547"/>
                  <a:pt x="926748" y="4483640"/>
                  <a:pt x="954043" y="4483640"/>
                </a:cubicBezTo>
                <a:cubicBezTo>
                  <a:pt x="981342" y="4459732"/>
                  <a:pt x="1035939" y="4483640"/>
                  <a:pt x="1063238" y="4507547"/>
                </a:cubicBezTo>
                <a:lnTo>
                  <a:pt x="1063238" y="4531455"/>
                </a:lnTo>
                <a:cubicBezTo>
                  <a:pt x="981342" y="4531455"/>
                  <a:pt x="899449" y="4555362"/>
                  <a:pt x="842122" y="4531455"/>
                </a:cubicBezTo>
                <a:cubicBezTo>
                  <a:pt x="814823" y="4531455"/>
                  <a:pt x="787525" y="4531455"/>
                  <a:pt x="787525" y="4531455"/>
                </a:cubicBezTo>
                <a:cubicBezTo>
                  <a:pt x="732931" y="4531455"/>
                  <a:pt x="651035" y="4507547"/>
                  <a:pt x="593708" y="4531455"/>
                </a:cubicBezTo>
                <a:cubicBezTo>
                  <a:pt x="566412" y="4531455"/>
                  <a:pt x="566412" y="4531455"/>
                  <a:pt x="566412" y="4507547"/>
                </a:cubicBezTo>
                <a:cubicBezTo>
                  <a:pt x="552761" y="4495593"/>
                  <a:pt x="552761" y="4489615"/>
                  <a:pt x="556174" y="4486626"/>
                </a:cubicBezTo>
                <a:cubicBezTo>
                  <a:pt x="559587" y="4483640"/>
                  <a:pt x="566412" y="4483640"/>
                  <a:pt x="566412" y="4483640"/>
                </a:cubicBezTo>
                <a:cubicBezTo>
                  <a:pt x="621006" y="4459732"/>
                  <a:pt x="651035" y="4483640"/>
                  <a:pt x="678333" y="4483640"/>
                </a:cubicBezTo>
                <a:cubicBezTo>
                  <a:pt x="705632" y="4483640"/>
                  <a:pt x="732931" y="4483640"/>
                  <a:pt x="760226" y="4483640"/>
                </a:cubicBezTo>
                <a:cubicBezTo>
                  <a:pt x="787525" y="4471686"/>
                  <a:pt x="814823" y="4465709"/>
                  <a:pt x="839051" y="4465709"/>
                </a:cubicBezTo>
                <a:close/>
                <a:moveTo>
                  <a:pt x="17854644" y="4446985"/>
                </a:moveTo>
                <a:lnTo>
                  <a:pt x="17855566" y="4447459"/>
                </a:lnTo>
                <a:lnTo>
                  <a:pt x="17855578" y="4447459"/>
                </a:lnTo>
                <a:close/>
                <a:moveTo>
                  <a:pt x="17913236" y="4446793"/>
                </a:moveTo>
                <a:lnTo>
                  <a:pt x="17912944" y="4446985"/>
                </a:lnTo>
                <a:lnTo>
                  <a:pt x="17911314" y="4448889"/>
                </a:lnTo>
                <a:lnTo>
                  <a:pt x="17926234" y="4451516"/>
                </a:lnTo>
                <a:close/>
                <a:moveTo>
                  <a:pt x="6796485" y="4385195"/>
                </a:moveTo>
                <a:lnTo>
                  <a:pt x="6758232" y="4387651"/>
                </a:lnTo>
                <a:lnTo>
                  <a:pt x="7054557" y="4386078"/>
                </a:lnTo>
                <a:lnTo>
                  <a:pt x="7049042" y="4385195"/>
                </a:lnTo>
                <a:cubicBezTo>
                  <a:pt x="6965850" y="4385195"/>
                  <a:pt x="6879765" y="4385195"/>
                  <a:pt x="6796485" y="4385195"/>
                </a:cubicBezTo>
                <a:close/>
                <a:moveTo>
                  <a:pt x="869909" y="4361655"/>
                </a:moveTo>
                <a:cubicBezTo>
                  <a:pt x="892371" y="4361655"/>
                  <a:pt x="892371" y="4384993"/>
                  <a:pt x="892371" y="4384993"/>
                </a:cubicBezTo>
                <a:cubicBezTo>
                  <a:pt x="892371" y="4408331"/>
                  <a:pt x="892371" y="4408331"/>
                  <a:pt x="892371" y="4408331"/>
                </a:cubicBezTo>
                <a:cubicBezTo>
                  <a:pt x="869909" y="4408331"/>
                  <a:pt x="869909" y="4408331"/>
                  <a:pt x="869909" y="4384993"/>
                </a:cubicBezTo>
                <a:close/>
                <a:moveTo>
                  <a:pt x="746272" y="4361655"/>
                </a:moveTo>
                <a:cubicBezTo>
                  <a:pt x="746272" y="4384993"/>
                  <a:pt x="746272" y="4384993"/>
                  <a:pt x="746272" y="4384993"/>
                </a:cubicBezTo>
                <a:cubicBezTo>
                  <a:pt x="735134" y="4384993"/>
                  <a:pt x="735134" y="4384993"/>
                  <a:pt x="735134" y="4384993"/>
                </a:cubicBezTo>
                <a:cubicBezTo>
                  <a:pt x="735134" y="4361655"/>
                  <a:pt x="735134" y="4361655"/>
                  <a:pt x="746272" y="4361655"/>
                </a:cubicBezTo>
                <a:close/>
                <a:moveTo>
                  <a:pt x="8056963" y="4359601"/>
                </a:moveTo>
                <a:lnTo>
                  <a:pt x="8057062" y="4360680"/>
                </a:lnTo>
                <a:lnTo>
                  <a:pt x="8065162" y="4360680"/>
                </a:lnTo>
                <a:lnTo>
                  <a:pt x="8064088" y="4360516"/>
                </a:lnTo>
                <a:close/>
                <a:moveTo>
                  <a:pt x="17161422" y="4344708"/>
                </a:moveTo>
                <a:lnTo>
                  <a:pt x="17159746" y="4347065"/>
                </a:lnTo>
                <a:lnTo>
                  <a:pt x="17141728" y="4346577"/>
                </a:lnTo>
                <a:lnTo>
                  <a:pt x="17157944" y="4357957"/>
                </a:lnTo>
                <a:lnTo>
                  <a:pt x="17167592" y="4359438"/>
                </a:lnTo>
                <a:close/>
                <a:moveTo>
                  <a:pt x="8330338" y="4340032"/>
                </a:moveTo>
                <a:lnTo>
                  <a:pt x="8322930" y="4340438"/>
                </a:lnTo>
                <a:lnTo>
                  <a:pt x="8361573" y="4360516"/>
                </a:lnTo>
                <a:lnTo>
                  <a:pt x="8372567" y="4361754"/>
                </a:lnTo>
                <a:lnTo>
                  <a:pt x="8377338" y="4358616"/>
                </a:lnTo>
                <a:lnTo>
                  <a:pt x="8381028" y="4358616"/>
                </a:lnTo>
                <a:lnTo>
                  <a:pt x="8373637" y="4348427"/>
                </a:lnTo>
                <a:lnTo>
                  <a:pt x="8385520" y="4346406"/>
                </a:lnTo>
                <a:lnTo>
                  <a:pt x="8375412" y="4347065"/>
                </a:lnTo>
                <a:close/>
                <a:moveTo>
                  <a:pt x="8008180" y="4321199"/>
                </a:moveTo>
                <a:lnTo>
                  <a:pt x="7996323" y="4322445"/>
                </a:lnTo>
                <a:lnTo>
                  <a:pt x="8031632" y="4332072"/>
                </a:lnTo>
                <a:lnTo>
                  <a:pt x="8038063" y="4336466"/>
                </a:lnTo>
                <a:lnTo>
                  <a:pt x="8063176" y="4330064"/>
                </a:lnTo>
                <a:close/>
                <a:moveTo>
                  <a:pt x="12126810" y="4264186"/>
                </a:moveTo>
                <a:lnTo>
                  <a:pt x="12111423" y="4267961"/>
                </a:lnTo>
                <a:lnTo>
                  <a:pt x="12091558" y="4279374"/>
                </a:lnTo>
                <a:lnTo>
                  <a:pt x="12117622" y="4279374"/>
                </a:lnTo>
                <a:lnTo>
                  <a:pt x="12138177" y="4279958"/>
                </a:lnTo>
                <a:close/>
                <a:moveTo>
                  <a:pt x="22899870" y="4239421"/>
                </a:moveTo>
                <a:lnTo>
                  <a:pt x="22895618" y="4239499"/>
                </a:lnTo>
                <a:lnTo>
                  <a:pt x="22896994" y="4240083"/>
                </a:lnTo>
                <a:lnTo>
                  <a:pt x="22892472" y="4244467"/>
                </a:lnTo>
                <a:lnTo>
                  <a:pt x="22899870" y="4243926"/>
                </a:lnTo>
                <a:close/>
                <a:moveTo>
                  <a:pt x="7344722" y="4187780"/>
                </a:moveTo>
                <a:lnTo>
                  <a:pt x="7346392" y="4188741"/>
                </a:lnTo>
                <a:lnTo>
                  <a:pt x="7348470" y="4187780"/>
                </a:lnTo>
                <a:close/>
                <a:moveTo>
                  <a:pt x="7755318" y="4181916"/>
                </a:moveTo>
                <a:lnTo>
                  <a:pt x="7757734" y="4189086"/>
                </a:lnTo>
                <a:lnTo>
                  <a:pt x="7756178" y="4182336"/>
                </a:lnTo>
                <a:close/>
                <a:moveTo>
                  <a:pt x="7716876" y="4163015"/>
                </a:moveTo>
                <a:lnTo>
                  <a:pt x="7717079" y="4164442"/>
                </a:lnTo>
                <a:lnTo>
                  <a:pt x="7722581" y="4169891"/>
                </a:lnTo>
                <a:lnTo>
                  <a:pt x="7723560" y="4170044"/>
                </a:lnTo>
                <a:lnTo>
                  <a:pt x="7731172" y="4170044"/>
                </a:lnTo>
                <a:lnTo>
                  <a:pt x="7728481" y="4168720"/>
                </a:lnTo>
                <a:close/>
                <a:moveTo>
                  <a:pt x="7709268" y="4138364"/>
                </a:moveTo>
                <a:lnTo>
                  <a:pt x="7698688" y="4141105"/>
                </a:lnTo>
                <a:lnTo>
                  <a:pt x="7709396" y="4141105"/>
                </a:lnTo>
                <a:close/>
                <a:moveTo>
                  <a:pt x="1985791" y="4124026"/>
                </a:moveTo>
                <a:lnTo>
                  <a:pt x="1987987" y="4137372"/>
                </a:lnTo>
                <a:lnTo>
                  <a:pt x="1992350" y="4135404"/>
                </a:lnTo>
                <a:lnTo>
                  <a:pt x="2007709" y="4126517"/>
                </a:lnTo>
                <a:lnTo>
                  <a:pt x="1989930" y="4126517"/>
                </a:lnTo>
                <a:close/>
                <a:moveTo>
                  <a:pt x="1876817" y="4077507"/>
                </a:moveTo>
                <a:lnTo>
                  <a:pt x="1869792" y="4097610"/>
                </a:lnTo>
                <a:lnTo>
                  <a:pt x="1880339" y="4092312"/>
                </a:lnTo>
                <a:lnTo>
                  <a:pt x="1933126" y="4092312"/>
                </a:lnTo>
                <a:lnTo>
                  <a:pt x="1911165" y="4079087"/>
                </a:lnTo>
                <a:lnTo>
                  <a:pt x="1921403" y="4077507"/>
                </a:lnTo>
                <a:lnTo>
                  <a:pt x="1910674" y="4077507"/>
                </a:lnTo>
                <a:cubicBezTo>
                  <a:pt x="1910674" y="4077507"/>
                  <a:pt x="1910674" y="4077507"/>
                  <a:pt x="1883229" y="4077507"/>
                </a:cubicBezTo>
                <a:close/>
                <a:moveTo>
                  <a:pt x="15917087" y="4066596"/>
                </a:moveTo>
                <a:lnTo>
                  <a:pt x="15921062" y="4075184"/>
                </a:lnTo>
                <a:lnTo>
                  <a:pt x="15930048" y="4075184"/>
                </a:lnTo>
                <a:lnTo>
                  <a:pt x="15935927" y="4075301"/>
                </a:lnTo>
                <a:lnTo>
                  <a:pt x="15933034" y="4071126"/>
                </a:lnTo>
                <a:close/>
                <a:moveTo>
                  <a:pt x="10710977" y="3991739"/>
                </a:moveTo>
                <a:lnTo>
                  <a:pt x="10711649" y="3992245"/>
                </a:lnTo>
                <a:lnTo>
                  <a:pt x="10716500" y="3995034"/>
                </a:lnTo>
                <a:lnTo>
                  <a:pt x="10719083" y="3991739"/>
                </a:lnTo>
                <a:close/>
                <a:moveTo>
                  <a:pt x="7827680" y="3990326"/>
                </a:moveTo>
                <a:lnTo>
                  <a:pt x="7891996" y="4001326"/>
                </a:lnTo>
                <a:lnTo>
                  <a:pt x="7893228" y="4001162"/>
                </a:lnTo>
                <a:lnTo>
                  <a:pt x="7884548" y="3998885"/>
                </a:lnTo>
                <a:lnTo>
                  <a:pt x="7864634" y="3990326"/>
                </a:lnTo>
                <a:close/>
                <a:moveTo>
                  <a:pt x="10908495" y="3934917"/>
                </a:moveTo>
                <a:lnTo>
                  <a:pt x="10900466" y="3944092"/>
                </a:lnTo>
                <a:lnTo>
                  <a:pt x="10902473" y="3944092"/>
                </a:lnTo>
                <a:close/>
                <a:moveTo>
                  <a:pt x="10653457" y="3934917"/>
                </a:moveTo>
                <a:lnTo>
                  <a:pt x="10655721" y="3938262"/>
                </a:lnTo>
                <a:lnTo>
                  <a:pt x="10657546" y="3938178"/>
                </a:lnTo>
                <a:close/>
                <a:moveTo>
                  <a:pt x="6071095" y="3879715"/>
                </a:moveTo>
                <a:lnTo>
                  <a:pt x="6083984" y="3882818"/>
                </a:lnTo>
                <a:lnTo>
                  <a:pt x="6080752" y="3879715"/>
                </a:lnTo>
                <a:close/>
                <a:moveTo>
                  <a:pt x="10673582" y="3877381"/>
                </a:moveTo>
                <a:lnTo>
                  <a:pt x="10683939" y="3880320"/>
                </a:lnTo>
                <a:lnTo>
                  <a:pt x="10709482" y="3877886"/>
                </a:lnTo>
                <a:lnTo>
                  <a:pt x="10706535" y="3877381"/>
                </a:lnTo>
                <a:close/>
                <a:moveTo>
                  <a:pt x="6641066" y="3874836"/>
                </a:moveTo>
                <a:lnTo>
                  <a:pt x="6637692" y="3877274"/>
                </a:lnTo>
                <a:lnTo>
                  <a:pt x="6617955" y="3883800"/>
                </a:lnTo>
                <a:lnTo>
                  <a:pt x="6633842" y="3883800"/>
                </a:lnTo>
                <a:lnTo>
                  <a:pt x="6646539" y="3883800"/>
                </a:lnTo>
                <a:close/>
                <a:moveTo>
                  <a:pt x="22054804" y="3850854"/>
                </a:moveTo>
                <a:lnTo>
                  <a:pt x="22056506" y="3853822"/>
                </a:lnTo>
                <a:lnTo>
                  <a:pt x="22056506" y="3851523"/>
                </a:lnTo>
                <a:close/>
                <a:moveTo>
                  <a:pt x="22027438" y="3826206"/>
                </a:moveTo>
                <a:lnTo>
                  <a:pt x="22027438" y="3826655"/>
                </a:lnTo>
                <a:lnTo>
                  <a:pt x="22028790" y="3826206"/>
                </a:lnTo>
                <a:lnTo>
                  <a:pt x="22042082" y="3829519"/>
                </a:lnTo>
                <a:lnTo>
                  <a:pt x="22042082" y="3826206"/>
                </a:lnTo>
                <a:lnTo>
                  <a:pt x="22028790" y="3826206"/>
                </a:lnTo>
                <a:close/>
                <a:moveTo>
                  <a:pt x="1372233" y="3818071"/>
                </a:moveTo>
                <a:lnTo>
                  <a:pt x="1316924" y="3828160"/>
                </a:lnTo>
                <a:lnTo>
                  <a:pt x="1360727" y="3832117"/>
                </a:lnTo>
                <a:cubicBezTo>
                  <a:pt x="1381781" y="3830217"/>
                  <a:pt x="1402741" y="3826413"/>
                  <a:pt x="1423314" y="3826413"/>
                </a:cubicBezTo>
                <a:lnTo>
                  <a:pt x="1506520" y="3826413"/>
                </a:lnTo>
                <a:lnTo>
                  <a:pt x="1590711" y="3818071"/>
                </a:lnTo>
                <a:lnTo>
                  <a:pt x="1491182" y="3818071"/>
                </a:lnTo>
                <a:lnTo>
                  <a:pt x="1474993" y="3824370"/>
                </a:lnTo>
                <a:lnTo>
                  <a:pt x="1377051" y="3818071"/>
                </a:lnTo>
                <a:close/>
                <a:moveTo>
                  <a:pt x="1877820" y="3810997"/>
                </a:moveTo>
                <a:cubicBezTo>
                  <a:pt x="1859642" y="3809748"/>
                  <a:pt x="1840642" y="3811413"/>
                  <a:pt x="1819916" y="3818071"/>
                </a:cubicBezTo>
                <a:lnTo>
                  <a:pt x="1807194" y="3818071"/>
                </a:lnTo>
                <a:lnTo>
                  <a:pt x="1852208" y="3828591"/>
                </a:lnTo>
                <a:lnTo>
                  <a:pt x="1883229" y="3815608"/>
                </a:lnTo>
                <a:lnTo>
                  <a:pt x="1897083" y="3814779"/>
                </a:lnTo>
                <a:close/>
                <a:moveTo>
                  <a:pt x="720223" y="3798068"/>
                </a:moveTo>
                <a:cubicBezTo>
                  <a:pt x="720223" y="3821783"/>
                  <a:pt x="720223" y="3821783"/>
                  <a:pt x="720223" y="3821783"/>
                </a:cubicBezTo>
                <a:cubicBezTo>
                  <a:pt x="640316" y="3869213"/>
                  <a:pt x="557743" y="3845498"/>
                  <a:pt x="477837" y="3845498"/>
                </a:cubicBezTo>
                <a:cubicBezTo>
                  <a:pt x="557743" y="3798068"/>
                  <a:pt x="640316" y="3798068"/>
                  <a:pt x="720223" y="3798068"/>
                </a:cubicBezTo>
                <a:close/>
                <a:moveTo>
                  <a:pt x="1567331" y="3785616"/>
                </a:moveTo>
                <a:lnTo>
                  <a:pt x="1562103" y="3790473"/>
                </a:lnTo>
                <a:lnTo>
                  <a:pt x="1559633" y="3791434"/>
                </a:lnTo>
                <a:lnTo>
                  <a:pt x="1568441" y="3791434"/>
                </a:lnTo>
                <a:lnTo>
                  <a:pt x="1572182" y="3789541"/>
                </a:lnTo>
                <a:close/>
                <a:moveTo>
                  <a:pt x="10618714" y="3774534"/>
                </a:moveTo>
                <a:lnTo>
                  <a:pt x="10617899" y="3775168"/>
                </a:lnTo>
                <a:lnTo>
                  <a:pt x="10618436" y="3775879"/>
                </a:lnTo>
                <a:close/>
                <a:moveTo>
                  <a:pt x="19402388" y="3767477"/>
                </a:moveTo>
                <a:lnTo>
                  <a:pt x="19402292" y="3767488"/>
                </a:lnTo>
                <a:lnTo>
                  <a:pt x="19403076" y="3767997"/>
                </a:lnTo>
                <a:lnTo>
                  <a:pt x="19405100" y="3768086"/>
                </a:lnTo>
                <a:close/>
                <a:moveTo>
                  <a:pt x="722091" y="3737061"/>
                </a:moveTo>
                <a:lnTo>
                  <a:pt x="745806" y="3737061"/>
                </a:lnTo>
                <a:cubicBezTo>
                  <a:pt x="745806" y="3765940"/>
                  <a:pt x="769521" y="3792196"/>
                  <a:pt x="769521" y="3792196"/>
                </a:cubicBezTo>
                <a:lnTo>
                  <a:pt x="769521" y="3818452"/>
                </a:lnTo>
                <a:cubicBezTo>
                  <a:pt x="769521" y="3818452"/>
                  <a:pt x="769521" y="3818452"/>
                  <a:pt x="769521" y="3844708"/>
                </a:cubicBezTo>
                <a:cubicBezTo>
                  <a:pt x="745806" y="3818452"/>
                  <a:pt x="745806" y="3818452"/>
                  <a:pt x="722091" y="3818452"/>
                </a:cubicBezTo>
                <a:cubicBezTo>
                  <a:pt x="722091" y="3818452"/>
                  <a:pt x="722091" y="3818452"/>
                  <a:pt x="722091" y="3792196"/>
                </a:cubicBezTo>
                <a:cubicBezTo>
                  <a:pt x="722091" y="3792196"/>
                  <a:pt x="722091" y="3792196"/>
                  <a:pt x="698376" y="3765940"/>
                </a:cubicBezTo>
                <a:cubicBezTo>
                  <a:pt x="698376" y="3765940"/>
                  <a:pt x="698376" y="3737061"/>
                  <a:pt x="722091" y="3737061"/>
                </a:cubicBezTo>
                <a:close/>
                <a:moveTo>
                  <a:pt x="8606001" y="3736118"/>
                </a:moveTo>
                <a:lnTo>
                  <a:pt x="8596219" y="3738517"/>
                </a:lnTo>
                <a:lnTo>
                  <a:pt x="8581656" y="3741605"/>
                </a:lnTo>
                <a:lnTo>
                  <a:pt x="8601749" y="3741605"/>
                </a:lnTo>
                <a:close/>
                <a:moveTo>
                  <a:pt x="10203411" y="3728848"/>
                </a:moveTo>
                <a:lnTo>
                  <a:pt x="10227514" y="3741605"/>
                </a:lnTo>
                <a:lnTo>
                  <a:pt x="10230973" y="3742673"/>
                </a:lnTo>
                <a:lnTo>
                  <a:pt x="10230692" y="3742182"/>
                </a:lnTo>
                <a:lnTo>
                  <a:pt x="10235289" y="3737178"/>
                </a:lnTo>
                <a:lnTo>
                  <a:pt x="10230791" y="3737178"/>
                </a:lnTo>
                <a:close/>
                <a:moveTo>
                  <a:pt x="10123016" y="3713567"/>
                </a:moveTo>
                <a:lnTo>
                  <a:pt x="10116899" y="3714481"/>
                </a:lnTo>
                <a:lnTo>
                  <a:pt x="10141657" y="3715004"/>
                </a:lnTo>
                <a:lnTo>
                  <a:pt x="10165120" y="3716869"/>
                </a:lnTo>
                <a:lnTo>
                  <a:pt x="10158201" y="3714659"/>
                </a:lnTo>
                <a:close/>
                <a:moveTo>
                  <a:pt x="16991968" y="3683293"/>
                </a:moveTo>
                <a:lnTo>
                  <a:pt x="16971284" y="3684958"/>
                </a:lnTo>
                <a:lnTo>
                  <a:pt x="16990052" y="3685457"/>
                </a:lnTo>
                <a:close/>
                <a:moveTo>
                  <a:pt x="5247705" y="3657072"/>
                </a:moveTo>
                <a:lnTo>
                  <a:pt x="5256922" y="3662848"/>
                </a:lnTo>
                <a:lnTo>
                  <a:pt x="5258997" y="3657072"/>
                </a:lnTo>
                <a:close/>
                <a:moveTo>
                  <a:pt x="5688638" y="3651560"/>
                </a:moveTo>
                <a:lnTo>
                  <a:pt x="5674147" y="3657414"/>
                </a:lnTo>
                <a:lnTo>
                  <a:pt x="5662460" y="3662944"/>
                </a:lnTo>
                <a:lnTo>
                  <a:pt x="5672254" y="3667044"/>
                </a:lnTo>
                <a:lnTo>
                  <a:pt x="5692122" y="3667044"/>
                </a:lnTo>
                <a:close/>
                <a:moveTo>
                  <a:pt x="4199046" y="3639695"/>
                </a:moveTo>
                <a:lnTo>
                  <a:pt x="4196594" y="3682229"/>
                </a:lnTo>
                <a:lnTo>
                  <a:pt x="4184640" y="3692930"/>
                </a:lnTo>
                <a:lnTo>
                  <a:pt x="4210577" y="3692930"/>
                </a:lnTo>
                <a:lnTo>
                  <a:pt x="4216684" y="3693150"/>
                </a:lnTo>
                <a:lnTo>
                  <a:pt x="4216684" y="3684883"/>
                </a:lnTo>
                <a:lnTo>
                  <a:pt x="4216684" y="3684367"/>
                </a:lnTo>
                <a:lnTo>
                  <a:pt x="4214495" y="3683499"/>
                </a:lnTo>
                <a:lnTo>
                  <a:pt x="4216684" y="3683264"/>
                </a:lnTo>
                <a:lnTo>
                  <a:pt x="4216684" y="3681581"/>
                </a:lnTo>
                <a:cubicBezTo>
                  <a:pt x="4216684" y="3668368"/>
                  <a:pt x="4216684" y="3661759"/>
                  <a:pt x="4213221" y="3655154"/>
                </a:cubicBezTo>
                <a:close/>
                <a:moveTo>
                  <a:pt x="16081232" y="3620620"/>
                </a:moveTo>
                <a:lnTo>
                  <a:pt x="16074830" y="3624158"/>
                </a:lnTo>
                <a:lnTo>
                  <a:pt x="16060450" y="3623973"/>
                </a:lnTo>
                <a:lnTo>
                  <a:pt x="16075760" y="3631642"/>
                </a:lnTo>
                <a:lnTo>
                  <a:pt x="16095154" y="3637190"/>
                </a:lnTo>
                <a:lnTo>
                  <a:pt x="16100086" y="3623517"/>
                </a:lnTo>
                <a:close/>
                <a:moveTo>
                  <a:pt x="11121550" y="3578649"/>
                </a:moveTo>
                <a:lnTo>
                  <a:pt x="11111251" y="3581998"/>
                </a:lnTo>
                <a:lnTo>
                  <a:pt x="11130984" y="3581998"/>
                </a:lnTo>
                <a:lnTo>
                  <a:pt x="11129831" y="3578649"/>
                </a:lnTo>
                <a:close/>
                <a:moveTo>
                  <a:pt x="1041370" y="3561802"/>
                </a:moveTo>
                <a:lnTo>
                  <a:pt x="1027605" y="3564062"/>
                </a:lnTo>
                <a:lnTo>
                  <a:pt x="1001854" y="3573112"/>
                </a:lnTo>
                <a:lnTo>
                  <a:pt x="1006367" y="3577001"/>
                </a:lnTo>
                <a:cubicBezTo>
                  <a:pt x="1013224" y="3580383"/>
                  <a:pt x="1020082" y="3580383"/>
                  <a:pt x="1033797" y="3580383"/>
                </a:cubicBezTo>
                <a:cubicBezTo>
                  <a:pt x="1061228" y="3580383"/>
                  <a:pt x="1061228" y="3580383"/>
                  <a:pt x="1061228" y="3580383"/>
                </a:cubicBezTo>
                <a:lnTo>
                  <a:pt x="1106961" y="3589892"/>
                </a:lnTo>
                <a:lnTo>
                  <a:pt x="1065879" y="3570831"/>
                </a:lnTo>
                <a:lnTo>
                  <a:pt x="1146843" y="3562895"/>
                </a:lnTo>
                <a:lnTo>
                  <a:pt x="1068480" y="3562895"/>
                </a:lnTo>
                <a:lnTo>
                  <a:pt x="1041370" y="3562895"/>
                </a:lnTo>
                <a:close/>
                <a:moveTo>
                  <a:pt x="18108984" y="3520240"/>
                </a:moveTo>
                <a:lnTo>
                  <a:pt x="18099672" y="3531585"/>
                </a:lnTo>
                <a:lnTo>
                  <a:pt x="18108984" y="3533657"/>
                </a:lnTo>
                <a:close/>
                <a:moveTo>
                  <a:pt x="12399666" y="3467198"/>
                </a:moveTo>
                <a:lnTo>
                  <a:pt x="12394296" y="3479056"/>
                </a:lnTo>
                <a:lnTo>
                  <a:pt x="12399798" y="3487675"/>
                </a:lnTo>
                <a:lnTo>
                  <a:pt x="12401873" y="3487746"/>
                </a:lnTo>
                <a:close/>
                <a:moveTo>
                  <a:pt x="9895602" y="3452226"/>
                </a:moveTo>
                <a:lnTo>
                  <a:pt x="9920274" y="3462661"/>
                </a:lnTo>
                <a:lnTo>
                  <a:pt x="9914993" y="3453515"/>
                </a:lnTo>
                <a:close/>
                <a:moveTo>
                  <a:pt x="1041370" y="3416978"/>
                </a:moveTo>
                <a:lnTo>
                  <a:pt x="1064708" y="3416978"/>
                </a:lnTo>
                <a:cubicBezTo>
                  <a:pt x="1088046" y="3416978"/>
                  <a:pt x="1088046" y="3428116"/>
                  <a:pt x="1064708" y="3428116"/>
                </a:cubicBezTo>
                <a:cubicBezTo>
                  <a:pt x="1064708" y="3428116"/>
                  <a:pt x="1064708" y="3428116"/>
                  <a:pt x="1041370" y="3428116"/>
                </a:cubicBezTo>
                <a:close/>
                <a:moveTo>
                  <a:pt x="16423306" y="3391128"/>
                </a:moveTo>
                <a:lnTo>
                  <a:pt x="16424550" y="3392153"/>
                </a:lnTo>
                <a:lnTo>
                  <a:pt x="16425112" y="3391152"/>
                </a:lnTo>
                <a:close/>
                <a:moveTo>
                  <a:pt x="12424648" y="3385230"/>
                </a:moveTo>
                <a:lnTo>
                  <a:pt x="12415324" y="3389003"/>
                </a:lnTo>
                <a:lnTo>
                  <a:pt x="12414310" y="3404672"/>
                </a:lnTo>
                <a:lnTo>
                  <a:pt x="12429559" y="3385230"/>
                </a:lnTo>
                <a:close/>
                <a:moveTo>
                  <a:pt x="14950916" y="3322576"/>
                </a:moveTo>
                <a:lnTo>
                  <a:pt x="14950916" y="3325014"/>
                </a:lnTo>
                <a:lnTo>
                  <a:pt x="14950916" y="3347373"/>
                </a:lnTo>
                <a:lnTo>
                  <a:pt x="14957717" y="3348206"/>
                </a:lnTo>
                <a:lnTo>
                  <a:pt x="14960055" y="3348384"/>
                </a:lnTo>
                <a:lnTo>
                  <a:pt x="14960055" y="3347427"/>
                </a:lnTo>
                <a:lnTo>
                  <a:pt x="14960055" y="3324669"/>
                </a:lnTo>
                <a:lnTo>
                  <a:pt x="14955364" y="3322576"/>
                </a:lnTo>
                <a:close/>
                <a:moveTo>
                  <a:pt x="13442499" y="3316508"/>
                </a:moveTo>
                <a:lnTo>
                  <a:pt x="13442940" y="3316704"/>
                </a:lnTo>
                <a:lnTo>
                  <a:pt x="13443019" y="3316565"/>
                </a:lnTo>
                <a:close/>
                <a:moveTo>
                  <a:pt x="11117842" y="3313729"/>
                </a:moveTo>
                <a:lnTo>
                  <a:pt x="11041234" y="3338683"/>
                </a:lnTo>
                <a:lnTo>
                  <a:pt x="11086152" y="3335775"/>
                </a:lnTo>
                <a:lnTo>
                  <a:pt x="11098590" y="3332772"/>
                </a:lnTo>
                <a:cubicBezTo>
                  <a:pt x="11129084" y="3332772"/>
                  <a:pt x="11129084" y="3332772"/>
                  <a:pt x="11129084" y="3332772"/>
                </a:cubicBezTo>
                <a:lnTo>
                  <a:pt x="11130500" y="3332907"/>
                </a:lnTo>
                <a:lnTo>
                  <a:pt x="11134479" y="3332647"/>
                </a:lnTo>
                <a:lnTo>
                  <a:pt x="11134109" y="3333241"/>
                </a:lnTo>
                <a:lnTo>
                  <a:pt x="11137351" y="3333544"/>
                </a:lnTo>
                <a:lnTo>
                  <a:pt x="11137351" y="3313729"/>
                </a:lnTo>
                <a:lnTo>
                  <a:pt x="11124863" y="3313729"/>
                </a:lnTo>
                <a:close/>
                <a:moveTo>
                  <a:pt x="1285383" y="3254189"/>
                </a:moveTo>
                <a:lnTo>
                  <a:pt x="1279248" y="3256036"/>
                </a:lnTo>
                <a:lnTo>
                  <a:pt x="1285472" y="3262000"/>
                </a:lnTo>
                <a:lnTo>
                  <a:pt x="1287774" y="3263242"/>
                </a:lnTo>
                <a:lnTo>
                  <a:pt x="1305226" y="3254189"/>
                </a:lnTo>
                <a:close/>
                <a:moveTo>
                  <a:pt x="9244670" y="3236402"/>
                </a:moveTo>
                <a:lnTo>
                  <a:pt x="9248228" y="3239164"/>
                </a:lnTo>
                <a:lnTo>
                  <a:pt x="9252122" y="3237282"/>
                </a:lnTo>
                <a:lnTo>
                  <a:pt x="9251478" y="3237431"/>
                </a:lnTo>
                <a:close/>
                <a:moveTo>
                  <a:pt x="9318659" y="3229851"/>
                </a:moveTo>
                <a:lnTo>
                  <a:pt x="9321485" y="3232075"/>
                </a:lnTo>
                <a:lnTo>
                  <a:pt x="9316595" y="3232075"/>
                </a:lnTo>
                <a:lnTo>
                  <a:pt x="9331292" y="3239164"/>
                </a:lnTo>
                <a:lnTo>
                  <a:pt x="9393117" y="3239164"/>
                </a:lnTo>
                <a:close/>
                <a:moveTo>
                  <a:pt x="16159794" y="3227185"/>
                </a:moveTo>
                <a:lnTo>
                  <a:pt x="16157232" y="3227395"/>
                </a:lnTo>
                <a:lnTo>
                  <a:pt x="16191478" y="3234883"/>
                </a:lnTo>
                <a:lnTo>
                  <a:pt x="16181466" y="3229566"/>
                </a:lnTo>
                <a:close/>
                <a:moveTo>
                  <a:pt x="13662313" y="3222701"/>
                </a:moveTo>
                <a:lnTo>
                  <a:pt x="13643889" y="3238096"/>
                </a:lnTo>
                <a:lnTo>
                  <a:pt x="13658643" y="3240388"/>
                </a:lnTo>
                <a:lnTo>
                  <a:pt x="13666309" y="3227185"/>
                </a:lnTo>
                <a:lnTo>
                  <a:pt x="13662732" y="3227185"/>
                </a:lnTo>
                <a:close/>
                <a:moveTo>
                  <a:pt x="12601686" y="3199417"/>
                </a:moveTo>
                <a:lnTo>
                  <a:pt x="12601686" y="3203684"/>
                </a:lnTo>
                <a:lnTo>
                  <a:pt x="12605142" y="3199555"/>
                </a:lnTo>
                <a:close/>
                <a:moveTo>
                  <a:pt x="5752029" y="3172182"/>
                </a:moveTo>
                <a:lnTo>
                  <a:pt x="5753132" y="3180926"/>
                </a:lnTo>
                <a:lnTo>
                  <a:pt x="5758780" y="3178976"/>
                </a:lnTo>
                <a:lnTo>
                  <a:pt x="5768161" y="3178976"/>
                </a:lnTo>
                <a:lnTo>
                  <a:pt x="5759829" y="3172182"/>
                </a:lnTo>
                <a:close/>
                <a:moveTo>
                  <a:pt x="10366822" y="3118866"/>
                </a:moveTo>
                <a:lnTo>
                  <a:pt x="10368452" y="3125140"/>
                </a:lnTo>
                <a:lnTo>
                  <a:pt x="10368452" y="3118866"/>
                </a:lnTo>
                <a:close/>
                <a:moveTo>
                  <a:pt x="10150877" y="3091912"/>
                </a:moveTo>
                <a:lnTo>
                  <a:pt x="10148298" y="3092165"/>
                </a:lnTo>
                <a:lnTo>
                  <a:pt x="10145554" y="3097471"/>
                </a:lnTo>
                <a:close/>
                <a:moveTo>
                  <a:pt x="18693368" y="3090752"/>
                </a:moveTo>
                <a:lnTo>
                  <a:pt x="18694122" y="3091442"/>
                </a:lnTo>
                <a:lnTo>
                  <a:pt x="18726084" y="3095610"/>
                </a:lnTo>
                <a:lnTo>
                  <a:pt x="18700554" y="3090752"/>
                </a:lnTo>
                <a:close/>
                <a:moveTo>
                  <a:pt x="6240200" y="3004076"/>
                </a:moveTo>
                <a:lnTo>
                  <a:pt x="6239638" y="3004407"/>
                </a:lnTo>
                <a:lnTo>
                  <a:pt x="6240528" y="3004344"/>
                </a:lnTo>
                <a:close/>
                <a:moveTo>
                  <a:pt x="11411847" y="2953838"/>
                </a:moveTo>
                <a:lnTo>
                  <a:pt x="11412506" y="2953945"/>
                </a:lnTo>
                <a:lnTo>
                  <a:pt x="11412762" y="2953863"/>
                </a:lnTo>
                <a:close/>
                <a:moveTo>
                  <a:pt x="16543796" y="2947707"/>
                </a:moveTo>
                <a:lnTo>
                  <a:pt x="16534838" y="2948315"/>
                </a:lnTo>
                <a:lnTo>
                  <a:pt x="16550998" y="2953543"/>
                </a:lnTo>
                <a:lnTo>
                  <a:pt x="16551710" y="2953664"/>
                </a:lnTo>
                <a:lnTo>
                  <a:pt x="16550910" y="2947707"/>
                </a:lnTo>
                <a:close/>
                <a:moveTo>
                  <a:pt x="9618955" y="2938013"/>
                </a:moveTo>
                <a:lnTo>
                  <a:pt x="9639799" y="2952814"/>
                </a:lnTo>
                <a:lnTo>
                  <a:pt x="9628414" y="2941717"/>
                </a:lnTo>
                <a:close/>
                <a:moveTo>
                  <a:pt x="9508936" y="2917582"/>
                </a:moveTo>
                <a:lnTo>
                  <a:pt x="9511882" y="2920550"/>
                </a:lnTo>
                <a:lnTo>
                  <a:pt x="9520935" y="2922066"/>
                </a:lnTo>
                <a:lnTo>
                  <a:pt x="9521707" y="2919991"/>
                </a:lnTo>
                <a:lnTo>
                  <a:pt x="9520522" y="2919991"/>
                </a:lnTo>
                <a:close/>
                <a:moveTo>
                  <a:pt x="9582308" y="2898678"/>
                </a:moveTo>
                <a:lnTo>
                  <a:pt x="9582215" y="2898984"/>
                </a:lnTo>
                <a:lnTo>
                  <a:pt x="9584639" y="2898984"/>
                </a:lnTo>
                <a:cubicBezTo>
                  <a:pt x="9584639" y="2912443"/>
                  <a:pt x="9591537" y="2919169"/>
                  <a:pt x="9601852" y="2925899"/>
                </a:cubicBezTo>
                <a:lnTo>
                  <a:pt x="9604920" y="2928091"/>
                </a:lnTo>
                <a:lnTo>
                  <a:pt x="9614479" y="2928091"/>
                </a:lnTo>
                <a:lnTo>
                  <a:pt x="9612208" y="2925899"/>
                </a:lnTo>
                <a:cubicBezTo>
                  <a:pt x="9605312" y="2919169"/>
                  <a:pt x="9598418" y="2912443"/>
                  <a:pt x="9584639" y="2898984"/>
                </a:cubicBezTo>
                <a:close/>
                <a:moveTo>
                  <a:pt x="19249796" y="2894333"/>
                </a:moveTo>
                <a:lnTo>
                  <a:pt x="19243170" y="2911831"/>
                </a:lnTo>
                <a:lnTo>
                  <a:pt x="19251688" y="2926657"/>
                </a:lnTo>
                <a:lnTo>
                  <a:pt x="19251688" y="2894504"/>
                </a:lnTo>
                <a:close/>
                <a:moveTo>
                  <a:pt x="13239849" y="2798679"/>
                </a:moveTo>
                <a:lnTo>
                  <a:pt x="13220639" y="2805110"/>
                </a:lnTo>
                <a:lnTo>
                  <a:pt x="13218789" y="2817779"/>
                </a:lnTo>
                <a:lnTo>
                  <a:pt x="13227180" y="2817779"/>
                </a:lnTo>
                <a:lnTo>
                  <a:pt x="13234077" y="2819821"/>
                </a:lnTo>
                <a:lnTo>
                  <a:pt x="13231098" y="2816060"/>
                </a:lnTo>
                <a:close/>
                <a:moveTo>
                  <a:pt x="11433246" y="2731409"/>
                </a:moveTo>
                <a:lnTo>
                  <a:pt x="11425303" y="2732776"/>
                </a:lnTo>
                <a:cubicBezTo>
                  <a:pt x="11401068" y="2732776"/>
                  <a:pt x="11380335" y="2732776"/>
                  <a:pt x="11366463" y="2746469"/>
                </a:cubicBezTo>
                <a:lnTo>
                  <a:pt x="11357801" y="2763046"/>
                </a:lnTo>
                <a:lnTo>
                  <a:pt x="11373253" y="2761729"/>
                </a:lnTo>
                <a:lnTo>
                  <a:pt x="11384815" y="2768299"/>
                </a:lnTo>
                <a:lnTo>
                  <a:pt x="11384815" y="2761985"/>
                </a:lnTo>
                <a:lnTo>
                  <a:pt x="11397470" y="2753985"/>
                </a:lnTo>
                <a:close/>
                <a:moveTo>
                  <a:pt x="1636217" y="2716384"/>
                </a:moveTo>
                <a:lnTo>
                  <a:pt x="1639017" y="2724932"/>
                </a:lnTo>
                <a:lnTo>
                  <a:pt x="1637576" y="2726288"/>
                </a:lnTo>
                <a:lnTo>
                  <a:pt x="1650658" y="2722345"/>
                </a:lnTo>
                <a:close/>
                <a:moveTo>
                  <a:pt x="13568576" y="2702932"/>
                </a:moveTo>
                <a:lnTo>
                  <a:pt x="13560505" y="2704957"/>
                </a:lnTo>
                <a:lnTo>
                  <a:pt x="13560505" y="2718516"/>
                </a:lnTo>
                <a:lnTo>
                  <a:pt x="13564851" y="2710128"/>
                </a:lnTo>
                <a:close/>
                <a:moveTo>
                  <a:pt x="8126811" y="2678139"/>
                </a:moveTo>
                <a:lnTo>
                  <a:pt x="8115622" y="2692957"/>
                </a:lnTo>
                <a:lnTo>
                  <a:pt x="8091981" y="2692957"/>
                </a:lnTo>
                <a:lnTo>
                  <a:pt x="8093621" y="2695598"/>
                </a:lnTo>
                <a:lnTo>
                  <a:pt x="8117091" y="2695598"/>
                </a:lnTo>
                <a:lnTo>
                  <a:pt x="8137130" y="2696452"/>
                </a:lnTo>
                <a:close/>
                <a:moveTo>
                  <a:pt x="8138539" y="2662609"/>
                </a:moveTo>
                <a:lnTo>
                  <a:pt x="8128621" y="2675744"/>
                </a:lnTo>
                <a:lnTo>
                  <a:pt x="8150261" y="2664232"/>
                </a:lnTo>
                <a:close/>
                <a:moveTo>
                  <a:pt x="735059" y="2657313"/>
                </a:moveTo>
                <a:lnTo>
                  <a:pt x="746198" y="2657313"/>
                </a:lnTo>
                <a:lnTo>
                  <a:pt x="746198" y="2668452"/>
                </a:lnTo>
                <a:lnTo>
                  <a:pt x="735059" y="2668452"/>
                </a:lnTo>
                <a:close/>
                <a:moveTo>
                  <a:pt x="7923011" y="2640716"/>
                </a:moveTo>
                <a:lnTo>
                  <a:pt x="7921769" y="2648168"/>
                </a:lnTo>
                <a:lnTo>
                  <a:pt x="7926910" y="2647730"/>
                </a:lnTo>
                <a:lnTo>
                  <a:pt x="7958480" y="2643833"/>
                </a:lnTo>
                <a:lnTo>
                  <a:pt x="7924530" y="2641118"/>
                </a:lnTo>
                <a:close/>
                <a:moveTo>
                  <a:pt x="10441601" y="2609556"/>
                </a:moveTo>
                <a:lnTo>
                  <a:pt x="10440779" y="2609606"/>
                </a:lnTo>
                <a:lnTo>
                  <a:pt x="10441007" y="2609623"/>
                </a:lnTo>
                <a:close/>
                <a:moveTo>
                  <a:pt x="19850806" y="2599207"/>
                </a:moveTo>
                <a:lnTo>
                  <a:pt x="19839230" y="2603616"/>
                </a:lnTo>
                <a:lnTo>
                  <a:pt x="19841552" y="2608065"/>
                </a:lnTo>
                <a:lnTo>
                  <a:pt x="19827934" y="2617097"/>
                </a:lnTo>
                <a:lnTo>
                  <a:pt x="19845866" y="2627755"/>
                </a:lnTo>
                <a:lnTo>
                  <a:pt x="19848976" y="2628011"/>
                </a:lnTo>
                <a:close/>
                <a:moveTo>
                  <a:pt x="20785330" y="2515104"/>
                </a:moveTo>
                <a:lnTo>
                  <a:pt x="20814460" y="2529158"/>
                </a:lnTo>
                <a:cubicBezTo>
                  <a:pt x="20840044" y="2537602"/>
                  <a:pt x="20864656" y="2544097"/>
                  <a:pt x="20885382" y="2554489"/>
                </a:cubicBezTo>
                <a:lnTo>
                  <a:pt x="20906642" y="2564019"/>
                </a:lnTo>
                <a:lnTo>
                  <a:pt x="20909714" y="2564510"/>
                </a:lnTo>
                <a:lnTo>
                  <a:pt x="20885382" y="2554489"/>
                </a:lnTo>
                <a:lnTo>
                  <a:pt x="20821842" y="2527603"/>
                </a:lnTo>
                <a:close/>
                <a:moveTo>
                  <a:pt x="9965152" y="2502521"/>
                </a:moveTo>
                <a:lnTo>
                  <a:pt x="9973658" y="2511738"/>
                </a:lnTo>
                <a:lnTo>
                  <a:pt x="10022405" y="2511738"/>
                </a:lnTo>
                <a:close/>
                <a:moveTo>
                  <a:pt x="6152948" y="2416162"/>
                </a:moveTo>
                <a:lnTo>
                  <a:pt x="6107923" y="2424393"/>
                </a:lnTo>
                <a:lnTo>
                  <a:pt x="6098339" y="2432390"/>
                </a:lnTo>
                <a:lnTo>
                  <a:pt x="6102390" y="2431593"/>
                </a:lnTo>
                <a:close/>
                <a:moveTo>
                  <a:pt x="1511207" y="2358130"/>
                </a:moveTo>
                <a:lnTo>
                  <a:pt x="1514242" y="2359742"/>
                </a:lnTo>
                <a:lnTo>
                  <a:pt x="1514022" y="2358130"/>
                </a:lnTo>
                <a:close/>
                <a:moveTo>
                  <a:pt x="1485780" y="2358130"/>
                </a:moveTo>
                <a:lnTo>
                  <a:pt x="1497171" y="2364543"/>
                </a:lnTo>
                <a:lnTo>
                  <a:pt x="1508388" y="2358130"/>
                </a:lnTo>
                <a:close/>
                <a:moveTo>
                  <a:pt x="15157658" y="2267206"/>
                </a:moveTo>
                <a:lnTo>
                  <a:pt x="15301095" y="2279846"/>
                </a:lnTo>
                <a:lnTo>
                  <a:pt x="15276255" y="2274291"/>
                </a:lnTo>
                <a:lnTo>
                  <a:pt x="15216270" y="2268384"/>
                </a:lnTo>
                <a:close/>
                <a:moveTo>
                  <a:pt x="13402859" y="2223177"/>
                </a:moveTo>
                <a:lnTo>
                  <a:pt x="13395240" y="2227220"/>
                </a:lnTo>
                <a:lnTo>
                  <a:pt x="13399015" y="2229725"/>
                </a:lnTo>
                <a:lnTo>
                  <a:pt x="13409613" y="2229725"/>
                </a:lnTo>
                <a:close/>
                <a:moveTo>
                  <a:pt x="14677832" y="2216758"/>
                </a:moveTo>
                <a:lnTo>
                  <a:pt x="14940307" y="2248053"/>
                </a:lnTo>
                <a:lnTo>
                  <a:pt x="14992563" y="2252658"/>
                </a:lnTo>
                <a:lnTo>
                  <a:pt x="14918265" y="2242206"/>
                </a:lnTo>
                <a:lnTo>
                  <a:pt x="14863792" y="2233907"/>
                </a:lnTo>
                <a:lnTo>
                  <a:pt x="14685782" y="2216936"/>
                </a:lnTo>
                <a:close/>
                <a:moveTo>
                  <a:pt x="14187391" y="2215288"/>
                </a:moveTo>
                <a:lnTo>
                  <a:pt x="14197715" y="2218345"/>
                </a:lnTo>
                <a:lnTo>
                  <a:pt x="14198359" y="2215288"/>
                </a:lnTo>
                <a:close/>
                <a:moveTo>
                  <a:pt x="4108314" y="2215103"/>
                </a:moveTo>
                <a:lnTo>
                  <a:pt x="4060410" y="2225594"/>
                </a:lnTo>
                <a:lnTo>
                  <a:pt x="4109887" y="2215103"/>
                </a:lnTo>
                <a:close/>
                <a:moveTo>
                  <a:pt x="10242236" y="2213459"/>
                </a:moveTo>
                <a:lnTo>
                  <a:pt x="10357694" y="2224551"/>
                </a:lnTo>
                <a:lnTo>
                  <a:pt x="10336445" y="2217701"/>
                </a:lnTo>
                <a:close/>
                <a:moveTo>
                  <a:pt x="583541" y="2205220"/>
                </a:moveTo>
                <a:cubicBezTo>
                  <a:pt x="583541" y="2228935"/>
                  <a:pt x="609967" y="2228935"/>
                  <a:pt x="609967" y="2228935"/>
                </a:cubicBezTo>
                <a:cubicBezTo>
                  <a:pt x="609967" y="2252651"/>
                  <a:pt x="583541" y="2276366"/>
                  <a:pt x="557114" y="2276366"/>
                </a:cubicBezTo>
                <a:cubicBezTo>
                  <a:pt x="530687" y="2276366"/>
                  <a:pt x="504260" y="2276366"/>
                  <a:pt x="477833" y="2276366"/>
                </a:cubicBezTo>
                <a:lnTo>
                  <a:pt x="508189" y="2259031"/>
                </a:lnTo>
                <a:lnTo>
                  <a:pt x="499082" y="2259031"/>
                </a:lnTo>
                <a:cubicBezTo>
                  <a:pt x="486143" y="2260526"/>
                  <a:pt x="474815" y="2265010"/>
                  <a:pt x="468345" y="2276964"/>
                </a:cubicBezTo>
                <a:cubicBezTo>
                  <a:pt x="468345" y="2276964"/>
                  <a:pt x="442459" y="2276964"/>
                  <a:pt x="416574" y="2276964"/>
                </a:cubicBezTo>
                <a:cubicBezTo>
                  <a:pt x="416574" y="2253056"/>
                  <a:pt x="442459" y="2229149"/>
                  <a:pt x="442459" y="2229149"/>
                </a:cubicBezTo>
                <a:cubicBezTo>
                  <a:pt x="494228" y="2229149"/>
                  <a:pt x="546000" y="2205242"/>
                  <a:pt x="571886" y="2205242"/>
                </a:cubicBezTo>
                <a:lnTo>
                  <a:pt x="570992" y="2229996"/>
                </a:lnTo>
                <a:close/>
                <a:moveTo>
                  <a:pt x="8727175" y="2197085"/>
                </a:moveTo>
                <a:lnTo>
                  <a:pt x="8727175" y="2208519"/>
                </a:lnTo>
                <a:lnTo>
                  <a:pt x="8765837" y="2205494"/>
                </a:lnTo>
                <a:lnTo>
                  <a:pt x="8776929" y="2205989"/>
                </a:lnTo>
                <a:lnTo>
                  <a:pt x="8778427" y="2204644"/>
                </a:lnTo>
                <a:lnTo>
                  <a:pt x="8800687" y="2206046"/>
                </a:lnTo>
                <a:lnTo>
                  <a:pt x="8768495" y="2197085"/>
                </a:lnTo>
                <a:close/>
                <a:moveTo>
                  <a:pt x="5670154" y="2195331"/>
                </a:moveTo>
                <a:lnTo>
                  <a:pt x="5667745" y="2195921"/>
                </a:lnTo>
                <a:lnTo>
                  <a:pt x="5673571" y="2195921"/>
                </a:lnTo>
                <a:close/>
                <a:moveTo>
                  <a:pt x="14245736" y="2188366"/>
                </a:moveTo>
                <a:lnTo>
                  <a:pt x="14237302" y="2193057"/>
                </a:lnTo>
                <a:lnTo>
                  <a:pt x="14279767" y="2196694"/>
                </a:lnTo>
                <a:lnTo>
                  <a:pt x="14323308" y="2198427"/>
                </a:lnTo>
                <a:close/>
                <a:moveTo>
                  <a:pt x="6818840" y="2179117"/>
                </a:moveTo>
                <a:lnTo>
                  <a:pt x="6814598" y="2195761"/>
                </a:lnTo>
                <a:lnTo>
                  <a:pt x="6831449" y="2197085"/>
                </a:lnTo>
                <a:lnTo>
                  <a:pt x="6850192" y="2194840"/>
                </a:lnTo>
                <a:lnTo>
                  <a:pt x="6833477" y="2190783"/>
                </a:lnTo>
                <a:close/>
                <a:moveTo>
                  <a:pt x="13380290" y="2161448"/>
                </a:moveTo>
                <a:lnTo>
                  <a:pt x="13382168" y="2161815"/>
                </a:lnTo>
                <a:lnTo>
                  <a:pt x="13382645" y="2161448"/>
                </a:lnTo>
                <a:close/>
                <a:moveTo>
                  <a:pt x="4965148" y="2132594"/>
                </a:moveTo>
                <a:lnTo>
                  <a:pt x="4969618" y="2141690"/>
                </a:lnTo>
                <a:lnTo>
                  <a:pt x="5002942" y="2141690"/>
                </a:lnTo>
                <a:lnTo>
                  <a:pt x="5003073" y="2141609"/>
                </a:lnTo>
                <a:lnTo>
                  <a:pt x="4988283" y="2138523"/>
                </a:lnTo>
                <a:close/>
                <a:moveTo>
                  <a:pt x="1571189" y="2116669"/>
                </a:moveTo>
                <a:lnTo>
                  <a:pt x="1563242" y="2119893"/>
                </a:lnTo>
                <a:lnTo>
                  <a:pt x="1564833" y="2122965"/>
                </a:lnTo>
                <a:close/>
                <a:moveTo>
                  <a:pt x="4339241" y="2112559"/>
                </a:moveTo>
                <a:lnTo>
                  <a:pt x="4339683" y="2113324"/>
                </a:lnTo>
                <a:cubicBezTo>
                  <a:pt x="4339683" y="2113324"/>
                  <a:pt x="4347288" y="2120854"/>
                  <a:pt x="4351088" y="2128385"/>
                </a:cubicBezTo>
                <a:lnTo>
                  <a:pt x="4341768" y="2140690"/>
                </a:lnTo>
                <a:lnTo>
                  <a:pt x="4350074" y="2138523"/>
                </a:lnTo>
                <a:lnTo>
                  <a:pt x="4360740" y="2135612"/>
                </a:lnTo>
                <a:lnTo>
                  <a:pt x="4359234" y="2129335"/>
                </a:lnTo>
                <a:lnTo>
                  <a:pt x="4351582" y="2129335"/>
                </a:lnTo>
                <a:lnTo>
                  <a:pt x="4348526" y="2118086"/>
                </a:lnTo>
                <a:close/>
                <a:moveTo>
                  <a:pt x="5264178" y="2104000"/>
                </a:moveTo>
                <a:lnTo>
                  <a:pt x="5260321" y="2104107"/>
                </a:lnTo>
                <a:lnTo>
                  <a:pt x="5255335" y="2111861"/>
                </a:lnTo>
                <a:close/>
                <a:moveTo>
                  <a:pt x="1894969" y="2065719"/>
                </a:moveTo>
                <a:lnTo>
                  <a:pt x="1899895" y="2071364"/>
                </a:lnTo>
                <a:lnTo>
                  <a:pt x="1904888" y="2068072"/>
                </a:lnTo>
                <a:lnTo>
                  <a:pt x="1904179" y="2068072"/>
                </a:lnTo>
                <a:close/>
                <a:moveTo>
                  <a:pt x="5088827" y="2058616"/>
                </a:moveTo>
                <a:lnTo>
                  <a:pt x="5076325" y="2060367"/>
                </a:lnTo>
                <a:lnTo>
                  <a:pt x="5088318" y="2064090"/>
                </a:lnTo>
                <a:close/>
                <a:moveTo>
                  <a:pt x="14387607" y="2042449"/>
                </a:moveTo>
                <a:lnTo>
                  <a:pt x="14415720" y="2053428"/>
                </a:lnTo>
                <a:lnTo>
                  <a:pt x="14425379" y="2055766"/>
                </a:lnTo>
                <a:lnTo>
                  <a:pt x="14427709" y="2043567"/>
                </a:lnTo>
                <a:lnTo>
                  <a:pt x="14413560" y="2043567"/>
                </a:lnTo>
                <a:close/>
                <a:moveTo>
                  <a:pt x="1275952" y="2019061"/>
                </a:moveTo>
                <a:lnTo>
                  <a:pt x="1276959" y="2020257"/>
                </a:lnTo>
                <a:lnTo>
                  <a:pt x="1260821" y="2039385"/>
                </a:lnTo>
                <a:lnTo>
                  <a:pt x="1272490" y="2041503"/>
                </a:lnTo>
                <a:lnTo>
                  <a:pt x="1291493" y="2033108"/>
                </a:lnTo>
                <a:lnTo>
                  <a:pt x="1324479" y="2019061"/>
                </a:lnTo>
                <a:close/>
                <a:moveTo>
                  <a:pt x="1455221" y="2016649"/>
                </a:moveTo>
                <a:lnTo>
                  <a:pt x="1455221" y="2035072"/>
                </a:lnTo>
                <a:lnTo>
                  <a:pt x="1460044" y="2036335"/>
                </a:lnTo>
                <a:lnTo>
                  <a:pt x="1460044" y="2016649"/>
                </a:lnTo>
                <a:close/>
                <a:moveTo>
                  <a:pt x="1405172" y="1999926"/>
                </a:moveTo>
                <a:lnTo>
                  <a:pt x="1388759" y="2009200"/>
                </a:lnTo>
                <a:lnTo>
                  <a:pt x="1413350" y="2009200"/>
                </a:lnTo>
                <a:lnTo>
                  <a:pt x="1428325" y="2009200"/>
                </a:lnTo>
                <a:lnTo>
                  <a:pt x="1430524" y="2009200"/>
                </a:lnTo>
                <a:close/>
                <a:moveTo>
                  <a:pt x="1253618" y="1994556"/>
                </a:moveTo>
                <a:lnTo>
                  <a:pt x="1256788" y="1996350"/>
                </a:lnTo>
                <a:lnTo>
                  <a:pt x="1264038" y="2004940"/>
                </a:lnTo>
                <a:lnTo>
                  <a:pt x="1265102" y="1998311"/>
                </a:lnTo>
                <a:cubicBezTo>
                  <a:pt x="1268443" y="1995346"/>
                  <a:pt x="1275123" y="1995346"/>
                  <a:pt x="1288479" y="1995346"/>
                </a:cubicBezTo>
                <a:lnTo>
                  <a:pt x="1289931" y="1994556"/>
                </a:lnTo>
                <a:lnTo>
                  <a:pt x="1253692" y="1994556"/>
                </a:lnTo>
                <a:close/>
                <a:moveTo>
                  <a:pt x="1153102" y="1994556"/>
                </a:moveTo>
                <a:lnTo>
                  <a:pt x="1151914" y="1995866"/>
                </a:lnTo>
                <a:lnTo>
                  <a:pt x="1159291" y="1994556"/>
                </a:lnTo>
                <a:close/>
                <a:moveTo>
                  <a:pt x="10945676" y="1965795"/>
                </a:moveTo>
                <a:lnTo>
                  <a:pt x="10844008" y="1974183"/>
                </a:lnTo>
                <a:lnTo>
                  <a:pt x="10854958" y="1974820"/>
                </a:lnTo>
                <a:lnTo>
                  <a:pt x="11224158" y="1974820"/>
                </a:lnTo>
                <a:lnTo>
                  <a:pt x="11119647" y="1969325"/>
                </a:lnTo>
                <a:close/>
                <a:moveTo>
                  <a:pt x="1161270" y="1945678"/>
                </a:moveTo>
                <a:lnTo>
                  <a:pt x="1161270" y="1947126"/>
                </a:lnTo>
                <a:lnTo>
                  <a:pt x="1162953" y="1947126"/>
                </a:lnTo>
                <a:close/>
                <a:moveTo>
                  <a:pt x="13486961" y="1940763"/>
                </a:moveTo>
                <a:lnTo>
                  <a:pt x="13476876" y="1955329"/>
                </a:lnTo>
                <a:lnTo>
                  <a:pt x="13497118" y="1947937"/>
                </a:lnTo>
                <a:lnTo>
                  <a:pt x="13506050" y="1947937"/>
                </a:lnTo>
                <a:lnTo>
                  <a:pt x="13489549" y="1940763"/>
                </a:lnTo>
                <a:close/>
                <a:moveTo>
                  <a:pt x="6631988" y="1934386"/>
                </a:moveTo>
                <a:lnTo>
                  <a:pt x="6633859" y="1946795"/>
                </a:lnTo>
                <a:lnTo>
                  <a:pt x="6652429" y="1943884"/>
                </a:lnTo>
                <a:close/>
                <a:moveTo>
                  <a:pt x="13728284" y="1926539"/>
                </a:moveTo>
                <a:lnTo>
                  <a:pt x="13720586" y="1947937"/>
                </a:lnTo>
                <a:lnTo>
                  <a:pt x="13746807" y="1947937"/>
                </a:lnTo>
                <a:lnTo>
                  <a:pt x="13792500" y="1953211"/>
                </a:lnTo>
                <a:lnTo>
                  <a:pt x="13749650" y="1933592"/>
                </a:lnTo>
                <a:close/>
                <a:moveTo>
                  <a:pt x="5922085" y="1916468"/>
                </a:moveTo>
                <a:lnTo>
                  <a:pt x="5910690" y="1925418"/>
                </a:lnTo>
                <a:lnTo>
                  <a:pt x="5940188" y="1925418"/>
                </a:lnTo>
                <a:close/>
                <a:moveTo>
                  <a:pt x="14592153" y="1909785"/>
                </a:moveTo>
                <a:lnTo>
                  <a:pt x="14593491" y="1915418"/>
                </a:lnTo>
                <a:lnTo>
                  <a:pt x="14607360" y="1914859"/>
                </a:lnTo>
                <a:close/>
                <a:moveTo>
                  <a:pt x="9214072" y="1907037"/>
                </a:moveTo>
                <a:lnTo>
                  <a:pt x="9145329" y="1910272"/>
                </a:lnTo>
                <a:lnTo>
                  <a:pt x="9029924" y="1918674"/>
                </a:lnTo>
                <a:lnTo>
                  <a:pt x="9157709" y="1922044"/>
                </a:lnTo>
                <a:lnTo>
                  <a:pt x="9231058" y="1909788"/>
                </a:lnTo>
                <a:close/>
                <a:moveTo>
                  <a:pt x="6747197" y="1907037"/>
                </a:moveTo>
                <a:lnTo>
                  <a:pt x="6735353" y="1912005"/>
                </a:lnTo>
                <a:lnTo>
                  <a:pt x="6731951" y="1920695"/>
                </a:lnTo>
                <a:lnTo>
                  <a:pt x="6751563" y="1907560"/>
                </a:lnTo>
                <a:close/>
                <a:moveTo>
                  <a:pt x="6699844" y="1904507"/>
                </a:moveTo>
                <a:lnTo>
                  <a:pt x="6683962" y="1907037"/>
                </a:lnTo>
                <a:lnTo>
                  <a:pt x="6677763" y="1908852"/>
                </a:lnTo>
                <a:lnTo>
                  <a:pt x="6682386" y="1910368"/>
                </a:lnTo>
                <a:lnTo>
                  <a:pt x="6702393" y="1910368"/>
                </a:lnTo>
                <a:close/>
                <a:moveTo>
                  <a:pt x="6587863" y="1899653"/>
                </a:moveTo>
                <a:lnTo>
                  <a:pt x="6585728" y="1900041"/>
                </a:lnTo>
                <a:lnTo>
                  <a:pt x="6593208" y="1901055"/>
                </a:lnTo>
                <a:lnTo>
                  <a:pt x="6594023" y="1900852"/>
                </a:lnTo>
                <a:close/>
                <a:moveTo>
                  <a:pt x="9995035" y="1893977"/>
                </a:moveTo>
                <a:lnTo>
                  <a:pt x="9995035" y="1894927"/>
                </a:lnTo>
                <a:lnTo>
                  <a:pt x="9995828" y="1894927"/>
                </a:lnTo>
                <a:close/>
                <a:moveTo>
                  <a:pt x="9996519" y="1887386"/>
                </a:moveTo>
                <a:lnTo>
                  <a:pt x="9995035" y="1887436"/>
                </a:lnTo>
                <a:lnTo>
                  <a:pt x="9995035" y="1889286"/>
                </a:lnTo>
                <a:close/>
                <a:moveTo>
                  <a:pt x="14586459" y="1885824"/>
                </a:moveTo>
                <a:lnTo>
                  <a:pt x="14587669" y="1890923"/>
                </a:lnTo>
                <a:lnTo>
                  <a:pt x="14590082" y="1891895"/>
                </a:lnTo>
                <a:lnTo>
                  <a:pt x="14613908" y="1892375"/>
                </a:lnTo>
                <a:lnTo>
                  <a:pt x="14591338" y="1886859"/>
                </a:lnTo>
                <a:close/>
                <a:moveTo>
                  <a:pt x="13438175" y="1807009"/>
                </a:moveTo>
                <a:lnTo>
                  <a:pt x="13488011" y="1810518"/>
                </a:lnTo>
                <a:lnTo>
                  <a:pt x="13466784" y="1807009"/>
                </a:lnTo>
                <a:close/>
                <a:moveTo>
                  <a:pt x="1523968" y="1747746"/>
                </a:moveTo>
                <a:lnTo>
                  <a:pt x="1523829" y="1747757"/>
                </a:lnTo>
                <a:lnTo>
                  <a:pt x="1515986" y="1749875"/>
                </a:lnTo>
                <a:lnTo>
                  <a:pt x="1515847" y="1749953"/>
                </a:lnTo>
                <a:close/>
                <a:moveTo>
                  <a:pt x="3062908" y="1734697"/>
                </a:moveTo>
                <a:lnTo>
                  <a:pt x="3029467" y="1753882"/>
                </a:lnTo>
                <a:lnTo>
                  <a:pt x="3065477" y="1753882"/>
                </a:lnTo>
                <a:lnTo>
                  <a:pt x="3075997" y="1753106"/>
                </a:lnTo>
                <a:lnTo>
                  <a:pt x="3063129" y="1741536"/>
                </a:lnTo>
                <a:lnTo>
                  <a:pt x="3067040" y="1734697"/>
                </a:lnTo>
                <a:close/>
                <a:moveTo>
                  <a:pt x="1987065" y="1728440"/>
                </a:moveTo>
                <a:lnTo>
                  <a:pt x="2014019" y="1744120"/>
                </a:lnTo>
                <a:lnTo>
                  <a:pt x="2011075" y="1754789"/>
                </a:lnTo>
                <a:lnTo>
                  <a:pt x="2010228" y="1757864"/>
                </a:lnTo>
                <a:lnTo>
                  <a:pt x="1995203" y="1765647"/>
                </a:lnTo>
                <a:lnTo>
                  <a:pt x="2007054" y="1762565"/>
                </a:lnTo>
                <a:lnTo>
                  <a:pt x="2022527" y="1748754"/>
                </a:lnTo>
                <a:lnTo>
                  <a:pt x="2022527" y="1739109"/>
                </a:lnTo>
                <a:close/>
                <a:moveTo>
                  <a:pt x="5250502" y="1610068"/>
                </a:moveTo>
                <a:lnTo>
                  <a:pt x="5245004" y="1610890"/>
                </a:lnTo>
                <a:lnTo>
                  <a:pt x="5252516" y="1610890"/>
                </a:lnTo>
                <a:close/>
                <a:moveTo>
                  <a:pt x="12645202" y="1572256"/>
                </a:moveTo>
                <a:lnTo>
                  <a:pt x="12636640" y="1581708"/>
                </a:lnTo>
                <a:lnTo>
                  <a:pt x="12653561" y="1581708"/>
                </a:lnTo>
                <a:close/>
                <a:moveTo>
                  <a:pt x="4557916" y="1563790"/>
                </a:moveTo>
                <a:cubicBezTo>
                  <a:pt x="4530308" y="1563790"/>
                  <a:pt x="4502696" y="1563790"/>
                  <a:pt x="4475087" y="1590217"/>
                </a:cubicBezTo>
                <a:lnTo>
                  <a:pt x="4420889" y="1590217"/>
                </a:lnTo>
                <a:lnTo>
                  <a:pt x="4381077" y="1603014"/>
                </a:lnTo>
                <a:cubicBezTo>
                  <a:pt x="4070987" y="1687213"/>
                  <a:pt x="3735975" y="1741536"/>
                  <a:pt x="3398184" y="1795860"/>
                </a:cubicBezTo>
                <a:cubicBezTo>
                  <a:pt x="3315113" y="1795860"/>
                  <a:pt x="3232039" y="1823020"/>
                  <a:pt x="3146200" y="1795860"/>
                </a:cubicBezTo>
                <a:lnTo>
                  <a:pt x="3104805" y="1778942"/>
                </a:lnTo>
                <a:lnTo>
                  <a:pt x="3066809" y="1798515"/>
                </a:lnTo>
                <a:lnTo>
                  <a:pt x="3043253" y="1796622"/>
                </a:lnTo>
                <a:lnTo>
                  <a:pt x="3045104" y="1806390"/>
                </a:lnTo>
                <a:lnTo>
                  <a:pt x="2985741" y="1806390"/>
                </a:lnTo>
                <a:lnTo>
                  <a:pt x="3107830" y="1827696"/>
                </a:lnTo>
                <a:cubicBezTo>
                  <a:pt x="3242355" y="1834105"/>
                  <a:pt x="3389725" y="1798212"/>
                  <a:pt x="3537090" y="1777704"/>
                </a:cubicBezTo>
                <a:cubicBezTo>
                  <a:pt x="3761227" y="1750358"/>
                  <a:pt x="4013037" y="1723010"/>
                  <a:pt x="4264847" y="1640971"/>
                </a:cubicBezTo>
                <a:cubicBezTo>
                  <a:pt x="4292519" y="1640971"/>
                  <a:pt x="4320882" y="1647808"/>
                  <a:pt x="4349245" y="1654644"/>
                </a:cubicBezTo>
                <a:lnTo>
                  <a:pt x="4395038" y="1662064"/>
                </a:lnTo>
                <a:lnTo>
                  <a:pt x="4457194" y="1641601"/>
                </a:lnTo>
                <a:cubicBezTo>
                  <a:pt x="4457194" y="1641601"/>
                  <a:pt x="4457194" y="1647530"/>
                  <a:pt x="4457194" y="1656423"/>
                </a:cubicBezTo>
                <a:lnTo>
                  <a:pt x="4457194" y="1663437"/>
                </a:lnTo>
                <a:lnTo>
                  <a:pt x="4469625" y="1660861"/>
                </a:lnTo>
                <a:lnTo>
                  <a:pt x="4463903" y="1639882"/>
                </a:lnTo>
                <a:cubicBezTo>
                  <a:pt x="4467184" y="1630039"/>
                  <a:pt x="4473749" y="1623473"/>
                  <a:pt x="4473749" y="1623473"/>
                </a:cubicBezTo>
                <a:cubicBezTo>
                  <a:pt x="4526258" y="1594594"/>
                  <a:pt x="4552514" y="1594594"/>
                  <a:pt x="4607649" y="1594594"/>
                </a:cubicBezTo>
                <a:cubicBezTo>
                  <a:pt x="4607649" y="1594594"/>
                  <a:pt x="4633901" y="1623473"/>
                  <a:pt x="4633901" y="1594594"/>
                </a:cubicBezTo>
                <a:cubicBezTo>
                  <a:pt x="4647029" y="1581466"/>
                  <a:pt x="4660157" y="1574901"/>
                  <a:pt x="4676567" y="1571619"/>
                </a:cubicBezTo>
                <a:lnTo>
                  <a:pt x="4715139" y="1569587"/>
                </a:lnTo>
                <a:lnTo>
                  <a:pt x="4715413" y="1567698"/>
                </a:lnTo>
                <a:lnTo>
                  <a:pt x="4712428" y="1567442"/>
                </a:lnTo>
                <a:lnTo>
                  <a:pt x="4709662" y="1563790"/>
                </a:lnTo>
                <a:lnTo>
                  <a:pt x="4585524" y="1563790"/>
                </a:lnTo>
                <a:close/>
                <a:moveTo>
                  <a:pt x="1677829" y="1535595"/>
                </a:moveTo>
                <a:lnTo>
                  <a:pt x="1677829" y="1545559"/>
                </a:lnTo>
                <a:cubicBezTo>
                  <a:pt x="1677829" y="1548993"/>
                  <a:pt x="1677829" y="1548993"/>
                  <a:pt x="1677829" y="1548993"/>
                </a:cubicBezTo>
                <a:lnTo>
                  <a:pt x="1689533" y="1551328"/>
                </a:lnTo>
                <a:lnTo>
                  <a:pt x="1681765" y="1536143"/>
                </a:lnTo>
                <a:close/>
                <a:moveTo>
                  <a:pt x="12702639" y="1461620"/>
                </a:moveTo>
                <a:lnTo>
                  <a:pt x="12703344" y="1464364"/>
                </a:lnTo>
                <a:lnTo>
                  <a:pt x="12758400" y="1469101"/>
                </a:lnTo>
                <a:lnTo>
                  <a:pt x="12766625" y="1461620"/>
                </a:lnTo>
                <a:close/>
                <a:moveTo>
                  <a:pt x="3791028" y="1447677"/>
                </a:moveTo>
                <a:lnTo>
                  <a:pt x="3775159" y="1458129"/>
                </a:lnTo>
                <a:lnTo>
                  <a:pt x="3767804" y="1460645"/>
                </a:lnTo>
                <a:lnTo>
                  <a:pt x="3785950" y="1462876"/>
                </a:lnTo>
                <a:lnTo>
                  <a:pt x="3787672" y="1462876"/>
                </a:lnTo>
                <a:lnTo>
                  <a:pt x="3786530" y="1461378"/>
                </a:lnTo>
                <a:close/>
                <a:moveTo>
                  <a:pt x="15650609" y="1434884"/>
                </a:moveTo>
                <a:lnTo>
                  <a:pt x="15650086" y="1435111"/>
                </a:lnTo>
                <a:lnTo>
                  <a:pt x="15650506" y="1435599"/>
                </a:lnTo>
                <a:close/>
                <a:moveTo>
                  <a:pt x="2731707" y="1431909"/>
                </a:moveTo>
                <a:lnTo>
                  <a:pt x="2735441" y="1435627"/>
                </a:lnTo>
                <a:cubicBezTo>
                  <a:pt x="2738885" y="1439065"/>
                  <a:pt x="2738885" y="1439065"/>
                  <a:pt x="2738885" y="1439065"/>
                </a:cubicBezTo>
                <a:lnTo>
                  <a:pt x="2759985" y="1460104"/>
                </a:lnTo>
                <a:lnTo>
                  <a:pt x="2775754" y="1455439"/>
                </a:lnTo>
                <a:lnTo>
                  <a:pt x="2756768" y="1455439"/>
                </a:lnTo>
                <a:cubicBezTo>
                  <a:pt x="2756768" y="1455439"/>
                  <a:pt x="2756768" y="1455439"/>
                  <a:pt x="2756768" y="1452118"/>
                </a:cubicBezTo>
                <a:lnTo>
                  <a:pt x="2756768" y="1431909"/>
                </a:lnTo>
                <a:close/>
                <a:moveTo>
                  <a:pt x="4041699" y="1410855"/>
                </a:moveTo>
                <a:lnTo>
                  <a:pt x="4012913" y="1413535"/>
                </a:lnTo>
                <a:lnTo>
                  <a:pt x="4018788" y="1414485"/>
                </a:lnTo>
                <a:close/>
                <a:moveTo>
                  <a:pt x="6084593" y="1381631"/>
                </a:moveTo>
                <a:lnTo>
                  <a:pt x="6075827" y="1385927"/>
                </a:lnTo>
                <a:lnTo>
                  <a:pt x="6081852" y="1385404"/>
                </a:lnTo>
                <a:close/>
                <a:moveTo>
                  <a:pt x="3671178" y="1357493"/>
                </a:moveTo>
                <a:lnTo>
                  <a:pt x="3667420" y="1359514"/>
                </a:lnTo>
                <a:lnTo>
                  <a:pt x="3668342" y="1361710"/>
                </a:lnTo>
                <a:lnTo>
                  <a:pt x="3674082" y="1360838"/>
                </a:lnTo>
                <a:close/>
                <a:moveTo>
                  <a:pt x="13577277" y="1319027"/>
                </a:moveTo>
                <a:lnTo>
                  <a:pt x="13574484" y="1319194"/>
                </a:lnTo>
                <a:lnTo>
                  <a:pt x="13577712" y="1319614"/>
                </a:lnTo>
                <a:close/>
                <a:moveTo>
                  <a:pt x="2914956" y="1259397"/>
                </a:moveTo>
                <a:lnTo>
                  <a:pt x="2914272" y="1277102"/>
                </a:lnTo>
                <a:lnTo>
                  <a:pt x="2922197" y="1276216"/>
                </a:lnTo>
                <a:lnTo>
                  <a:pt x="2941322" y="1272162"/>
                </a:lnTo>
                <a:lnTo>
                  <a:pt x="2924795" y="1266849"/>
                </a:lnTo>
                <a:lnTo>
                  <a:pt x="2940802" y="1259397"/>
                </a:lnTo>
                <a:lnTo>
                  <a:pt x="2924799" y="1259397"/>
                </a:lnTo>
                <a:close/>
                <a:moveTo>
                  <a:pt x="1366848" y="1188273"/>
                </a:moveTo>
                <a:lnTo>
                  <a:pt x="1383063" y="1200048"/>
                </a:lnTo>
                <a:lnTo>
                  <a:pt x="1386324" y="1203793"/>
                </a:lnTo>
                <a:lnTo>
                  <a:pt x="1395792" y="1206331"/>
                </a:lnTo>
                <a:lnTo>
                  <a:pt x="1402486" y="1209192"/>
                </a:lnTo>
                <a:cubicBezTo>
                  <a:pt x="1412205" y="1212180"/>
                  <a:pt x="1418684" y="1212180"/>
                  <a:pt x="1418684" y="1212180"/>
                </a:cubicBezTo>
                <a:cubicBezTo>
                  <a:pt x="1418684" y="1236088"/>
                  <a:pt x="1418684" y="1283902"/>
                  <a:pt x="1392766" y="1283902"/>
                </a:cubicBezTo>
                <a:cubicBezTo>
                  <a:pt x="1366848" y="1283902"/>
                  <a:pt x="1340930" y="1283902"/>
                  <a:pt x="1312418" y="1283902"/>
                </a:cubicBezTo>
                <a:cubicBezTo>
                  <a:pt x="1286500" y="1259995"/>
                  <a:pt x="1286500" y="1236088"/>
                  <a:pt x="1312418" y="1212180"/>
                </a:cubicBezTo>
                <a:cubicBezTo>
                  <a:pt x="1340930" y="1212180"/>
                  <a:pt x="1340930" y="1212180"/>
                  <a:pt x="1366848" y="1188273"/>
                </a:cubicBezTo>
                <a:close/>
                <a:moveTo>
                  <a:pt x="2634797" y="1090078"/>
                </a:moveTo>
                <a:lnTo>
                  <a:pt x="2631125" y="1091206"/>
                </a:lnTo>
                <a:lnTo>
                  <a:pt x="2627054" y="1098153"/>
                </a:lnTo>
                <a:lnTo>
                  <a:pt x="2633616" y="1098153"/>
                </a:lnTo>
                <a:close/>
                <a:moveTo>
                  <a:pt x="17520192" y="1080423"/>
                </a:moveTo>
                <a:lnTo>
                  <a:pt x="17543580" y="1085185"/>
                </a:lnTo>
                <a:lnTo>
                  <a:pt x="17583800" y="1083548"/>
                </a:lnTo>
                <a:close/>
                <a:moveTo>
                  <a:pt x="1153640" y="1065690"/>
                </a:moveTo>
                <a:cubicBezTo>
                  <a:pt x="1180067" y="1065690"/>
                  <a:pt x="1206494" y="1065690"/>
                  <a:pt x="1259347" y="1065690"/>
                </a:cubicBezTo>
                <a:cubicBezTo>
                  <a:pt x="1232920" y="1089028"/>
                  <a:pt x="1206494" y="1089028"/>
                  <a:pt x="1153640" y="1112366"/>
                </a:cubicBezTo>
                <a:cubicBezTo>
                  <a:pt x="1153640" y="1112366"/>
                  <a:pt x="1127213" y="1112366"/>
                  <a:pt x="1127213" y="1089028"/>
                </a:cubicBezTo>
                <a:cubicBezTo>
                  <a:pt x="1127213" y="1089028"/>
                  <a:pt x="1127213" y="1065690"/>
                  <a:pt x="1153640" y="1065690"/>
                </a:cubicBezTo>
                <a:close/>
                <a:moveTo>
                  <a:pt x="8299093" y="1045420"/>
                </a:moveTo>
                <a:lnTo>
                  <a:pt x="8292851" y="1048253"/>
                </a:lnTo>
                <a:lnTo>
                  <a:pt x="8308378" y="1048253"/>
                </a:lnTo>
                <a:close/>
                <a:moveTo>
                  <a:pt x="7508063" y="1036477"/>
                </a:moveTo>
                <a:lnTo>
                  <a:pt x="7534085" y="1044545"/>
                </a:lnTo>
                <a:lnTo>
                  <a:pt x="7662645" y="1041744"/>
                </a:lnTo>
                <a:close/>
                <a:moveTo>
                  <a:pt x="17314510" y="1030680"/>
                </a:moveTo>
                <a:lnTo>
                  <a:pt x="17374420" y="1050744"/>
                </a:lnTo>
                <a:lnTo>
                  <a:pt x="17428914" y="1061840"/>
                </a:lnTo>
                <a:lnTo>
                  <a:pt x="17336936" y="1030680"/>
                </a:lnTo>
                <a:close/>
                <a:moveTo>
                  <a:pt x="15180601" y="1016737"/>
                </a:moveTo>
                <a:cubicBezTo>
                  <a:pt x="15207519" y="1016737"/>
                  <a:pt x="15261359" y="1016737"/>
                  <a:pt x="15288277" y="1016737"/>
                </a:cubicBezTo>
                <a:cubicBezTo>
                  <a:pt x="15344806" y="1016737"/>
                  <a:pt x="15398642" y="1040644"/>
                  <a:pt x="15425560" y="1040644"/>
                </a:cubicBezTo>
                <a:cubicBezTo>
                  <a:pt x="15452478" y="1064552"/>
                  <a:pt x="15479396" y="1064552"/>
                  <a:pt x="15506318" y="1088459"/>
                </a:cubicBezTo>
                <a:lnTo>
                  <a:pt x="15533236" y="1088459"/>
                </a:lnTo>
                <a:lnTo>
                  <a:pt x="15506318" y="1112366"/>
                </a:lnTo>
                <a:cubicBezTo>
                  <a:pt x="15479396" y="1112366"/>
                  <a:pt x="15479396" y="1112366"/>
                  <a:pt x="15452478" y="1112366"/>
                </a:cubicBezTo>
                <a:cubicBezTo>
                  <a:pt x="15425560" y="1112366"/>
                  <a:pt x="15425560" y="1088459"/>
                  <a:pt x="15398642" y="1088459"/>
                </a:cubicBezTo>
                <a:cubicBezTo>
                  <a:pt x="15317885" y="1112366"/>
                  <a:pt x="15234441" y="1088459"/>
                  <a:pt x="15180601" y="1016737"/>
                </a:cubicBezTo>
                <a:close/>
                <a:moveTo>
                  <a:pt x="2019043" y="1016680"/>
                </a:moveTo>
                <a:cubicBezTo>
                  <a:pt x="2019043" y="1040018"/>
                  <a:pt x="2019043" y="1040018"/>
                  <a:pt x="2019043" y="1040018"/>
                </a:cubicBezTo>
                <a:cubicBezTo>
                  <a:pt x="1964613" y="1040018"/>
                  <a:pt x="1912777" y="1063356"/>
                  <a:pt x="1886859" y="1063356"/>
                </a:cubicBezTo>
                <a:cubicBezTo>
                  <a:pt x="1912777" y="1016680"/>
                  <a:pt x="1964613" y="1016680"/>
                  <a:pt x="2019043" y="1016680"/>
                </a:cubicBezTo>
                <a:close/>
                <a:moveTo>
                  <a:pt x="8551468" y="1014082"/>
                </a:moveTo>
                <a:lnTo>
                  <a:pt x="8569240" y="1020235"/>
                </a:lnTo>
                <a:lnTo>
                  <a:pt x="8596159" y="1025641"/>
                </a:lnTo>
                <a:lnTo>
                  <a:pt x="8597215" y="1029887"/>
                </a:lnTo>
                <a:lnTo>
                  <a:pt x="8623204" y="1038851"/>
                </a:lnTo>
                <a:lnTo>
                  <a:pt x="8598259" y="1034178"/>
                </a:lnTo>
                <a:lnTo>
                  <a:pt x="8601774" y="1048253"/>
                </a:lnTo>
                <a:lnTo>
                  <a:pt x="8627741" y="1048253"/>
                </a:lnTo>
                <a:lnTo>
                  <a:pt x="8638321" y="1048253"/>
                </a:lnTo>
                <a:lnTo>
                  <a:pt x="8591145" y="1017662"/>
                </a:lnTo>
                <a:close/>
                <a:moveTo>
                  <a:pt x="16550464" y="1002381"/>
                </a:moveTo>
                <a:lnTo>
                  <a:pt x="16562436" y="1021047"/>
                </a:lnTo>
                <a:lnTo>
                  <a:pt x="16565364" y="1009417"/>
                </a:lnTo>
                <a:lnTo>
                  <a:pt x="16577756" y="1002381"/>
                </a:lnTo>
                <a:close/>
                <a:moveTo>
                  <a:pt x="4165068" y="1001620"/>
                </a:moveTo>
                <a:lnTo>
                  <a:pt x="4154819" y="1007104"/>
                </a:lnTo>
                <a:lnTo>
                  <a:pt x="4150570" y="1018737"/>
                </a:lnTo>
                <a:lnTo>
                  <a:pt x="4153737" y="1017033"/>
                </a:lnTo>
                <a:lnTo>
                  <a:pt x="4162798" y="1017033"/>
                </a:lnTo>
                <a:close/>
                <a:moveTo>
                  <a:pt x="16974878" y="976246"/>
                </a:moveTo>
                <a:lnTo>
                  <a:pt x="16980646" y="978784"/>
                </a:lnTo>
                <a:lnTo>
                  <a:pt x="16981046" y="977250"/>
                </a:lnTo>
                <a:close/>
                <a:moveTo>
                  <a:pt x="9088205" y="958236"/>
                </a:moveTo>
                <a:lnTo>
                  <a:pt x="9045949" y="959175"/>
                </a:lnTo>
                <a:lnTo>
                  <a:pt x="9076532" y="960229"/>
                </a:lnTo>
                <a:close/>
                <a:moveTo>
                  <a:pt x="9528718" y="949360"/>
                </a:moveTo>
                <a:lnTo>
                  <a:pt x="9501885" y="955307"/>
                </a:lnTo>
                <a:cubicBezTo>
                  <a:pt x="9471504" y="955307"/>
                  <a:pt x="9471504" y="955307"/>
                  <a:pt x="9444021" y="955307"/>
                </a:cubicBezTo>
                <a:lnTo>
                  <a:pt x="9419419" y="955307"/>
                </a:lnTo>
                <a:lnTo>
                  <a:pt x="9435608" y="960229"/>
                </a:lnTo>
                <a:lnTo>
                  <a:pt x="9439825" y="969456"/>
                </a:lnTo>
                <a:lnTo>
                  <a:pt x="9439547" y="968008"/>
                </a:lnTo>
                <a:cubicBezTo>
                  <a:pt x="9467184" y="968008"/>
                  <a:pt x="9467184" y="968008"/>
                  <a:pt x="9497605" y="968008"/>
                </a:cubicBezTo>
                <a:lnTo>
                  <a:pt x="9510854" y="969165"/>
                </a:lnTo>
                <a:lnTo>
                  <a:pt x="9508070" y="963531"/>
                </a:lnTo>
                <a:close/>
                <a:moveTo>
                  <a:pt x="5462063" y="818927"/>
                </a:moveTo>
                <a:lnTo>
                  <a:pt x="5425878" y="822735"/>
                </a:lnTo>
                <a:lnTo>
                  <a:pt x="5435786" y="830703"/>
                </a:lnTo>
                <a:close/>
                <a:moveTo>
                  <a:pt x="4018148" y="750866"/>
                </a:moveTo>
                <a:cubicBezTo>
                  <a:pt x="4049531" y="748388"/>
                  <a:pt x="4069618" y="768210"/>
                  <a:pt x="4089702" y="788030"/>
                </a:cubicBezTo>
                <a:cubicBezTo>
                  <a:pt x="3982582" y="814457"/>
                  <a:pt x="3899565" y="840884"/>
                  <a:pt x="3792444" y="840884"/>
                </a:cubicBezTo>
                <a:cubicBezTo>
                  <a:pt x="3738882" y="840884"/>
                  <a:pt x="3685320" y="840884"/>
                  <a:pt x="3629082" y="867311"/>
                </a:cubicBezTo>
                <a:cubicBezTo>
                  <a:pt x="3602303" y="840884"/>
                  <a:pt x="3602303" y="840884"/>
                  <a:pt x="3602303" y="814457"/>
                </a:cubicBezTo>
                <a:cubicBezTo>
                  <a:pt x="3655865" y="788030"/>
                  <a:pt x="3685320" y="788030"/>
                  <a:pt x="3738882" y="788030"/>
                </a:cubicBezTo>
                <a:cubicBezTo>
                  <a:pt x="3819223" y="814457"/>
                  <a:pt x="3899565" y="788030"/>
                  <a:pt x="3982582" y="761604"/>
                </a:cubicBezTo>
                <a:cubicBezTo>
                  <a:pt x="3995971" y="754996"/>
                  <a:pt x="4007687" y="751692"/>
                  <a:pt x="4018148" y="750866"/>
                </a:cubicBezTo>
                <a:close/>
                <a:moveTo>
                  <a:pt x="11664095" y="697818"/>
                </a:moveTo>
                <a:cubicBezTo>
                  <a:pt x="11715475" y="697818"/>
                  <a:pt x="11766859" y="697818"/>
                  <a:pt x="11820809" y="697818"/>
                </a:cubicBezTo>
                <a:cubicBezTo>
                  <a:pt x="11766859" y="720280"/>
                  <a:pt x="11715475" y="720280"/>
                  <a:pt x="11664095" y="697818"/>
                </a:cubicBezTo>
                <a:close/>
                <a:moveTo>
                  <a:pt x="5231908" y="660131"/>
                </a:moveTo>
                <a:cubicBezTo>
                  <a:pt x="5286341" y="660131"/>
                  <a:pt x="5312231" y="660131"/>
                  <a:pt x="5364096" y="660131"/>
                </a:cubicBezTo>
                <a:cubicBezTo>
                  <a:pt x="5338174" y="671270"/>
                  <a:pt x="5338174" y="671270"/>
                  <a:pt x="5312231" y="671270"/>
                </a:cubicBezTo>
                <a:cubicBezTo>
                  <a:pt x="5286341" y="671270"/>
                  <a:pt x="5257804" y="671270"/>
                  <a:pt x="5231908" y="660131"/>
                </a:cubicBezTo>
                <a:close/>
                <a:moveTo>
                  <a:pt x="11532345" y="624950"/>
                </a:moveTo>
                <a:cubicBezTo>
                  <a:pt x="11725084" y="651843"/>
                  <a:pt x="11893040" y="651843"/>
                  <a:pt x="12088530" y="678739"/>
                </a:cubicBezTo>
                <a:cubicBezTo>
                  <a:pt x="12198668" y="678739"/>
                  <a:pt x="12311557" y="705636"/>
                  <a:pt x="12421691" y="705636"/>
                </a:cubicBezTo>
                <a:cubicBezTo>
                  <a:pt x="12504295" y="705636"/>
                  <a:pt x="12589651" y="735223"/>
                  <a:pt x="12672252" y="735223"/>
                </a:cubicBezTo>
                <a:cubicBezTo>
                  <a:pt x="12699785" y="735223"/>
                  <a:pt x="12699785" y="762116"/>
                  <a:pt x="12727319" y="789013"/>
                </a:cubicBezTo>
                <a:cubicBezTo>
                  <a:pt x="12727319" y="815909"/>
                  <a:pt x="12727319" y="842806"/>
                  <a:pt x="12672252" y="842806"/>
                </a:cubicBezTo>
                <a:cubicBezTo>
                  <a:pt x="12617184" y="842806"/>
                  <a:pt x="12534580" y="842806"/>
                  <a:pt x="12449225" y="815909"/>
                </a:cubicBezTo>
                <a:cubicBezTo>
                  <a:pt x="12394157" y="789013"/>
                  <a:pt x="12339090" y="789013"/>
                  <a:pt x="12284023" y="789013"/>
                </a:cubicBezTo>
                <a:cubicBezTo>
                  <a:pt x="12198668" y="789013"/>
                  <a:pt x="12116067" y="789013"/>
                  <a:pt x="12060996" y="789013"/>
                </a:cubicBezTo>
                <a:lnTo>
                  <a:pt x="12039277" y="780415"/>
                </a:lnTo>
                <a:lnTo>
                  <a:pt x="11764631" y="758568"/>
                </a:lnTo>
                <a:cubicBezTo>
                  <a:pt x="11670881" y="752824"/>
                  <a:pt x="11580910" y="747081"/>
                  <a:pt x="11498729" y="735597"/>
                </a:cubicBezTo>
                <a:cubicBezTo>
                  <a:pt x="11471267" y="735597"/>
                  <a:pt x="11443794" y="735597"/>
                  <a:pt x="11443794" y="710323"/>
                </a:cubicBezTo>
                <a:cubicBezTo>
                  <a:pt x="11443794" y="710323"/>
                  <a:pt x="11443794" y="710323"/>
                  <a:pt x="11471267" y="710323"/>
                </a:cubicBezTo>
                <a:cubicBezTo>
                  <a:pt x="11525964" y="710323"/>
                  <a:pt x="11608383" y="710323"/>
                  <a:pt x="11663326" y="710323"/>
                </a:cubicBezTo>
                <a:cubicBezTo>
                  <a:pt x="11718272" y="735597"/>
                  <a:pt x="11773215" y="735597"/>
                  <a:pt x="11830908" y="710323"/>
                </a:cubicBezTo>
                <a:lnTo>
                  <a:pt x="11858378" y="710323"/>
                </a:lnTo>
                <a:lnTo>
                  <a:pt x="11874467" y="719330"/>
                </a:lnTo>
                <a:lnTo>
                  <a:pt x="11865506" y="705636"/>
                </a:lnTo>
                <a:cubicBezTo>
                  <a:pt x="11920573" y="735223"/>
                  <a:pt x="11975641" y="735223"/>
                  <a:pt x="12060996" y="735223"/>
                </a:cubicBezTo>
                <a:cubicBezTo>
                  <a:pt x="12033462" y="705636"/>
                  <a:pt x="11975641" y="705636"/>
                  <a:pt x="11948107" y="705636"/>
                </a:cubicBezTo>
                <a:cubicBezTo>
                  <a:pt x="11837973" y="678739"/>
                  <a:pt x="11697550" y="678739"/>
                  <a:pt x="11587412" y="678739"/>
                </a:cubicBezTo>
                <a:cubicBezTo>
                  <a:pt x="11557124" y="678739"/>
                  <a:pt x="11532345" y="678739"/>
                  <a:pt x="11505046" y="678739"/>
                </a:cubicBezTo>
                <a:cubicBezTo>
                  <a:pt x="11505046" y="651843"/>
                  <a:pt x="11505046" y="651843"/>
                  <a:pt x="11505046" y="651843"/>
                </a:cubicBezTo>
                <a:cubicBezTo>
                  <a:pt x="11505046" y="624950"/>
                  <a:pt x="11532345" y="624950"/>
                  <a:pt x="11532345" y="624950"/>
                </a:cubicBezTo>
                <a:close/>
                <a:moveTo>
                  <a:pt x="5648478" y="623373"/>
                </a:moveTo>
                <a:cubicBezTo>
                  <a:pt x="5700346" y="623373"/>
                  <a:pt x="5728851" y="623373"/>
                  <a:pt x="5780680" y="623373"/>
                </a:cubicBezTo>
                <a:cubicBezTo>
                  <a:pt x="5728851" y="634512"/>
                  <a:pt x="5700346" y="634512"/>
                  <a:pt x="5648478" y="634512"/>
                </a:cubicBezTo>
                <a:cubicBezTo>
                  <a:pt x="5648478" y="623373"/>
                  <a:pt x="5648478" y="623373"/>
                  <a:pt x="5648478" y="623373"/>
                </a:cubicBezTo>
                <a:close/>
                <a:moveTo>
                  <a:pt x="6037675" y="600124"/>
                </a:moveTo>
                <a:cubicBezTo>
                  <a:pt x="5957131" y="647555"/>
                  <a:pt x="5900729" y="671270"/>
                  <a:pt x="5820039" y="623839"/>
                </a:cubicBezTo>
                <a:cubicBezTo>
                  <a:pt x="5900729" y="623839"/>
                  <a:pt x="5957131" y="623839"/>
                  <a:pt x="6037675" y="600124"/>
                </a:cubicBezTo>
                <a:close/>
                <a:moveTo>
                  <a:pt x="6642840" y="491623"/>
                </a:moveTo>
                <a:cubicBezTo>
                  <a:pt x="6681143" y="488177"/>
                  <a:pt x="6716630" y="501961"/>
                  <a:pt x="6736111" y="501961"/>
                </a:cubicBezTo>
                <a:cubicBezTo>
                  <a:pt x="6736111" y="501961"/>
                  <a:pt x="6710136" y="501961"/>
                  <a:pt x="6710136" y="524239"/>
                </a:cubicBezTo>
                <a:cubicBezTo>
                  <a:pt x="6681660" y="501961"/>
                  <a:pt x="6655706" y="501961"/>
                  <a:pt x="6604087" y="501961"/>
                </a:cubicBezTo>
                <a:cubicBezTo>
                  <a:pt x="6616992" y="495834"/>
                  <a:pt x="6630072" y="492771"/>
                  <a:pt x="6642840" y="491623"/>
                </a:cubicBezTo>
                <a:close/>
                <a:moveTo>
                  <a:pt x="11834841" y="477798"/>
                </a:moveTo>
                <a:cubicBezTo>
                  <a:pt x="11971904" y="506057"/>
                  <a:pt x="12111711" y="506057"/>
                  <a:pt x="12248774" y="531747"/>
                </a:cubicBezTo>
                <a:cubicBezTo>
                  <a:pt x="12278927" y="531747"/>
                  <a:pt x="12306339" y="531747"/>
                  <a:pt x="12361165" y="531747"/>
                </a:cubicBezTo>
                <a:cubicBezTo>
                  <a:pt x="12415990" y="531747"/>
                  <a:pt x="12498228" y="557438"/>
                  <a:pt x="12555797" y="608822"/>
                </a:cubicBezTo>
                <a:cubicBezTo>
                  <a:pt x="12528384" y="634512"/>
                  <a:pt x="12528384" y="608822"/>
                  <a:pt x="12498228" y="608822"/>
                </a:cubicBezTo>
                <a:cubicBezTo>
                  <a:pt x="12278927" y="583128"/>
                  <a:pt x="12084298" y="557438"/>
                  <a:pt x="11862253" y="531747"/>
                </a:cubicBezTo>
                <a:cubicBezTo>
                  <a:pt x="11834841" y="531747"/>
                  <a:pt x="11777275" y="531747"/>
                  <a:pt x="11749863" y="506057"/>
                </a:cubicBezTo>
                <a:cubicBezTo>
                  <a:pt x="11777275" y="477798"/>
                  <a:pt x="11807428" y="477798"/>
                  <a:pt x="11834841" y="477798"/>
                </a:cubicBezTo>
                <a:close/>
                <a:moveTo>
                  <a:pt x="9468259" y="477456"/>
                </a:moveTo>
                <a:cubicBezTo>
                  <a:pt x="9468259" y="477456"/>
                  <a:pt x="9493515" y="477456"/>
                  <a:pt x="9493515" y="501961"/>
                </a:cubicBezTo>
                <a:cubicBezTo>
                  <a:pt x="9493515" y="524239"/>
                  <a:pt x="9468259" y="524239"/>
                  <a:pt x="9445412" y="501961"/>
                </a:cubicBezTo>
                <a:cubicBezTo>
                  <a:pt x="9433871" y="489709"/>
                  <a:pt x="9433871" y="483580"/>
                  <a:pt x="9439629" y="480520"/>
                </a:cubicBezTo>
                <a:cubicBezTo>
                  <a:pt x="9445412" y="477456"/>
                  <a:pt x="9456814" y="477456"/>
                  <a:pt x="9468259" y="477456"/>
                </a:cubicBezTo>
                <a:close/>
                <a:moveTo>
                  <a:pt x="4846673" y="463480"/>
                </a:moveTo>
                <a:cubicBezTo>
                  <a:pt x="4871141" y="467079"/>
                  <a:pt x="4891819" y="480819"/>
                  <a:pt x="4905604" y="508299"/>
                </a:cubicBezTo>
                <a:cubicBezTo>
                  <a:pt x="4933177" y="560640"/>
                  <a:pt x="4988315" y="560640"/>
                  <a:pt x="5015888" y="586811"/>
                </a:cubicBezTo>
                <a:cubicBezTo>
                  <a:pt x="5046212" y="586811"/>
                  <a:pt x="5046212" y="586811"/>
                  <a:pt x="5073780" y="586811"/>
                </a:cubicBezTo>
                <a:cubicBezTo>
                  <a:pt x="5073780" y="586811"/>
                  <a:pt x="5073780" y="560640"/>
                  <a:pt x="5101361" y="560640"/>
                </a:cubicBezTo>
                <a:cubicBezTo>
                  <a:pt x="5128930" y="534470"/>
                  <a:pt x="5128930" y="534470"/>
                  <a:pt x="5156506" y="560640"/>
                </a:cubicBezTo>
                <a:lnTo>
                  <a:pt x="5184068" y="586811"/>
                </a:lnTo>
                <a:cubicBezTo>
                  <a:pt x="5239239" y="612982"/>
                  <a:pt x="5269551" y="586811"/>
                  <a:pt x="5269551" y="560640"/>
                </a:cubicBezTo>
                <a:cubicBezTo>
                  <a:pt x="5269551" y="534470"/>
                  <a:pt x="5269551" y="508299"/>
                  <a:pt x="5297132" y="508299"/>
                </a:cubicBezTo>
                <a:cubicBezTo>
                  <a:pt x="5407416" y="508299"/>
                  <a:pt x="5492896" y="479509"/>
                  <a:pt x="5603180" y="508299"/>
                </a:cubicBezTo>
                <a:lnTo>
                  <a:pt x="5642193" y="529904"/>
                </a:lnTo>
                <a:lnTo>
                  <a:pt x="5624009" y="502374"/>
                </a:lnTo>
                <a:cubicBezTo>
                  <a:pt x="5735389" y="502374"/>
                  <a:pt x="5844024" y="502374"/>
                  <a:pt x="5982326" y="502374"/>
                </a:cubicBezTo>
                <a:cubicBezTo>
                  <a:pt x="6036682" y="502374"/>
                  <a:pt x="6118091" y="502374"/>
                  <a:pt x="6172450" y="502374"/>
                </a:cubicBezTo>
                <a:cubicBezTo>
                  <a:pt x="6172450" y="555231"/>
                  <a:pt x="6145265" y="528804"/>
                  <a:pt x="6145265" y="528804"/>
                </a:cubicBezTo>
                <a:cubicBezTo>
                  <a:pt x="6118091" y="555231"/>
                  <a:pt x="6090920" y="555231"/>
                  <a:pt x="6090920" y="555231"/>
                </a:cubicBezTo>
                <a:cubicBezTo>
                  <a:pt x="6063771" y="581658"/>
                  <a:pt x="6036682" y="581658"/>
                  <a:pt x="6036682" y="581658"/>
                </a:cubicBezTo>
                <a:cubicBezTo>
                  <a:pt x="5955298" y="608085"/>
                  <a:pt x="5898345" y="634512"/>
                  <a:pt x="5816875" y="608085"/>
                </a:cubicBezTo>
                <a:lnTo>
                  <a:pt x="5789709" y="608085"/>
                </a:lnTo>
                <a:lnTo>
                  <a:pt x="5713709" y="608085"/>
                </a:lnTo>
                <a:lnTo>
                  <a:pt x="5711414" y="609708"/>
                </a:lnTo>
                <a:cubicBezTo>
                  <a:pt x="5693503" y="612982"/>
                  <a:pt x="5672104" y="612982"/>
                  <a:pt x="5658293" y="612982"/>
                </a:cubicBezTo>
                <a:cubicBezTo>
                  <a:pt x="5658293" y="612982"/>
                  <a:pt x="5658293" y="612982"/>
                  <a:pt x="5630745" y="639152"/>
                </a:cubicBezTo>
                <a:cubicBezTo>
                  <a:pt x="5630745" y="612982"/>
                  <a:pt x="5603180" y="612982"/>
                  <a:pt x="5575596" y="612982"/>
                </a:cubicBezTo>
                <a:cubicBezTo>
                  <a:pt x="5575596" y="639152"/>
                  <a:pt x="5575596" y="639152"/>
                  <a:pt x="5575596" y="639152"/>
                </a:cubicBezTo>
                <a:lnTo>
                  <a:pt x="5548048" y="612982"/>
                </a:lnTo>
                <a:cubicBezTo>
                  <a:pt x="5520443" y="612982"/>
                  <a:pt x="5520443" y="612982"/>
                  <a:pt x="5492896" y="612982"/>
                </a:cubicBezTo>
                <a:cubicBezTo>
                  <a:pt x="5462568" y="639152"/>
                  <a:pt x="5462568" y="639152"/>
                  <a:pt x="5462568" y="639152"/>
                </a:cubicBezTo>
                <a:cubicBezTo>
                  <a:pt x="5407416" y="639152"/>
                  <a:pt x="5379839" y="639152"/>
                  <a:pt x="5352249" y="639152"/>
                </a:cubicBezTo>
                <a:cubicBezTo>
                  <a:pt x="5297132" y="665323"/>
                  <a:pt x="5269551" y="612982"/>
                  <a:pt x="5211651" y="639152"/>
                </a:cubicBezTo>
                <a:cubicBezTo>
                  <a:pt x="5184068" y="639152"/>
                  <a:pt x="5156506" y="639152"/>
                  <a:pt x="5128930" y="639152"/>
                </a:cubicBezTo>
                <a:cubicBezTo>
                  <a:pt x="5046212" y="665323"/>
                  <a:pt x="4933177" y="665323"/>
                  <a:pt x="4850462" y="665323"/>
                </a:cubicBezTo>
                <a:cubicBezTo>
                  <a:pt x="4709858" y="691490"/>
                  <a:pt x="4569250" y="691490"/>
                  <a:pt x="4431401" y="720280"/>
                </a:cubicBezTo>
                <a:cubicBezTo>
                  <a:pt x="4403828" y="720280"/>
                  <a:pt x="4376259" y="720280"/>
                  <a:pt x="4376259" y="720280"/>
                </a:cubicBezTo>
                <a:cubicBezTo>
                  <a:pt x="4318363" y="665323"/>
                  <a:pt x="4235651" y="691490"/>
                  <a:pt x="4152940" y="691490"/>
                </a:cubicBezTo>
                <a:cubicBezTo>
                  <a:pt x="4095047" y="691490"/>
                  <a:pt x="4067474" y="691490"/>
                  <a:pt x="4012332" y="691490"/>
                </a:cubicBezTo>
                <a:cubicBezTo>
                  <a:pt x="3984767" y="665323"/>
                  <a:pt x="3957194" y="665323"/>
                  <a:pt x="3899298" y="665323"/>
                </a:cubicBezTo>
                <a:cubicBezTo>
                  <a:pt x="3816586" y="691490"/>
                  <a:pt x="3706306" y="691490"/>
                  <a:pt x="3620840" y="691490"/>
                </a:cubicBezTo>
                <a:cubicBezTo>
                  <a:pt x="3593271" y="691490"/>
                  <a:pt x="3593271" y="691490"/>
                  <a:pt x="3565698" y="691490"/>
                </a:cubicBezTo>
                <a:cubicBezTo>
                  <a:pt x="3565698" y="691490"/>
                  <a:pt x="3565698" y="691490"/>
                  <a:pt x="3565698" y="665323"/>
                </a:cubicBezTo>
                <a:cubicBezTo>
                  <a:pt x="3565698" y="665323"/>
                  <a:pt x="3593271" y="639152"/>
                  <a:pt x="3620840" y="639152"/>
                </a:cubicBezTo>
                <a:cubicBezTo>
                  <a:pt x="3706306" y="639152"/>
                  <a:pt x="3816586" y="639152"/>
                  <a:pt x="3899298" y="612982"/>
                </a:cubicBezTo>
                <a:cubicBezTo>
                  <a:pt x="3929625" y="612982"/>
                  <a:pt x="3957194" y="612982"/>
                  <a:pt x="3984767" y="612982"/>
                </a:cubicBezTo>
                <a:cubicBezTo>
                  <a:pt x="4067474" y="586811"/>
                  <a:pt x="4152940" y="586811"/>
                  <a:pt x="4263221" y="586811"/>
                </a:cubicBezTo>
                <a:lnTo>
                  <a:pt x="4276580" y="585028"/>
                </a:lnTo>
                <a:lnTo>
                  <a:pt x="4277406" y="584085"/>
                </a:lnTo>
                <a:lnTo>
                  <a:pt x="4276167" y="583128"/>
                </a:lnTo>
                <a:lnTo>
                  <a:pt x="4278772" y="582519"/>
                </a:lnTo>
                <a:lnTo>
                  <a:pt x="4309309" y="547577"/>
                </a:lnTo>
                <a:lnTo>
                  <a:pt x="4374882" y="560416"/>
                </a:lnTo>
                <a:lnTo>
                  <a:pt x="4388085" y="557438"/>
                </a:lnTo>
                <a:cubicBezTo>
                  <a:pt x="4388085" y="531747"/>
                  <a:pt x="4415380" y="531747"/>
                  <a:pt x="4442678" y="506057"/>
                </a:cubicBezTo>
                <a:lnTo>
                  <a:pt x="4456892" y="503470"/>
                </a:lnTo>
                <a:lnTo>
                  <a:pt x="4437572" y="501961"/>
                </a:lnTo>
                <a:cubicBezTo>
                  <a:pt x="4437572" y="501961"/>
                  <a:pt x="4410935" y="477456"/>
                  <a:pt x="4437572" y="477456"/>
                </a:cubicBezTo>
                <a:cubicBezTo>
                  <a:pt x="4437572" y="477456"/>
                  <a:pt x="4437572" y="477456"/>
                  <a:pt x="4464205" y="477456"/>
                </a:cubicBezTo>
                <a:cubicBezTo>
                  <a:pt x="4517475" y="477456"/>
                  <a:pt x="4570742" y="477456"/>
                  <a:pt x="4653307" y="501961"/>
                </a:cubicBezTo>
                <a:lnTo>
                  <a:pt x="4567877" y="508516"/>
                </a:lnTo>
                <a:lnTo>
                  <a:pt x="4601215" y="512922"/>
                </a:lnTo>
                <a:cubicBezTo>
                  <a:pt x="4621642" y="513925"/>
                  <a:pt x="4642627" y="512481"/>
                  <a:pt x="4663784" y="506057"/>
                </a:cubicBezTo>
                <a:lnTo>
                  <a:pt x="4685965" y="506057"/>
                </a:lnTo>
                <a:lnTo>
                  <a:pt x="4723640" y="483111"/>
                </a:lnTo>
                <a:cubicBezTo>
                  <a:pt x="4737427" y="479509"/>
                  <a:pt x="4751210" y="479509"/>
                  <a:pt x="4764997" y="479509"/>
                </a:cubicBezTo>
                <a:cubicBezTo>
                  <a:pt x="4793945" y="466424"/>
                  <a:pt x="4822204" y="459881"/>
                  <a:pt x="4846673" y="463480"/>
                </a:cubicBezTo>
                <a:close/>
                <a:moveTo>
                  <a:pt x="14025303" y="416716"/>
                </a:moveTo>
                <a:cubicBezTo>
                  <a:pt x="14053022" y="416716"/>
                  <a:pt x="14080740" y="416716"/>
                  <a:pt x="14108459" y="416716"/>
                </a:cubicBezTo>
                <a:cubicBezTo>
                  <a:pt x="14166669" y="444211"/>
                  <a:pt x="14222106" y="444211"/>
                  <a:pt x="14277543" y="444211"/>
                </a:cubicBezTo>
                <a:cubicBezTo>
                  <a:pt x="14332981" y="444211"/>
                  <a:pt x="14391190" y="471705"/>
                  <a:pt x="14446628" y="501954"/>
                </a:cubicBezTo>
                <a:cubicBezTo>
                  <a:pt x="14529780" y="556943"/>
                  <a:pt x="14643427" y="556943"/>
                  <a:pt x="14726583" y="556943"/>
                </a:cubicBezTo>
                <a:cubicBezTo>
                  <a:pt x="14809739" y="584441"/>
                  <a:pt x="14923386" y="584441"/>
                  <a:pt x="15006538" y="611936"/>
                </a:cubicBezTo>
                <a:cubicBezTo>
                  <a:pt x="15034257" y="611936"/>
                  <a:pt x="15092470" y="639434"/>
                  <a:pt x="15120189" y="639434"/>
                </a:cubicBezTo>
                <a:cubicBezTo>
                  <a:pt x="15175626" y="666928"/>
                  <a:pt x="15231060" y="666928"/>
                  <a:pt x="15286497" y="639434"/>
                </a:cubicBezTo>
                <a:cubicBezTo>
                  <a:pt x="15286497" y="639434"/>
                  <a:pt x="15316988" y="639434"/>
                  <a:pt x="15344707" y="639434"/>
                </a:cubicBezTo>
                <a:cubicBezTo>
                  <a:pt x="15483300" y="639434"/>
                  <a:pt x="15596947" y="639434"/>
                  <a:pt x="15735537" y="694426"/>
                </a:cubicBezTo>
                <a:lnTo>
                  <a:pt x="15733405" y="698497"/>
                </a:lnTo>
                <a:lnTo>
                  <a:pt x="15741658" y="698497"/>
                </a:lnTo>
                <a:cubicBezTo>
                  <a:pt x="15965604" y="728447"/>
                  <a:pt x="16189552" y="782906"/>
                  <a:pt x="16413498" y="810134"/>
                </a:cubicBezTo>
                <a:cubicBezTo>
                  <a:pt x="16554504" y="837361"/>
                  <a:pt x="16665094" y="864589"/>
                  <a:pt x="16806096" y="864589"/>
                </a:cubicBezTo>
                <a:cubicBezTo>
                  <a:pt x="16944338" y="891816"/>
                  <a:pt x="17057692" y="919047"/>
                  <a:pt x="17198696" y="948997"/>
                </a:cubicBezTo>
                <a:cubicBezTo>
                  <a:pt x="17364584" y="976225"/>
                  <a:pt x="17533234" y="1030680"/>
                  <a:pt x="17701884" y="1057911"/>
                </a:cubicBezTo>
                <a:lnTo>
                  <a:pt x="17674944" y="1079836"/>
                </a:lnTo>
                <a:lnTo>
                  <a:pt x="17712742" y="1078295"/>
                </a:lnTo>
                <a:cubicBezTo>
                  <a:pt x="17768204" y="1078295"/>
                  <a:pt x="17795934" y="1105847"/>
                  <a:pt x="17851396" y="1105847"/>
                </a:cubicBezTo>
                <a:cubicBezTo>
                  <a:pt x="18048288" y="1160953"/>
                  <a:pt x="18217446" y="1218810"/>
                  <a:pt x="18414338" y="1246362"/>
                </a:cubicBezTo>
                <a:cubicBezTo>
                  <a:pt x="18497534" y="1273913"/>
                  <a:pt x="18611230" y="1301465"/>
                  <a:pt x="18694422" y="1329016"/>
                </a:cubicBezTo>
                <a:cubicBezTo>
                  <a:pt x="19029972" y="1441980"/>
                  <a:pt x="19340560" y="1552185"/>
                  <a:pt x="19676106" y="1692697"/>
                </a:cubicBezTo>
                <a:cubicBezTo>
                  <a:pt x="19731568" y="1692697"/>
                  <a:pt x="19789802" y="1720248"/>
                  <a:pt x="19845264" y="1747803"/>
                </a:cubicBezTo>
                <a:lnTo>
                  <a:pt x="19850240" y="1750946"/>
                </a:lnTo>
                <a:lnTo>
                  <a:pt x="19883396" y="1771910"/>
                </a:lnTo>
                <a:cubicBezTo>
                  <a:pt x="19893794" y="1775355"/>
                  <a:pt x="19900726" y="1775355"/>
                  <a:pt x="19900726" y="1775355"/>
                </a:cubicBezTo>
                <a:cubicBezTo>
                  <a:pt x="19914596" y="1789130"/>
                  <a:pt x="19928460" y="1789130"/>
                  <a:pt x="19942324" y="1789130"/>
                </a:cubicBezTo>
                <a:lnTo>
                  <a:pt x="19961158" y="1795365"/>
                </a:lnTo>
                <a:lnTo>
                  <a:pt x="19983922" y="1802906"/>
                </a:lnTo>
                <a:lnTo>
                  <a:pt x="20004260" y="1816216"/>
                </a:lnTo>
                <a:lnTo>
                  <a:pt x="19983638" y="1800849"/>
                </a:lnTo>
                <a:cubicBezTo>
                  <a:pt x="20038776" y="1800849"/>
                  <a:pt x="20065032" y="1824187"/>
                  <a:pt x="20091284" y="1847525"/>
                </a:cubicBezTo>
                <a:lnTo>
                  <a:pt x="20048234" y="1842771"/>
                </a:lnTo>
                <a:lnTo>
                  <a:pt x="20097618" y="1858009"/>
                </a:lnTo>
                <a:lnTo>
                  <a:pt x="20127096" y="1875916"/>
                </a:lnTo>
                <a:lnTo>
                  <a:pt x="20291796" y="1947845"/>
                </a:lnTo>
                <a:cubicBezTo>
                  <a:pt x="20487142" y="2030410"/>
                  <a:pt x="20682494" y="2143246"/>
                  <a:pt x="20875090" y="2225811"/>
                </a:cubicBezTo>
                <a:cubicBezTo>
                  <a:pt x="20960386" y="2253330"/>
                  <a:pt x="21015414" y="2280853"/>
                  <a:pt x="21042926" y="2308376"/>
                </a:cubicBezTo>
                <a:cubicBezTo>
                  <a:pt x="21125470" y="2363419"/>
                  <a:pt x="21183248" y="2393692"/>
                  <a:pt x="21238276" y="2421212"/>
                </a:cubicBezTo>
                <a:cubicBezTo>
                  <a:pt x="21348332" y="2448735"/>
                  <a:pt x="21433628" y="2503777"/>
                  <a:pt x="21488656" y="2558819"/>
                </a:cubicBezTo>
                <a:cubicBezTo>
                  <a:pt x="21543684" y="2616613"/>
                  <a:pt x="21571196" y="2644136"/>
                  <a:pt x="21626224" y="2671655"/>
                </a:cubicBezTo>
                <a:cubicBezTo>
                  <a:pt x="21626224" y="2685416"/>
                  <a:pt x="21640668" y="2692299"/>
                  <a:pt x="21651676" y="2702619"/>
                </a:cubicBezTo>
                <a:lnTo>
                  <a:pt x="21652466" y="2711114"/>
                </a:lnTo>
                <a:lnTo>
                  <a:pt x="21668408" y="2722299"/>
                </a:lnTo>
                <a:lnTo>
                  <a:pt x="21649996" y="2671093"/>
                </a:lnTo>
                <a:cubicBezTo>
                  <a:pt x="21704426" y="2697523"/>
                  <a:pt x="21756266" y="2750377"/>
                  <a:pt x="21782184" y="2803231"/>
                </a:cubicBezTo>
                <a:lnTo>
                  <a:pt x="21772774" y="2800708"/>
                </a:lnTo>
                <a:lnTo>
                  <a:pt x="21780710" y="2806675"/>
                </a:lnTo>
                <a:cubicBezTo>
                  <a:pt x="21780710" y="2806675"/>
                  <a:pt x="21780710" y="2834387"/>
                  <a:pt x="21808344" y="2834387"/>
                </a:cubicBezTo>
                <a:lnTo>
                  <a:pt x="21817508" y="2847195"/>
                </a:lnTo>
                <a:lnTo>
                  <a:pt x="21828532" y="2853262"/>
                </a:lnTo>
                <a:lnTo>
                  <a:pt x="21831230" y="2863643"/>
                </a:lnTo>
                <a:lnTo>
                  <a:pt x="21832560" y="2864177"/>
                </a:lnTo>
                <a:lnTo>
                  <a:pt x="21834116" y="2870415"/>
                </a:lnTo>
                <a:lnTo>
                  <a:pt x="21841978" y="2881405"/>
                </a:lnTo>
                <a:lnTo>
                  <a:pt x="21860120" y="2891792"/>
                </a:lnTo>
                <a:cubicBezTo>
                  <a:pt x="21860120" y="2891792"/>
                  <a:pt x="21887674" y="2891792"/>
                  <a:pt x="21887674" y="2919408"/>
                </a:cubicBezTo>
                <a:lnTo>
                  <a:pt x="21891122" y="2922422"/>
                </a:lnTo>
                <a:lnTo>
                  <a:pt x="21891244" y="2920298"/>
                </a:lnTo>
                <a:cubicBezTo>
                  <a:pt x="22004542" y="2864871"/>
                  <a:pt x="22115078" y="2920298"/>
                  <a:pt x="22228376" y="2948009"/>
                </a:cubicBezTo>
                <a:cubicBezTo>
                  <a:pt x="22283644" y="2975721"/>
                  <a:pt x="22338910" y="3058859"/>
                  <a:pt x="22396942" y="3117058"/>
                </a:cubicBezTo>
                <a:cubicBezTo>
                  <a:pt x="22424574" y="3172481"/>
                  <a:pt x="22479842" y="3200196"/>
                  <a:pt x="22507474" y="3255620"/>
                </a:cubicBezTo>
                <a:cubicBezTo>
                  <a:pt x="22535108" y="3283334"/>
                  <a:pt x="22562742" y="3341530"/>
                  <a:pt x="22593140" y="3369241"/>
                </a:cubicBezTo>
                <a:lnTo>
                  <a:pt x="22596304" y="3389170"/>
                </a:lnTo>
                <a:lnTo>
                  <a:pt x="22599936" y="3381796"/>
                </a:lnTo>
                <a:cubicBezTo>
                  <a:pt x="22679218" y="3489451"/>
                  <a:pt x="22732070" y="3599795"/>
                  <a:pt x="22758498" y="3707449"/>
                </a:cubicBezTo>
                <a:cubicBezTo>
                  <a:pt x="22758498" y="3734363"/>
                  <a:pt x="22784928" y="3763969"/>
                  <a:pt x="22811354" y="3763969"/>
                </a:cubicBezTo>
                <a:cubicBezTo>
                  <a:pt x="22811354" y="3790879"/>
                  <a:pt x="22811354" y="3804339"/>
                  <a:pt x="22804746" y="3814431"/>
                </a:cubicBezTo>
                <a:lnTo>
                  <a:pt x="22758726" y="3844558"/>
                </a:lnTo>
                <a:lnTo>
                  <a:pt x="22758938" y="3845900"/>
                </a:lnTo>
                <a:cubicBezTo>
                  <a:pt x="22786576" y="3845900"/>
                  <a:pt x="22786576" y="3873612"/>
                  <a:pt x="22814210" y="3873612"/>
                </a:cubicBezTo>
                <a:cubicBezTo>
                  <a:pt x="22872238" y="3873612"/>
                  <a:pt x="22872238" y="3929038"/>
                  <a:pt x="22899870" y="3956750"/>
                </a:cubicBezTo>
                <a:lnTo>
                  <a:pt x="22899870" y="3987234"/>
                </a:lnTo>
                <a:cubicBezTo>
                  <a:pt x="22982774" y="4042660"/>
                  <a:pt x="22982774" y="4098087"/>
                  <a:pt x="22982774" y="4181225"/>
                </a:cubicBezTo>
                <a:cubicBezTo>
                  <a:pt x="22982774" y="4211709"/>
                  <a:pt x="22982774" y="4239421"/>
                  <a:pt x="22955140" y="4267132"/>
                </a:cubicBezTo>
                <a:cubicBezTo>
                  <a:pt x="22941322" y="4267132"/>
                  <a:pt x="22934414" y="4274061"/>
                  <a:pt x="22927508" y="4284452"/>
                </a:cubicBezTo>
                <a:lnTo>
                  <a:pt x="22923600" y="4289840"/>
                </a:lnTo>
                <a:lnTo>
                  <a:pt x="22905284" y="4326236"/>
                </a:lnTo>
                <a:cubicBezTo>
                  <a:pt x="22933030" y="4381374"/>
                  <a:pt x="22960778" y="4381374"/>
                  <a:pt x="23016276" y="4381374"/>
                </a:cubicBezTo>
                <a:cubicBezTo>
                  <a:pt x="23044022" y="4381374"/>
                  <a:pt x="23044022" y="4408943"/>
                  <a:pt x="23016276" y="4439266"/>
                </a:cubicBezTo>
                <a:cubicBezTo>
                  <a:pt x="22960778" y="4494405"/>
                  <a:pt x="22933030" y="4521971"/>
                  <a:pt x="22905284" y="4577109"/>
                </a:cubicBezTo>
                <a:lnTo>
                  <a:pt x="22894800" y="4588557"/>
                </a:lnTo>
                <a:lnTo>
                  <a:pt x="22876380" y="4658432"/>
                </a:lnTo>
                <a:cubicBezTo>
                  <a:pt x="22862482" y="4682332"/>
                  <a:pt x="22841466" y="4702528"/>
                  <a:pt x="22812996" y="4714645"/>
                </a:cubicBezTo>
                <a:lnTo>
                  <a:pt x="22812886" y="4714645"/>
                </a:lnTo>
                <a:lnTo>
                  <a:pt x="22802138" y="4714645"/>
                </a:lnTo>
                <a:lnTo>
                  <a:pt x="22796074" y="4715553"/>
                </a:lnTo>
                <a:lnTo>
                  <a:pt x="22797846" y="4729449"/>
                </a:lnTo>
                <a:lnTo>
                  <a:pt x="22801448" y="4729449"/>
                </a:lnTo>
                <a:cubicBezTo>
                  <a:pt x="22828344" y="4729449"/>
                  <a:pt x="22828344" y="4729449"/>
                  <a:pt x="22828344" y="4729449"/>
                </a:cubicBezTo>
                <a:cubicBezTo>
                  <a:pt x="22828344" y="4754976"/>
                  <a:pt x="22828344" y="4780503"/>
                  <a:pt x="22857932" y="4780503"/>
                </a:cubicBezTo>
                <a:cubicBezTo>
                  <a:pt x="22884824" y="4806029"/>
                  <a:pt x="22884824" y="4831556"/>
                  <a:pt x="22828344" y="4885160"/>
                </a:cubicBezTo>
                <a:lnTo>
                  <a:pt x="22828344" y="4910687"/>
                </a:lnTo>
                <a:cubicBezTo>
                  <a:pt x="22801448" y="4910687"/>
                  <a:pt x="22801448" y="4910687"/>
                  <a:pt x="22801448" y="4910687"/>
                </a:cubicBezTo>
                <a:lnTo>
                  <a:pt x="22784388" y="4910687"/>
                </a:lnTo>
                <a:lnTo>
                  <a:pt x="22784388" y="4924512"/>
                </a:lnTo>
                <a:cubicBezTo>
                  <a:pt x="22784388" y="4927858"/>
                  <a:pt x="22784388" y="4927858"/>
                  <a:pt x="22784388" y="4927858"/>
                </a:cubicBezTo>
                <a:lnTo>
                  <a:pt x="22784388" y="4954605"/>
                </a:lnTo>
                <a:cubicBezTo>
                  <a:pt x="22784388" y="4981356"/>
                  <a:pt x="22811306" y="4981356"/>
                  <a:pt x="22811306" y="5008103"/>
                </a:cubicBezTo>
                <a:cubicBezTo>
                  <a:pt x="22784388" y="5034854"/>
                  <a:pt x="22757466" y="5061601"/>
                  <a:pt x="22730548" y="5061601"/>
                </a:cubicBezTo>
                <a:cubicBezTo>
                  <a:pt x="22676712" y="5061601"/>
                  <a:pt x="22649794" y="5088351"/>
                  <a:pt x="22622876" y="5144525"/>
                </a:cubicBezTo>
                <a:lnTo>
                  <a:pt x="22622876" y="5159685"/>
                </a:lnTo>
                <a:lnTo>
                  <a:pt x="22625834" y="5158134"/>
                </a:lnTo>
                <a:lnTo>
                  <a:pt x="22652086" y="5158134"/>
                </a:lnTo>
                <a:cubicBezTo>
                  <a:pt x="22638958" y="5170088"/>
                  <a:pt x="22638958" y="5182041"/>
                  <a:pt x="22642242" y="5196984"/>
                </a:cubicBezTo>
                <a:lnTo>
                  <a:pt x="22647994" y="5230158"/>
                </a:lnTo>
                <a:lnTo>
                  <a:pt x="22660164" y="5251293"/>
                </a:lnTo>
                <a:cubicBezTo>
                  <a:pt x="22687926" y="5251293"/>
                  <a:pt x="22715686" y="5251293"/>
                  <a:pt x="22743448" y="5278838"/>
                </a:cubicBezTo>
                <a:lnTo>
                  <a:pt x="22749690" y="5295624"/>
                </a:lnTo>
                <a:lnTo>
                  <a:pt x="22752152" y="5296300"/>
                </a:lnTo>
                <a:cubicBezTo>
                  <a:pt x="22757988" y="5299513"/>
                  <a:pt x="22763822" y="5305933"/>
                  <a:pt x="22763822" y="5318780"/>
                </a:cubicBezTo>
                <a:lnTo>
                  <a:pt x="22771778" y="5355047"/>
                </a:lnTo>
                <a:lnTo>
                  <a:pt x="22774680" y="5362847"/>
                </a:lnTo>
                <a:lnTo>
                  <a:pt x="22773932" y="5364858"/>
                </a:lnTo>
                <a:lnTo>
                  <a:pt x="22778408" y="5385256"/>
                </a:lnTo>
                <a:lnTo>
                  <a:pt x="22745576" y="5441139"/>
                </a:lnTo>
                <a:lnTo>
                  <a:pt x="22743448" y="5446857"/>
                </a:lnTo>
                <a:lnTo>
                  <a:pt x="22742102" y="5447050"/>
                </a:lnTo>
                <a:lnTo>
                  <a:pt x="22740484" y="5449804"/>
                </a:lnTo>
                <a:lnTo>
                  <a:pt x="22740484" y="5447277"/>
                </a:lnTo>
                <a:lnTo>
                  <a:pt x="22719156" y="5450303"/>
                </a:lnTo>
                <a:cubicBezTo>
                  <a:pt x="22715686" y="5453744"/>
                  <a:pt x="22715686" y="5460630"/>
                  <a:pt x="22715686" y="5474402"/>
                </a:cubicBezTo>
                <a:lnTo>
                  <a:pt x="22699434" y="5487135"/>
                </a:lnTo>
                <a:lnTo>
                  <a:pt x="22669816" y="5560683"/>
                </a:lnTo>
                <a:lnTo>
                  <a:pt x="22627510" y="5608977"/>
                </a:lnTo>
                <a:lnTo>
                  <a:pt x="22629962" y="5629337"/>
                </a:lnTo>
                <a:cubicBezTo>
                  <a:pt x="22602214" y="5656653"/>
                  <a:pt x="22571694" y="5683970"/>
                  <a:pt x="22516200" y="5683970"/>
                </a:cubicBezTo>
                <a:lnTo>
                  <a:pt x="22520260" y="5695966"/>
                </a:lnTo>
                <a:lnTo>
                  <a:pt x="22522066" y="5685158"/>
                </a:lnTo>
                <a:cubicBezTo>
                  <a:pt x="22548702" y="5710685"/>
                  <a:pt x="22548702" y="5710685"/>
                  <a:pt x="22575338" y="5710685"/>
                </a:cubicBezTo>
                <a:cubicBezTo>
                  <a:pt x="22604638" y="5710685"/>
                  <a:pt x="22631274" y="5685158"/>
                  <a:pt x="22657908" y="5710685"/>
                </a:cubicBezTo>
                <a:cubicBezTo>
                  <a:pt x="22684544" y="5761738"/>
                  <a:pt x="22711182" y="5787265"/>
                  <a:pt x="22711182" y="5812791"/>
                </a:cubicBezTo>
                <a:cubicBezTo>
                  <a:pt x="22737818" y="5840869"/>
                  <a:pt x="22711182" y="5866396"/>
                  <a:pt x="22711182" y="5866396"/>
                </a:cubicBezTo>
                <a:lnTo>
                  <a:pt x="22699654" y="5856446"/>
                </a:lnTo>
                <a:lnTo>
                  <a:pt x="22713202" y="5877922"/>
                </a:lnTo>
                <a:lnTo>
                  <a:pt x="22700954" y="5881381"/>
                </a:lnTo>
                <a:lnTo>
                  <a:pt x="22700954" y="5899748"/>
                </a:lnTo>
                <a:cubicBezTo>
                  <a:pt x="22700954" y="5982594"/>
                  <a:pt x="22700954" y="6037825"/>
                  <a:pt x="22617908" y="6095818"/>
                </a:cubicBezTo>
                <a:cubicBezTo>
                  <a:pt x="22559776" y="6095818"/>
                  <a:pt x="22532094" y="6151045"/>
                  <a:pt x="22504414" y="6178661"/>
                </a:cubicBezTo>
                <a:cubicBezTo>
                  <a:pt x="22476730" y="6206276"/>
                  <a:pt x="22476730" y="6233892"/>
                  <a:pt x="22504414" y="6261507"/>
                </a:cubicBezTo>
                <a:cubicBezTo>
                  <a:pt x="22532094" y="6261507"/>
                  <a:pt x="22559776" y="6261507"/>
                  <a:pt x="22559776" y="6261507"/>
                </a:cubicBezTo>
                <a:cubicBezTo>
                  <a:pt x="22617908" y="6289122"/>
                  <a:pt x="22617908" y="6316738"/>
                  <a:pt x="22617908" y="6374730"/>
                </a:cubicBezTo>
                <a:cubicBezTo>
                  <a:pt x="22590228" y="6374730"/>
                  <a:pt x="22590228" y="6402346"/>
                  <a:pt x="22590228" y="6429961"/>
                </a:cubicBezTo>
                <a:cubicBezTo>
                  <a:pt x="22590228" y="6457577"/>
                  <a:pt x="22559776" y="6485192"/>
                  <a:pt x="22532094" y="6512808"/>
                </a:cubicBezTo>
                <a:cubicBezTo>
                  <a:pt x="22504414" y="6540423"/>
                  <a:pt x="22504414" y="6540423"/>
                  <a:pt x="22559776" y="6570800"/>
                </a:cubicBezTo>
                <a:cubicBezTo>
                  <a:pt x="22590228" y="6570800"/>
                  <a:pt x="22590228" y="6570800"/>
                  <a:pt x="22590228" y="6598416"/>
                </a:cubicBezTo>
                <a:cubicBezTo>
                  <a:pt x="22559776" y="6598416"/>
                  <a:pt x="22559776" y="6626031"/>
                  <a:pt x="22532094" y="6626031"/>
                </a:cubicBezTo>
                <a:cubicBezTo>
                  <a:pt x="22504414" y="6626031"/>
                  <a:pt x="22476730" y="6598416"/>
                  <a:pt x="22449052" y="6598416"/>
                </a:cubicBezTo>
                <a:cubicBezTo>
                  <a:pt x="22393686" y="6598416"/>
                  <a:pt x="22366006" y="6626031"/>
                  <a:pt x="22366006" y="6681262"/>
                </a:cubicBezTo>
                <a:lnTo>
                  <a:pt x="22385156" y="6692180"/>
                </a:lnTo>
                <a:lnTo>
                  <a:pt x="22385156" y="6689657"/>
                </a:lnTo>
                <a:cubicBezTo>
                  <a:pt x="22438008" y="6689657"/>
                  <a:pt x="22464436" y="6712995"/>
                  <a:pt x="22517292" y="6736333"/>
                </a:cubicBezTo>
                <a:lnTo>
                  <a:pt x="22475518" y="6734490"/>
                </a:lnTo>
                <a:lnTo>
                  <a:pt x="22504712" y="6744575"/>
                </a:lnTo>
                <a:lnTo>
                  <a:pt x="22558396" y="6744575"/>
                </a:lnTo>
                <a:lnTo>
                  <a:pt x="22562744" y="6742066"/>
                </a:lnTo>
                <a:cubicBezTo>
                  <a:pt x="22593250" y="6742066"/>
                  <a:pt x="22620982" y="6742066"/>
                  <a:pt x="22648716" y="6742066"/>
                </a:cubicBezTo>
                <a:cubicBezTo>
                  <a:pt x="22676448" y="6742066"/>
                  <a:pt x="22676448" y="6769479"/>
                  <a:pt x="22676448" y="6769479"/>
                </a:cubicBezTo>
                <a:cubicBezTo>
                  <a:pt x="22676448" y="6799632"/>
                  <a:pt x="22676448" y="6799632"/>
                  <a:pt x="22648716" y="6799632"/>
                </a:cubicBezTo>
                <a:cubicBezTo>
                  <a:pt x="22620982" y="6827044"/>
                  <a:pt x="22593250" y="6827044"/>
                  <a:pt x="22535012" y="6854457"/>
                </a:cubicBezTo>
                <a:cubicBezTo>
                  <a:pt x="22507282" y="6881870"/>
                  <a:pt x="22507282" y="6909286"/>
                  <a:pt x="22535012" y="6936698"/>
                </a:cubicBezTo>
                <a:lnTo>
                  <a:pt x="22562744" y="6964111"/>
                </a:lnTo>
                <a:cubicBezTo>
                  <a:pt x="22577998" y="6964111"/>
                  <a:pt x="22585624" y="6970961"/>
                  <a:pt x="22589438" y="6977816"/>
                </a:cubicBezTo>
                <a:lnTo>
                  <a:pt x="22592268" y="6987986"/>
                </a:lnTo>
                <a:lnTo>
                  <a:pt x="22593250" y="6991524"/>
                </a:lnTo>
                <a:cubicBezTo>
                  <a:pt x="22593250" y="6991524"/>
                  <a:pt x="22593250" y="6991524"/>
                  <a:pt x="22593250" y="7021676"/>
                </a:cubicBezTo>
                <a:lnTo>
                  <a:pt x="22567144" y="7033342"/>
                </a:lnTo>
                <a:lnTo>
                  <a:pt x="22593982" y="7033043"/>
                </a:lnTo>
                <a:lnTo>
                  <a:pt x="22621480" y="7059470"/>
                </a:lnTo>
                <a:cubicBezTo>
                  <a:pt x="22676474" y="7112324"/>
                  <a:pt x="22676474" y="7112324"/>
                  <a:pt x="22593982" y="7138750"/>
                </a:cubicBezTo>
                <a:lnTo>
                  <a:pt x="22563738" y="7138750"/>
                </a:lnTo>
                <a:lnTo>
                  <a:pt x="22555274" y="7138750"/>
                </a:lnTo>
                <a:lnTo>
                  <a:pt x="22566574" y="7141839"/>
                </a:lnTo>
                <a:cubicBezTo>
                  <a:pt x="22542858" y="7141839"/>
                  <a:pt x="22519144" y="7165177"/>
                  <a:pt x="22495428" y="7165177"/>
                </a:cubicBezTo>
                <a:lnTo>
                  <a:pt x="22502026" y="7151110"/>
                </a:lnTo>
                <a:lnTo>
                  <a:pt x="22477212" y="7165177"/>
                </a:lnTo>
                <a:lnTo>
                  <a:pt x="22467144" y="7166576"/>
                </a:lnTo>
                <a:lnTo>
                  <a:pt x="22468168" y="7170622"/>
                </a:lnTo>
                <a:cubicBezTo>
                  <a:pt x="22468168" y="7282258"/>
                  <a:pt x="22468168" y="7363941"/>
                  <a:pt x="22413026" y="7445627"/>
                </a:cubicBezTo>
                <a:lnTo>
                  <a:pt x="22415468" y="7465485"/>
                </a:lnTo>
                <a:lnTo>
                  <a:pt x="22429572" y="7449556"/>
                </a:lnTo>
                <a:cubicBezTo>
                  <a:pt x="22429572" y="7477816"/>
                  <a:pt x="22455098" y="7477816"/>
                  <a:pt x="22455098" y="7503506"/>
                </a:cubicBezTo>
                <a:cubicBezTo>
                  <a:pt x="22480624" y="7503506"/>
                  <a:pt x="22480624" y="7529196"/>
                  <a:pt x="22480624" y="7554890"/>
                </a:cubicBezTo>
                <a:cubicBezTo>
                  <a:pt x="22455098" y="7580580"/>
                  <a:pt x="22455098" y="7580580"/>
                  <a:pt x="22429572" y="7606270"/>
                </a:cubicBezTo>
                <a:lnTo>
                  <a:pt x="22415184" y="7594616"/>
                </a:lnTo>
                <a:lnTo>
                  <a:pt x="22413026" y="7611719"/>
                </a:lnTo>
                <a:cubicBezTo>
                  <a:pt x="22413026" y="7638946"/>
                  <a:pt x="22413026" y="7666174"/>
                  <a:pt x="22385454" y="7696124"/>
                </a:cubicBezTo>
                <a:cubicBezTo>
                  <a:pt x="22357882" y="7723355"/>
                  <a:pt x="22357882" y="7723355"/>
                  <a:pt x="22413026" y="7777810"/>
                </a:cubicBezTo>
                <a:lnTo>
                  <a:pt x="22402458" y="7777810"/>
                </a:lnTo>
                <a:lnTo>
                  <a:pt x="22424916" y="7787319"/>
                </a:lnTo>
                <a:cubicBezTo>
                  <a:pt x="22452660" y="7787319"/>
                  <a:pt x="22480404" y="7787319"/>
                  <a:pt x="22480404" y="7842180"/>
                </a:cubicBezTo>
                <a:lnTo>
                  <a:pt x="22479738" y="7855963"/>
                </a:lnTo>
                <a:lnTo>
                  <a:pt x="22502290" y="7925140"/>
                </a:lnTo>
                <a:cubicBezTo>
                  <a:pt x="22529468" y="7952037"/>
                  <a:pt x="22502290" y="7978933"/>
                  <a:pt x="22475108" y="7978933"/>
                </a:cubicBezTo>
                <a:cubicBezTo>
                  <a:pt x="22447926" y="8005826"/>
                  <a:pt x="22420750" y="8032723"/>
                  <a:pt x="22366386" y="8059620"/>
                </a:cubicBezTo>
                <a:lnTo>
                  <a:pt x="22332664" y="8059620"/>
                </a:lnTo>
                <a:lnTo>
                  <a:pt x="22338914" y="8064374"/>
                </a:lnTo>
                <a:lnTo>
                  <a:pt x="22335252" y="8069986"/>
                </a:lnTo>
                <a:lnTo>
                  <a:pt x="22364560" y="8077474"/>
                </a:lnTo>
                <a:cubicBezTo>
                  <a:pt x="22364560" y="8077474"/>
                  <a:pt x="22364560" y="8077474"/>
                  <a:pt x="22364560" y="8104847"/>
                </a:cubicBezTo>
                <a:cubicBezTo>
                  <a:pt x="22364560" y="8162331"/>
                  <a:pt x="22392042" y="8217074"/>
                  <a:pt x="22447002" y="8217074"/>
                </a:cubicBezTo>
                <a:cubicBezTo>
                  <a:pt x="22419522" y="8244448"/>
                  <a:pt x="22392042" y="8271821"/>
                  <a:pt x="22364560" y="8271821"/>
                </a:cubicBezTo>
                <a:cubicBezTo>
                  <a:pt x="22334334" y="8271821"/>
                  <a:pt x="22306854" y="8299195"/>
                  <a:pt x="22306854" y="8299195"/>
                </a:cubicBezTo>
                <a:cubicBezTo>
                  <a:pt x="22251892" y="8326568"/>
                  <a:pt x="22224412" y="8353942"/>
                  <a:pt x="22251892" y="8384052"/>
                </a:cubicBezTo>
                <a:cubicBezTo>
                  <a:pt x="22251892" y="8411425"/>
                  <a:pt x="22279372" y="8438799"/>
                  <a:pt x="22306854" y="8438799"/>
                </a:cubicBezTo>
                <a:cubicBezTo>
                  <a:pt x="22334334" y="8466172"/>
                  <a:pt x="22364560" y="8466172"/>
                  <a:pt x="22392042" y="8466172"/>
                </a:cubicBezTo>
                <a:cubicBezTo>
                  <a:pt x="22447002" y="8466172"/>
                  <a:pt x="22474482" y="8466172"/>
                  <a:pt x="22529442" y="8466172"/>
                </a:cubicBezTo>
                <a:cubicBezTo>
                  <a:pt x="22501962" y="8520916"/>
                  <a:pt x="22474482" y="8493542"/>
                  <a:pt x="22447002" y="8520916"/>
                </a:cubicBezTo>
                <a:cubicBezTo>
                  <a:pt x="22419522" y="8520916"/>
                  <a:pt x="22392042" y="8520916"/>
                  <a:pt x="22392042" y="8520916"/>
                </a:cubicBezTo>
                <a:cubicBezTo>
                  <a:pt x="22334334" y="8520916"/>
                  <a:pt x="22306854" y="8520916"/>
                  <a:pt x="22279372" y="8548289"/>
                </a:cubicBezTo>
                <a:lnTo>
                  <a:pt x="22277294" y="8573841"/>
                </a:lnTo>
                <a:lnTo>
                  <a:pt x="22289508" y="8552296"/>
                </a:lnTo>
                <a:cubicBezTo>
                  <a:pt x="22315198" y="8577986"/>
                  <a:pt x="22340888" y="8577986"/>
                  <a:pt x="22394838" y="8606246"/>
                </a:cubicBezTo>
                <a:cubicBezTo>
                  <a:pt x="22340888" y="8631936"/>
                  <a:pt x="22289508" y="8657630"/>
                  <a:pt x="22238124" y="8709011"/>
                </a:cubicBezTo>
                <a:lnTo>
                  <a:pt x="22239796" y="8688886"/>
                </a:lnTo>
                <a:lnTo>
                  <a:pt x="22224412" y="8715263"/>
                </a:lnTo>
                <a:lnTo>
                  <a:pt x="22213246" y="8723135"/>
                </a:lnTo>
                <a:lnTo>
                  <a:pt x="22233046" y="8725018"/>
                </a:lnTo>
                <a:cubicBezTo>
                  <a:pt x="22259938" y="8750708"/>
                  <a:pt x="22259938" y="8750708"/>
                  <a:pt x="22233046" y="8776398"/>
                </a:cubicBezTo>
                <a:cubicBezTo>
                  <a:pt x="22179252" y="8802092"/>
                  <a:pt x="22095876" y="8827782"/>
                  <a:pt x="22042082" y="8856042"/>
                </a:cubicBezTo>
                <a:lnTo>
                  <a:pt x="22056520" y="8835102"/>
                </a:lnTo>
                <a:lnTo>
                  <a:pt x="22029304" y="8854867"/>
                </a:lnTo>
                <a:cubicBezTo>
                  <a:pt x="21974342" y="8854867"/>
                  <a:pt x="21946862" y="8882237"/>
                  <a:pt x="21889154" y="8936984"/>
                </a:cubicBezTo>
                <a:cubicBezTo>
                  <a:pt x="21861674" y="8991728"/>
                  <a:pt x="21806714" y="9046478"/>
                  <a:pt x="21724274" y="9046478"/>
                </a:cubicBezTo>
                <a:cubicBezTo>
                  <a:pt x="21710534" y="9054005"/>
                  <a:pt x="21698338" y="9056058"/>
                  <a:pt x="21686918" y="9054902"/>
                </a:cubicBezTo>
                <a:lnTo>
                  <a:pt x="21665152" y="9047702"/>
                </a:lnTo>
                <a:lnTo>
                  <a:pt x="21587314" y="9061272"/>
                </a:lnTo>
                <a:cubicBezTo>
                  <a:pt x="21560730" y="9068336"/>
                  <a:pt x="21534474" y="9075403"/>
                  <a:pt x="21508218" y="9075403"/>
                </a:cubicBezTo>
                <a:lnTo>
                  <a:pt x="21496954" y="9090830"/>
                </a:lnTo>
                <a:lnTo>
                  <a:pt x="21491808" y="9097880"/>
                </a:lnTo>
                <a:cubicBezTo>
                  <a:pt x="21481962" y="9101093"/>
                  <a:pt x="21468834" y="9101093"/>
                  <a:pt x="21455706" y="9101093"/>
                </a:cubicBezTo>
                <a:lnTo>
                  <a:pt x="21453958" y="9101093"/>
                </a:lnTo>
                <a:lnTo>
                  <a:pt x="21430792" y="9101093"/>
                </a:lnTo>
                <a:lnTo>
                  <a:pt x="21417130" y="9111307"/>
                </a:lnTo>
                <a:cubicBezTo>
                  <a:pt x="21333700" y="9162360"/>
                  <a:pt x="21252960" y="9162360"/>
                  <a:pt x="21172216" y="9162360"/>
                </a:cubicBezTo>
                <a:cubicBezTo>
                  <a:pt x="21142612" y="9162360"/>
                  <a:pt x="21088786" y="9162360"/>
                  <a:pt x="21061872" y="9162360"/>
                </a:cubicBezTo>
                <a:lnTo>
                  <a:pt x="21115958" y="9145449"/>
                </a:lnTo>
                <a:lnTo>
                  <a:pt x="21042900" y="9161154"/>
                </a:lnTo>
                <a:cubicBezTo>
                  <a:pt x="21015232" y="9161154"/>
                  <a:pt x="20987566" y="9161154"/>
                  <a:pt x="20987566" y="9188214"/>
                </a:cubicBezTo>
                <a:cubicBezTo>
                  <a:pt x="20959898" y="9188214"/>
                  <a:pt x="20959898" y="9215278"/>
                  <a:pt x="20959898" y="9215278"/>
                </a:cubicBezTo>
                <a:cubicBezTo>
                  <a:pt x="21015232" y="9242338"/>
                  <a:pt x="21070566" y="9242338"/>
                  <a:pt x="21098234" y="9269398"/>
                </a:cubicBezTo>
                <a:cubicBezTo>
                  <a:pt x="21125900" y="9269398"/>
                  <a:pt x="21156334" y="9269398"/>
                  <a:pt x="21184002" y="9296459"/>
                </a:cubicBezTo>
                <a:cubicBezTo>
                  <a:pt x="21125900" y="9296459"/>
                  <a:pt x="21042900" y="9296459"/>
                  <a:pt x="21015232" y="9269398"/>
                </a:cubicBezTo>
                <a:cubicBezTo>
                  <a:pt x="20904564" y="9242338"/>
                  <a:pt x="20791126" y="9215278"/>
                  <a:pt x="20680458" y="9242338"/>
                </a:cubicBezTo>
                <a:cubicBezTo>
                  <a:pt x="20594690" y="9242338"/>
                  <a:pt x="20511688" y="9242338"/>
                  <a:pt x="20425920" y="9269398"/>
                </a:cubicBezTo>
                <a:cubicBezTo>
                  <a:pt x="20174148" y="9296459"/>
                  <a:pt x="19894710" y="9326227"/>
                  <a:pt x="19642938" y="9326227"/>
                </a:cubicBezTo>
                <a:cubicBezTo>
                  <a:pt x="19529502" y="9326227"/>
                  <a:pt x="19446502" y="9353288"/>
                  <a:pt x="19335830" y="9380348"/>
                </a:cubicBezTo>
                <a:lnTo>
                  <a:pt x="19259898" y="9392789"/>
                </a:lnTo>
                <a:lnTo>
                  <a:pt x="19331486" y="9392789"/>
                </a:lnTo>
                <a:cubicBezTo>
                  <a:pt x="19301080" y="9418479"/>
                  <a:pt x="19273436" y="9418479"/>
                  <a:pt x="19218148" y="9418479"/>
                </a:cubicBezTo>
                <a:cubicBezTo>
                  <a:pt x="19107568" y="9444169"/>
                  <a:pt x="18994232" y="9444169"/>
                  <a:pt x="18883652" y="9444169"/>
                </a:cubicBezTo>
                <a:cubicBezTo>
                  <a:pt x="18687380" y="9444169"/>
                  <a:pt x="18491106" y="9418479"/>
                  <a:pt x="18267190" y="9444169"/>
                </a:cubicBezTo>
                <a:cubicBezTo>
                  <a:pt x="18128970" y="9444169"/>
                  <a:pt x="17960342" y="9444169"/>
                  <a:pt x="17791712" y="9418479"/>
                </a:cubicBezTo>
                <a:cubicBezTo>
                  <a:pt x="17681136" y="9418479"/>
                  <a:pt x="17567796" y="9444169"/>
                  <a:pt x="17457220" y="9418479"/>
                </a:cubicBezTo>
                <a:cubicBezTo>
                  <a:pt x="17343880" y="9392789"/>
                  <a:pt x="17233304" y="9392789"/>
                  <a:pt x="17119962" y="9392789"/>
                </a:cubicBezTo>
                <a:cubicBezTo>
                  <a:pt x="17092318" y="9392789"/>
                  <a:pt x="17064674" y="9392789"/>
                  <a:pt x="17064674" y="9392789"/>
                </a:cubicBezTo>
                <a:cubicBezTo>
                  <a:pt x="17037030" y="9367095"/>
                  <a:pt x="17009388" y="9367095"/>
                  <a:pt x="16981744" y="9367095"/>
                </a:cubicBezTo>
                <a:lnTo>
                  <a:pt x="16981744" y="9353640"/>
                </a:lnTo>
                <a:lnTo>
                  <a:pt x="16978622" y="9353597"/>
                </a:lnTo>
                <a:lnTo>
                  <a:pt x="16978978" y="9358401"/>
                </a:lnTo>
                <a:cubicBezTo>
                  <a:pt x="16782588" y="9331765"/>
                  <a:pt x="16586198" y="9331765"/>
                  <a:pt x="16389808" y="9302466"/>
                </a:cubicBezTo>
                <a:cubicBezTo>
                  <a:pt x="16334484" y="9302466"/>
                  <a:pt x="16276398" y="9302466"/>
                  <a:pt x="16221076" y="9275829"/>
                </a:cubicBezTo>
                <a:lnTo>
                  <a:pt x="16236734" y="9271715"/>
                </a:lnTo>
                <a:lnTo>
                  <a:pt x="16206132" y="9270712"/>
                </a:lnTo>
                <a:cubicBezTo>
                  <a:pt x="16095378" y="9257498"/>
                  <a:pt x="15984624" y="9250890"/>
                  <a:pt x="15870454" y="9244285"/>
                </a:cubicBezTo>
                <a:lnTo>
                  <a:pt x="15531720" y="9219153"/>
                </a:lnTo>
                <a:lnTo>
                  <a:pt x="15521262" y="9222555"/>
                </a:lnTo>
                <a:cubicBezTo>
                  <a:pt x="15438280" y="9222555"/>
                  <a:pt x="15355298" y="9195922"/>
                  <a:pt x="15327636" y="9116012"/>
                </a:cubicBezTo>
                <a:lnTo>
                  <a:pt x="15335498" y="9116328"/>
                </a:lnTo>
                <a:lnTo>
                  <a:pt x="15319444" y="9108741"/>
                </a:lnTo>
                <a:cubicBezTo>
                  <a:pt x="15289046" y="9108741"/>
                  <a:pt x="15261408" y="9108741"/>
                  <a:pt x="15233776" y="9108741"/>
                </a:cubicBezTo>
                <a:lnTo>
                  <a:pt x="15207544" y="9102627"/>
                </a:lnTo>
                <a:lnTo>
                  <a:pt x="15117982" y="9102627"/>
                </a:lnTo>
                <a:cubicBezTo>
                  <a:pt x="15090752" y="9102627"/>
                  <a:pt x="15063524" y="9102627"/>
                  <a:pt x="15063524" y="9125602"/>
                </a:cubicBezTo>
                <a:cubicBezTo>
                  <a:pt x="14924660" y="9125602"/>
                  <a:pt x="14758568" y="9102627"/>
                  <a:pt x="14592478" y="9079656"/>
                </a:cubicBezTo>
                <a:cubicBezTo>
                  <a:pt x="14622428" y="9079656"/>
                  <a:pt x="14649656" y="9054386"/>
                  <a:pt x="14649656" y="9054386"/>
                </a:cubicBezTo>
                <a:lnTo>
                  <a:pt x="14655040" y="9054453"/>
                </a:lnTo>
                <a:lnTo>
                  <a:pt x="14647912" y="9052225"/>
                </a:lnTo>
                <a:cubicBezTo>
                  <a:pt x="14589876" y="9025311"/>
                  <a:pt x="14506972" y="9025311"/>
                  <a:pt x="14451702" y="8998400"/>
                </a:cubicBezTo>
                <a:cubicBezTo>
                  <a:pt x="14451702" y="8944571"/>
                  <a:pt x="14479336" y="8971486"/>
                  <a:pt x="14506972" y="8971486"/>
                </a:cubicBezTo>
                <a:cubicBezTo>
                  <a:pt x="14534606" y="8971486"/>
                  <a:pt x="14562242" y="8971486"/>
                  <a:pt x="14589876" y="8944571"/>
                </a:cubicBezTo>
                <a:cubicBezTo>
                  <a:pt x="14506972" y="8944571"/>
                  <a:pt x="14451702" y="8944571"/>
                  <a:pt x="14396432" y="8917657"/>
                </a:cubicBezTo>
                <a:lnTo>
                  <a:pt x="14414632" y="8909052"/>
                </a:lnTo>
                <a:lnTo>
                  <a:pt x="14388608" y="8908628"/>
                </a:lnTo>
                <a:cubicBezTo>
                  <a:pt x="14247344" y="8908628"/>
                  <a:pt x="14106082" y="8881522"/>
                  <a:pt x="13967592" y="8881522"/>
                </a:cubicBezTo>
                <a:lnTo>
                  <a:pt x="13968244" y="8879362"/>
                </a:lnTo>
                <a:lnTo>
                  <a:pt x="13802270" y="8879362"/>
                </a:lnTo>
                <a:lnTo>
                  <a:pt x="13800248" y="8875212"/>
                </a:lnTo>
                <a:lnTo>
                  <a:pt x="13798042" y="8880547"/>
                </a:lnTo>
                <a:cubicBezTo>
                  <a:pt x="13686196" y="8853650"/>
                  <a:pt x="13577078" y="8853650"/>
                  <a:pt x="13465232" y="8853650"/>
                </a:cubicBezTo>
                <a:cubicBezTo>
                  <a:pt x="13465232" y="8824067"/>
                  <a:pt x="13465232" y="8824067"/>
                  <a:pt x="13465232" y="8824067"/>
                </a:cubicBezTo>
                <a:cubicBezTo>
                  <a:pt x="13495240" y="8824067"/>
                  <a:pt x="13495240" y="8824067"/>
                  <a:pt x="13495240" y="8824067"/>
                </a:cubicBezTo>
                <a:lnTo>
                  <a:pt x="13508514" y="8811238"/>
                </a:lnTo>
                <a:lnTo>
                  <a:pt x="13487400" y="8819284"/>
                </a:lnTo>
                <a:cubicBezTo>
                  <a:pt x="13487400" y="8793170"/>
                  <a:pt x="13457794" y="8767060"/>
                  <a:pt x="13430880" y="8740946"/>
                </a:cubicBezTo>
                <a:cubicBezTo>
                  <a:pt x="13403970" y="8714836"/>
                  <a:pt x="13430880" y="8714836"/>
                  <a:pt x="13430880" y="8714836"/>
                </a:cubicBezTo>
                <a:cubicBezTo>
                  <a:pt x="13487400" y="8688722"/>
                  <a:pt x="13541228" y="8688722"/>
                  <a:pt x="13595054" y="8688722"/>
                </a:cubicBezTo>
                <a:cubicBezTo>
                  <a:pt x="13675794" y="8688722"/>
                  <a:pt x="13759226" y="8662612"/>
                  <a:pt x="13839966" y="8688722"/>
                </a:cubicBezTo>
                <a:cubicBezTo>
                  <a:pt x="13853422" y="8688722"/>
                  <a:pt x="13860152" y="8688722"/>
                  <a:pt x="13863514" y="8691986"/>
                </a:cubicBezTo>
                <a:lnTo>
                  <a:pt x="13864380" y="8697872"/>
                </a:lnTo>
                <a:lnTo>
                  <a:pt x="13878226" y="8697872"/>
                </a:lnTo>
                <a:lnTo>
                  <a:pt x="13878226" y="8689587"/>
                </a:lnTo>
                <a:lnTo>
                  <a:pt x="13878226" y="8672555"/>
                </a:lnTo>
                <a:lnTo>
                  <a:pt x="13870162" y="8652417"/>
                </a:lnTo>
                <a:cubicBezTo>
                  <a:pt x="13863738" y="8643662"/>
                  <a:pt x="13857318" y="8637830"/>
                  <a:pt x="13857318" y="8637830"/>
                </a:cubicBezTo>
                <a:lnTo>
                  <a:pt x="13858994" y="8637830"/>
                </a:lnTo>
                <a:lnTo>
                  <a:pt x="13850654" y="8635794"/>
                </a:lnTo>
                <a:cubicBezTo>
                  <a:pt x="13809294" y="8615623"/>
                  <a:pt x="13752426" y="8625709"/>
                  <a:pt x="13690520" y="8608182"/>
                </a:cubicBezTo>
                <a:lnTo>
                  <a:pt x="13635082" y="8582858"/>
                </a:lnTo>
                <a:lnTo>
                  <a:pt x="13483144" y="8580389"/>
                </a:lnTo>
                <a:lnTo>
                  <a:pt x="13474642" y="8579314"/>
                </a:lnTo>
                <a:lnTo>
                  <a:pt x="13431556" y="8579314"/>
                </a:lnTo>
                <a:cubicBezTo>
                  <a:pt x="13403984" y="8579314"/>
                  <a:pt x="13376412" y="8579314"/>
                  <a:pt x="13352286" y="8575951"/>
                </a:cubicBezTo>
                <a:lnTo>
                  <a:pt x="13308206" y="8558246"/>
                </a:lnTo>
                <a:lnTo>
                  <a:pt x="13298012" y="8556955"/>
                </a:lnTo>
                <a:cubicBezTo>
                  <a:pt x="13184298" y="8556955"/>
                  <a:pt x="13101096" y="8530172"/>
                  <a:pt x="12987382" y="8530172"/>
                </a:cubicBezTo>
                <a:lnTo>
                  <a:pt x="13074676" y="8517777"/>
                </a:lnTo>
                <a:lnTo>
                  <a:pt x="12989076" y="8517777"/>
                </a:lnTo>
                <a:lnTo>
                  <a:pt x="12961332" y="8517777"/>
                </a:lnTo>
                <a:lnTo>
                  <a:pt x="12945154" y="8512969"/>
                </a:lnTo>
                <a:lnTo>
                  <a:pt x="12891970" y="8497165"/>
                </a:lnTo>
                <a:lnTo>
                  <a:pt x="12838784" y="8512969"/>
                </a:lnTo>
                <a:lnTo>
                  <a:pt x="12822610" y="8517777"/>
                </a:lnTo>
                <a:cubicBezTo>
                  <a:pt x="12794866" y="8517777"/>
                  <a:pt x="12764348" y="8517777"/>
                  <a:pt x="12736604" y="8517777"/>
                </a:cubicBezTo>
                <a:lnTo>
                  <a:pt x="12718854" y="8512649"/>
                </a:lnTo>
                <a:lnTo>
                  <a:pt x="12649128" y="8510051"/>
                </a:lnTo>
                <a:lnTo>
                  <a:pt x="12573932" y="8490450"/>
                </a:lnTo>
                <a:lnTo>
                  <a:pt x="12570138" y="8490293"/>
                </a:lnTo>
                <a:cubicBezTo>
                  <a:pt x="12428642" y="8490293"/>
                  <a:pt x="12317668" y="8490293"/>
                  <a:pt x="12203914" y="8490293"/>
                </a:cubicBezTo>
                <a:lnTo>
                  <a:pt x="12193444" y="8476030"/>
                </a:lnTo>
                <a:lnTo>
                  <a:pt x="12188124" y="8488464"/>
                </a:lnTo>
                <a:cubicBezTo>
                  <a:pt x="12132746" y="8488464"/>
                  <a:pt x="12049680" y="8488464"/>
                  <a:pt x="11991534" y="8488464"/>
                </a:cubicBezTo>
                <a:cubicBezTo>
                  <a:pt x="11908468" y="8488464"/>
                  <a:pt x="11825400" y="8488464"/>
                  <a:pt x="11711874" y="8461681"/>
                </a:cubicBezTo>
                <a:cubicBezTo>
                  <a:pt x="11711874" y="8461681"/>
                  <a:pt x="11684188" y="8461681"/>
                  <a:pt x="11656498" y="8461681"/>
                </a:cubicBezTo>
                <a:cubicBezTo>
                  <a:pt x="11628810" y="8461681"/>
                  <a:pt x="11601120" y="8461681"/>
                  <a:pt x="11573430" y="8461681"/>
                </a:cubicBezTo>
                <a:lnTo>
                  <a:pt x="11562394" y="8455902"/>
                </a:lnTo>
                <a:lnTo>
                  <a:pt x="11563306" y="8460457"/>
                </a:lnTo>
                <a:cubicBezTo>
                  <a:pt x="11369720" y="8460457"/>
                  <a:pt x="11200756" y="8460457"/>
                  <a:pt x="11004154" y="8460457"/>
                </a:cubicBezTo>
                <a:cubicBezTo>
                  <a:pt x="10948740" y="8460457"/>
                  <a:pt x="10921059" y="8460457"/>
                  <a:pt x="10862902" y="8460457"/>
                </a:cubicBezTo>
                <a:lnTo>
                  <a:pt x="10791684" y="8477325"/>
                </a:lnTo>
                <a:lnTo>
                  <a:pt x="10779756" y="8480151"/>
                </a:lnTo>
                <a:lnTo>
                  <a:pt x="10767828" y="8477325"/>
                </a:lnTo>
                <a:lnTo>
                  <a:pt x="10696692" y="8460457"/>
                </a:lnTo>
                <a:cubicBezTo>
                  <a:pt x="10696692" y="8460457"/>
                  <a:pt x="10669016" y="8460457"/>
                  <a:pt x="10638572" y="8460457"/>
                </a:cubicBezTo>
                <a:lnTo>
                  <a:pt x="10614868" y="8477325"/>
                </a:lnTo>
                <a:lnTo>
                  <a:pt x="10610900" y="8480151"/>
                </a:lnTo>
                <a:lnTo>
                  <a:pt x="10606924" y="8477325"/>
                </a:lnTo>
                <a:lnTo>
                  <a:pt x="10583220" y="8460457"/>
                </a:lnTo>
                <a:lnTo>
                  <a:pt x="10565458" y="8459724"/>
                </a:lnTo>
                <a:lnTo>
                  <a:pt x="10583253" y="8465126"/>
                </a:lnTo>
                <a:cubicBezTo>
                  <a:pt x="10502544" y="8465126"/>
                  <a:pt x="10448741" y="8488464"/>
                  <a:pt x="10365346" y="8465126"/>
                </a:cubicBezTo>
                <a:cubicBezTo>
                  <a:pt x="10365346" y="8465126"/>
                  <a:pt x="10338442" y="8465126"/>
                  <a:pt x="10311542" y="8488464"/>
                </a:cubicBezTo>
                <a:cubicBezTo>
                  <a:pt x="10257738" y="8488464"/>
                  <a:pt x="10201249" y="8488464"/>
                  <a:pt x="10120544" y="8465126"/>
                </a:cubicBezTo>
                <a:lnTo>
                  <a:pt x="10139416" y="8459126"/>
                </a:lnTo>
                <a:lnTo>
                  <a:pt x="10107192" y="8460457"/>
                </a:lnTo>
                <a:cubicBezTo>
                  <a:pt x="10079516" y="8460457"/>
                  <a:pt x="10024164" y="8434201"/>
                  <a:pt x="9996484" y="8434201"/>
                </a:cubicBezTo>
                <a:cubicBezTo>
                  <a:pt x="9883014" y="8407948"/>
                  <a:pt x="9799984" y="8407948"/>
                  <a:pt x="9714152" y="8460457"/>
                </a:cubicBezTo>
                <a:cubicBezTo>
                  <a:pt x="9658765" y="8460457"/>
                  <a:pt x="9603386" y="8460457"/>
                  <a:pt x="9548028" y="8460457"/>
                </a:cubicBezTo>
                <a:cubicBezTo>
                  <a:pt x="9240713" y="8460457"/>
                  <a:pt x="8902896" y="8486713"/>
                  <a:pt x="8595792" y="8486713"/>
                </a:cubicBezTo>
                <a:cubicBezTo>
                  <a:pt x="8568134" y="8486713"/>
                  <a:pt x="8540578" y="8486713"/>
                  <a:pt x="8510248" y="8486713"/>
                </a:cubicBezTo>
                <a:cubicBezTo>
                  <a:pt x="8371474" y="8486713"/>
                  <a:pt x="8230456" y="8486713"/>
                  <a:pt x="8061436" y="8486713"/>
                </a:cubicBezTo>
                <a:lnTo>
                  <a:pt x="8051170" y="8487115"/>
                </a:lnTo>
                <a:lnTo>
                  <a:pt x="7977071" y="8517286"/>
                </a:lnTo>
                <a:cubicBezTo>
                  <a:pt x="7949490" y="8524015"/>
                  <a:pt x="7921914" y="8524015"/>
                  <a:pt x="7894338" y="8510556"/>
                </a:cubicBezTo>
                <a:cubicBezTo>
                  <a:pt x="7836416" y="8510556"/>
                  <a:pt x="7781260" y="8510556"/>
                  <a:pt x="7726104" y="8510556"/>
                </a:cubicBezTo>
                <a:cubicBezTo>
                  <a:pt x="7670952" y="8510556"/>
                  <a:pt x="7643372" y="8537474"/>
                  <a:pt x="7585454" y="8537474"/>
                </a:cubicBezTo>
                <a:cubicBezTo>
                  <a:pt x="7557874" y="8537474"/>
                  <a:pt x="7530298" y="8537474"/>
                  <a:pt x="7502718" y="8510556"/>
                </a:cubicBezTo>
                <a:cubicBezTo>
                  <a:pt x="7447559" y="8456717"/>
                  <a:pt x="7389644" y="8456717"/>
                  <a:pt x="7334488" y="8483638"/>
                </a:cubicBezTo>
                <a:lnTo>
                  <a:pt x="7302901" y="8483090"/>
                </a:lnTo>
                <a:lnTo>
                  <a:pt x="7324339" y="8493546"/>
                </a:lnTo>
                <a:cubicBezTo>
                  <a:pt x="7296759" y="8520439"/>
                  <a:pt x="7296759" y="8520439"/>
                  <a:pt x="7296759" y="8547335"/>
                </a:cubicBezTo>
                <a:cubicBezTo>
                  <a:pt x="7214033" y="8603819"/>
                  <a:pt x="7128567" y="8630712"/>
                  <a:pt x="7018309" y="8574232"/>
                </a:cubicBezTo>
                <a:cubicBezTo>
                  <a:pt x="6905323" y="8547335"/>
                  <a:pt x="6794940" y="8547335"/>
                  <a:pt x="6681927" y="8630712"/>
                </a:cubicBezTo>
                <a:cubicBezTo>
                  <a:pt x="6626898" y="8684505"/>
                  <a:pt x="6571846" y="8684505"/>
                  <a:pt x="6516672" y="8630712"/>
                </a:cubicBezTo>
                <a:lnTo>
                  <a:pt x="6464014" y="8618890"/>
                </a:lnTo>
                <a:lnTo>
                  <a:pt x="6456757" y="8617267"/>
                </a:lnTo>
                <a:cubicBezTo>
                  <a:pt x="6431857" y="8617267"/>
                  <a:pt x="6403722" y="8617267"/>
                  <a:pt x="6376181" y="8603819"/>
                </a:cubicBezTo>
                <a:cubicBezTo>
                  <a:pt x="6376181" y="8574232"/>
                  <a:pt x="6376181" y="8574232"/>
                  <a:pt x="6376181" y="8574232"/>
                </a:cubicBezTo>
                <a:lnTo>
                  <a:pt x="6348719" y="8557157"/>
                </a:lnTo>
                <a:lnTo>
                  <a:pt x="6338324" y="8550698"/>
                </a:lnTo>
                <a:cubicBezTo>
                  <a:pt x="6327986" y="8547335"/>
                  <a:pt x="6321093" y="8547335"/>
                  <a:pt x="6321093" y="8547335"/>
                </a:cubicBezTo>
                <a:cubicBezTo>
                  <a:pt x="6293513" y="8547335"/>
                  <a:pt x="6293513" y="8547335"/>
                  <a:pt x="6293513" y="8547335"/>
                </a:cubicBezTo>
                <a:cubicBezTo>
                  <a:pt x="6265940" y="8547335"/>
                  <a:pt x="6265940" y="8547335"/>
                  <a:pt x="6265940" y="8547335"/>
                </a:cubicBezTo>
                <a:cubicBezTo>
                  <a:pt x="6210780" y="8547335"/>
                  <a:pt x="6180471" y="8547335"/>
                  <a:pt x="6125311" y="8520439"/>
                </a:cubicBezTo>
                <a:cubicBezTo>
                  <a:pt x="6084058" y="8533887"/>
                  <a:pt x="6035098" y="8540613"/>
                  <a:pt x="5986159" y="8540613"/>
                </a:cubicBezTo>
                <a:lnTo>
                  <a:pt x="5984113" y="8540314"/>
                </a:lnTo>
                <a:lnTo>
                  <a:pt x="5977814" y="8541560"/>
                </a:lnTo>
                <a:lnTo>
                  <a:pt x="5936288" y="8533346"/>
                </a:lnTo>
                <a:lnTo>
                  <a:pt x="5847231" y="8520439"/>
                </a:lnTo>
                <a:cubicBezTo>
                  <a:pt x="5792114" y="8520439"/>
                  <a:pt x="5736993" y="8520439"/>
                  <a:pt x="5679146" y="8493546"/>
                </a:cubicBezTo>
                <a:lnTo>
                  <a:pt x="5667766" y="8501830"/>
                </a:lnTo>
                <a:lnTo>
                  <a:pt x="5651527" y="8513716"/>
                </a:lnTo>
                <a:lnTo>
                  <a:pt x="5635304" y="8501830"/>
                </a:lnTo>
                <a:lnTo>
                  <a:pt x="5623980" y="8493546"/>
                </a:lnTo>
                <a:cubicBezTo>
                  <a:pt x="5603318" y="8473372"/>
                  <a:pt x="5551660" y="8483457"/>
                  <a:pt x="5538728" y="8455720"/>
                </a:cubicBezTo>
                <a:lnTo>
                  <a:pt x="5539917" y="8436005"/>
                </a:lnTo>
                <a:lnTo>
                  <a:pt x="5536849" y="8435952"/>
                </a:lnTo>
                <a:cubicBezTo>
                  <a:pt x="5451170" y="8435952"/>
                  <a:pt x="5340615" y="8409696"/>
                  <a:pt x="5254929" y="8435952"/>
                </a:cubicBezTo>
                <a:cubicBezTo>
                  <a:pt x="5227292" y="8435952"/>
                  <a:pt x="5172015" y="8409696"/>
                  <a:pt x="5144378" y="8409696"/>
                </a:cubicBezTo>
                <a:cubicBezTo>
                  <a:pt x="5116738" y="8409696"/>
                  <a:pt x="5061461" y="8383443"/>
                  <a:pt x="5031059" y="8383443"/>
                </a:cubicBezTo>
                <a:cubicBezTo>
                  <a:pt x="4807199" y="8409696"/>
                  <a:pt x="4583339" y="8354561"/>
                  <a:pt x="4389882" y="8354561"/>
                </a:cubicBezTo>
                <a:lnTo>
                  <a:pt x="4370027" y="8368867"/>
                </a:lnTo>
                <a:lnTo>
                  <a:pt x="4368817" y="8377351"/>
                </a:lnTo>
                <a:cubicBezTo>
                  <a:pt x="4365754" y="8380415"/>
                  <a:pt x="4359629" y="8380415"/>
                  <a:pt x="4347377" y="8380415"/>
                </a:cubicBezTo>
                <a:cubicBezTo>
                  <a:pt x="4347377" y="8380415"/>
                  <a:pt x="4347377" y="8402692"/>
                  <a:pt x="4325099" y="8380415"/>
                </a:cubicBezTo>
                <a:cubicBezTo>
                  <a:pt x="4325099" y="8380415"/>
                  <a:pt x="4325099" y="8380415"/>
                  <a:pt x="4325099" y="8355910"/>
                </a:cubicBezTo>
                <a:lnTo>
                  <a:pt x="4333583" y="8355910"/>
                </a:lnTo>
                <a:lnTo>
                  <a:pt x="4331843" y="8354561"/>
                </a:lnTo>
                <a:cubicBezTo>
                  <a:pt x="4304206" y="8354561"/>
                  <a:pt x="4276569" y="8354561"/>
                  <a:pt x="4221295" y="8354561"/>
                </a:cubicBezTo>
                <a:lnTo>
                  <a:pt x="4213694" y="8352988"/>
                </a:lnTo>
                <a:lnTo>
                  <a:pt x="4213694" y="8378187"/>
                </a:lnTo>
                <a:cubicBezTo>
                  <a:pt x="4213694" y="8378187"/>
                  <a:pt x="4186285" y="8378187"/>
                  <a:pt x="4158876" y="8378187"/>
                </a:cubicBezTo>
                <a:cubicBezTo>
                  <a:pt x="4101314" y="8348600"/>
                  <a:pt x="4046493" y="8321707"/>
                  <a:pt x="3991671" y="8378187"/>
                </a:cubicBezTo>
                <a:cubicBezTo>
                  <a:pt x="3964261" y="8378187"/>
                  <a:pt x="3964261" y="8378187"/>
                  <a:pt x="3964261" y="8378187"/>
                </a:cubicBezTo>
                <a:cubicBezTo>
                  <a:pt x="3851878" y="8348600"/>
                  <a:pt x="3769647" y="8348600"/>
                  <a:pt x="3657264" y="8321707"/>
                </a:cubicBezTo>
                <a:cubicBezTo>
                  <a:pt x="3657264" y="8308259"/>
                  <a:pt x="3650410" y="8301533"/>
                  <a:pt x="3640132" y="8294810"/>
                </a:cubicBezTo>
                <a:lnTo>
                  <a:pt x="3624439" y="8283611"/>
                </a:lnTo>
                <a:lnTo>
                  <a:pt x="3617588" y="8292419"/>
                </a:lnTo>
                <a:cubicBezTo>
                  <a:pt x="3592065" y="8292419"/>
                  <a:pt x="3566539" y="8292419"/>
                  <a:pt x="3566539" y="8292419"/>
                </a:cubicBezTo>
                <a:cubicBezTo>
                  <a:pt x="3541012" y="8244604"/>
                  <a:pt x="3566539" y="8220697"/>
                  <a:pt x="3592065" y="8196790"/>
                </a:cubicBezTo>
                <a:lnTo>
                  <a:pt x="3616407" y="8206519"/>
                </a:lnTo>
                <a:lnTo>
                  <a:pt x="3579115" y="8177882"/>
                </a:lnTo>
                <a:cubicBezTo>
                  <a:pt x="3469130" y="8177882"/>
                  <a:pt x="3383881" y="8177882"/>
                  <a:pt x="3273886" y="8151249"/>
                </a:cubicBezTo>
                <a:cubicBezTo>
                  <a:pt x="3133637" y="8151249"/>
                  <a:pt x="3023642" y="8151249"/>
                  <a:pt x="2883397" y="8095314"/>
                </a:cubicBezTo>
                <a:cubicBezTo>
                  <a:pt x="2773398" y="8068677"/>
                  <a:pt x="2660651" y="8068677"/>
                  <a:pt x="2550656" y="8068677"/>
                </a:cubicBezTo>
                <a:cubicBezTo>
                  <a:pt x="2495656" y="8068677"/>
                  <a:pt x="2410407" y="8068677"/>
                  <a:pt x="2355411" y="8042040"/>
                </a:cubicBezTo>
                <a:cubicBezTo>
                  <a:pt x="2327910" y="8015403"/>
                  <a:pt x="2327910" y="8015403"/>
                  <a:pt x="2327910" y="7988766"/>
                </a:cubicBezTo>
                <a:cubicBezTo>
                  <a:pt x="2327910" y="7988766"/>
                  <a:pt x="2327910" y="7988766"/>
                  <a:pt x="2355411" y="7988766"/>
                </a:cubicBezTo>
                <a:cubicBezTo>
                  <a:pt x="2355411" y="7988766"/>
                  <a:pt x="2355411" y="8015403"/>
                  <a:pt x="2382909" y="8015403"/>
                </a:cubicBezTo>
                <a:cubicBezTo>
                  <a:pt x="2410407" y="8015403"/>
                  <a:pt x="2437909" y="8015403"/>
                  <a:pt x="2437909" y="8015403"/>
                </a:cubicBezTo>
                <a:cubicBezTo>
                  <a:pt x="2494282" y="8042040"/>
                  <a:pt x="2543093" y="8042040"/>
                  <a:pt x="2591904" y="8035382"/>
                </a:cubicBezTo>
                <a:lnTo>
                  <a:pt x="2593957" y="8035115"/>
                </a:lnTo>
                <a:lnTo>
                  <a:pt x="2588431" y="8035115"/>
                </a:lnTo>
                <a:cubicBezTo>
                  <a:pt x="2534303" y="8035115"/>
                  <a:pt x="2507239" y="8035115"/>
                  <a:pt x="2450407" y="8011777"/>
                </a:cubicBezTo>
                <a:cubicBezTo>
                  <a:pt x="2561367" y="8011777"/>
                  <a:pt x="2642555" y="7988439"/>
                  <a:pt x="2753515" y="8011777"/>
                </a:cubicBezTo>
                <a:cubicBezTo>
                  <a:pt x="2780579" y="8011777"/>
                  <a:pt x="2834707" y="8011777"/>
                  <a:pt x="2888831" y="8035115"/>
                </a:cubicBezTo>
                <a:lnTo>
                  <a:pt x="2842283" y="8035115"/>
                </a:lnTo>
                <a:lnTo>
                  <a:pt x="2883397" y="8042040"/>
                </a:lnTo>
                <a:cubicBezTo>
                  <a:pt x="2883397" y="8042040"/>
                  <a:pt x="2913646" y="8068677"/>
                  <a:pt x="2913646" y="8042040"/>
                </a:cubicBezTo>
                <a:lnTo>
                  <a:pt x="2920792" y="8041225"/>
                </a:lnTo>
                <a:lnTo>
                  <a:pt x="2893785" y="8032723"/>
                </a:lnTo>
                <a:cubicBezTo>
                  <a:pt x="2924101" y="8032723"/>
                  <a:pt x="2924101" y="8032723"/>
                  <a:pt x="2951660" y="8032723"/>
                </a:cubicBezTo>
                <a:cubicBezTo>
                  <a:pt x="2979218" y="8032723"/>
                  <a:pt x="2979218" y="8005827"/>
                  <a:pt x="2979218" y="8005827"/>
                </a:cubicBezTo>
                <a:cubicBezTo>
                  <a:pt x="2979218" y="8005827"/>
                  <a:pt x="2979218" y="8005827"/>
                  <a:pt x="2951660" y="8005827"/>
                </a:cubicBezTo>
                <a:cubicBezTo>
                  <a:pt x="2951660" y="7978934"/>
                  <a:pt x="2924101" y="7978934"/>
                  <a:pt x="2924101" y="7978934"/>
                </a:cubicBezTo>
                <a:cubicBezTo>
                  <a:pt x="2783544" y="7952037"/>
                  <a:pt x="2642989" y="7952037"/>
                  <a:pt x="2505189" y="7925140"/>
                </a:cubicBezTo>
                <a:cubicBezTo>
                  <a:pt x="2476254" y="7910347"/>
                  <a:pt x="2448001" y="7902952"/>
                  <a:pt x="2423542" y="7892528"/>
                </a:cubicBezTo>
                <a:lnTo>
                  <a:pt x="2370240" y="7846593"/>
                </a:lnTo>
                <a:lnTo>
                  <a:pt x="2363272" y="7844518"/>
                </a:lnTo>
                <a:cubicBezTo>
                  <a:pt x="2280038" y="7844518"/>
                  <a:pt x="2221771" y="7817290"/>
                  <a:pt x="2138509" y="7790063"/>
                </a:cubicBezTo>
                <a:cubicBezTo>
                  <a:pt x="2110765" y="7790063"/>
                  <a:pt x="2055281" y="7762835"/>
                  <a:pt x="1997022" y="7762835"/>
                </a:cubicBezTo>
                <a:cubicBezTo>
                  <a:pt x="2027538" y="7762835"/>
                  <a:pt x="2027538" y="7735608"/>
                  <a:pt x="2055281" y="7735608"/>
                </a:cubicBezTo>
                <a:cubicBezTo>
                  <a:pt x="2221771" y="7735608"/>
                  <a:pt x="2391019" y="7735608"/>
                  <a:pt x="2560264" y="7735608"/>
                </a:cubicBezTo>
                <a:cubicBezTo>
                  <a:pt x="2784999" y="7762835"/>
                  <a:pt x="2981990" y="7790063"/>
                  <a:pt x="3206726" y="7817290"/>
                </a:cubicBezTo>
                <a:cubicBezTo>
                  <a:pt x="3206726" y="7762835"/>
                  <a:pt x="3178979" y="7762835"/>
                  <a:pt x="3148459" y="7762835"/>
                </a:cubicBezTo>
                <a:cubicBezTo>
                  <a:pt x="3065225" y="7735608"/>
                  <a:pt x="2981990" y="7735608"/>
                  <a:pt x="2895981" y="7708380"/>
                </a:cubicBezTo>
                <a:cubicBezTo>
                  <a:pt x="2840490" y="7708380"/>
                  <a:pt x="2868233" y="7678427"/>
                  <a:pt x="2868233" y="7678427"/>
                </a:cubicBezTo>
                <a:lnTo>
                  <a:pt x="2877546" y="7673996"/>
                </a:lnTo>
                <a:lnTo>
                  <a:pt x="2867041" y="7673658"/>
                </a:lnTo>
                <a:cubicBezTo>
                  <a:pt x="2894571" y="7647405"/>
                  <a:pt x="2924852" y="7647405"/>
                  <a:pt x="2924852" y="7621149"/>
                </a:cubicBezTo>
                <a:lnTo>
                  <a:pt x="2966304" y="7621644"/>
                </a:lnTo>
                <a:lnTo>
                  <a:pt x="2921283" y="7619690"/>
                </a:lnTo>
                <a:cubicBezTo>
                  <a:pt x="2921283" y="7619690"/>
                  <a:pt x="2921283" y="7596352"/>
                  <a:pt x="2891550" y="7596352"/>
                </a:cubicBezTo>
                <a:lnTo>
                  <a:pt x="2918329" y="7597708"/>
                </a:lnTo>
                <a:lnTo>
                  <a:pt x="2898863" y="7591755"/>
                </a:lnTo>
                <a:cubicBezTo>
                  <a:pt x="2871127" y="7591755"/>
                  <a:pt x="2843394" y="7591755"/>
                  <a:pt x="2843394" y="7591755"/>
                </a:cubicBezTo>
                <a:cubicBezTo>
                  <a:pt x="2815657" y="7591755"/>
                  <a:pt x="2815657" y="7591755"/>
                  <a:pt x="2815657" y="7591755"/>
                </a:cubicBezTo>
                <a:cubicBezTo>
                  <a:pt x="2787924" y="7591755"/>
                  <a:pt x="2760188" y="7591755"/>
                  <a:pt x="2732455" y="7591755"/>
                </a:cubicBezTo>
                <a:cubicBezTo>
                  <a:pt x="2704722" y="7591755"/>
                  <a:pt x="2674213" y="7591755"/>
                  <a:pt x="2646477" y="7564452"/>
                </a:cubicBezTo>
                <a:lnTo>
                  <a:pt x="2646477" y="7537150"/>
                </a:lnTo>
                <a:lnTo>
                  <a:pt x="2648142" y="7536613"/>
                </a:lnTo>
                <a:lnTo>
                  <a:pt x="2636349" y="7537321"/>
                </a:lnTo>
                <a:lnTo>
                  <a:pt x="2614459" y="7531666"/>
                </a:lnTo>
                <a:lnTo>
                  <a:pt x="2462176" y="7529474"/>
                </a:lnTo>
                <a:lnTo>
                  <a:pt x="2258938" y="7510673"/>
                </a:lnTo>
                <a:lnTo>
                  <a:pt x="2186345" y="7509780"/>
                </a:lnTo>
                <a:lnTo>
                  <a:pt x="2154644" y="7504147"/>
                </a:lnTo>
                <a:lnTo>
                  <a:pt x="2131235" y="7503218"/>
                </a:lnTo>
                <a:cubicBezTo>
                  <a:pt x="2103719" y="7499937"/>
                  <a:pt x="2076206" y="7493371"/>
                  <a:pt x="2048691" y="7480243"/>
                </a:cubicBezTo>
                <a:lnTo>
                  <a:pt x="2039275" y="7480243"/>
                </a:lnTo>
                <a:lnTo>
                  <a:pt x="2026449" y="7492666"/>
                </a:lnTo>
                <a:cubicBezTo>
                  <a:pt x="2023011" y="7495997"/>
                  <a:pt x="2023011" y="7495997"/>
                  <a:pt x="2023011" y="7495997"/>
                </a:cubicBezTo>
                <a:cubicBezTo>
                  <a:pt x="1965271" y="7495997"/>
                  <a:pt x="1910279" y="7495997"/>
                  <a:pt x="1882785" y="7495997"/>
                </a:cubicBezTo>
                <a:cubicBezTo>
                  <a:pt x="1800298" y="7469360"/>
                  <a:pt x="1742557" y="7440062"/>
                  <a:pt x="1687565" y="7440062"/>
                </a:cubicBezTo>
                <a:cubicBezTo>
                  <a:pt x="1660071" y="7440062"/>
                  <a:pt x="1632572" y="7440062"/>
                  <a:pt x="1632572" y="7440062"/>
                </a:cubicBezTo>
                <a:cubicBezTo>
                  <a:pt x="1618825" y="7440062"/>
                  <a:pt x="1611953" y="7426741"/>
                  <a:pt x="1611953" y="7413425"/>
                </a:cubicBezTo>
                <a:cubicBezTo>
                  <a:pt x="1611953" y="7400108"/>
                  <a:pt x="1618825" y="7386788"/>
                  <a:pt x="1632572" y="7386788"/>
                </a:cubicBezTo>
                <a:lnTo>
                  <a:pt x="1660071" y="7360155"/>
                </a:lnTo>
                <a:cubicBezTo>
                  <a:pt x="1687565" y="7360155"/>
                  <a:pt x="1715059" y="7360155"/>
                  <a:pt x="1715059" y="7333518"/>
                </a:cubicBezTo>
                <a:cubicBezTo>
                  <a:pt x="1742557" y="7333518"/>
                  <a:pt x="1742557" y="7333518"/>
                  <a:pt x="1770052" y="7333518"/>
                </a:cubicBezTo>
                <a:lnTo>
                  <a:pt x="1774845" y="7330838"/>
                </a:lnTo>
                <a:lnTo>
                  <a:pt x="1767322" y="7332600"/>
                </a:lnTo>
                <a:cubicBezTo>
                  <a:pt x="1739753" y="7306038"/>
                  <a:pt x="1739753" y="7306038"/>
                  <a:pt x="1712188" y="7279475"/>
                </a:cubicBezTo>
                <a:lnTo>
                  <a:pt x="1712188" y="7252913"/>
                </a:lnTo>
                <a:lnTo>
                  <a:pt x="1739753" y="7252913"/>
                </a:lnTo>
                <a:cubicBezTo>
                  <a:pt x="1767322" y="7252913"/>
                  <a:pt x="1767322" y="7252913"/>
                  <a:pt x="1767322" y="7252913"/>
                </a:cubicBezTo>
                <a:cubicBezTo>
                  <a:pt x="1797646" y="7252913"/>
                  <a:pt x="1825215" y="7279475"/>
                  <a:pt x="1852784" y="7252913"/>
                </a:cubicBezTo>
                <a:cubicBezTo>
                  <a:pt x="1880350" y="7252913"/>
                  <a:pt x="1880350" y="7223696"/>
                  <a:pt x="1880350" y="7197134"/>
                </a:cubicBezTo>
                <a:cubicBezTo>
                  <a:pt x="1880350" y="7170572"/>
                  <a:pt x="1880350" y="7144010"/>
                  <a:pt x="1935489" y="7144010"/>
                </a:cubicBezTo>
                <a:cubicBezTo>
                  <a:pt x="2020947" y="7170572"/>
                  <a:pt x="2103651" y="7170572"/>
                  <a:pt x="2186355" y="7170572"/>
                </a:cubicBezTo>
                <a:cubicBezTo>
                  <a:pt x="2213967" y="7170572"/>
                  <a:pt x="2244294" y="7170572"/>
                  <a:pt x="2299437" y="7170572"/>
                </a:cubicBezTo>
                <a:cubicBezTo>
                  <a:pt x="2299437" y="7144010"/>
                  <a:pt x="2299437" y="7144010"/>
                  <a:pt x="2299437" y="7144010"/>
                </a:cubicBezTo>
                <a:cubicBezTo>
                  <a:pt x="2244294" y="7144010"/>
                  <a:pt x="2186355" y="7117448"/>
                  <a:pt x="2131221" y="7117448"/>
                </a:cubicBezTo>
                <a:cubicBezTo>
                  <a:pt x="2076085" y="7117448"/>
                  <a:pt x="2020947" y="7117448"/>
                  <a:pt x="1935489" y="7090886"/>
                </a:cubicBezTo>
                <a:cubicBezTo>
                  <a:pt x="1935489" y="7090886"/>
                  <a:pt x="1907920" y="7090886"/>
                  <a:pt x="1880350" y="7117448"/>
                </a:cubicBezTo>
                <a:lnTo>
                  <a:pt x="1861621" y="7103915"/>
                </a:lnTo>
                <a:lnTo>
                  <a:pt x="1852784" y="7097527"/>
                </a:lnTo>
                <a:lnTo>
                  <a:pt x="1843945" y="7103915"/>
                </a:lnTo>
                <a:lnTo>
                  <a:pt x="1825215" y="7117448"/>
                </a:lnTo>
                <a:cubicBezTo>
                  <a:pt x="1797646" y="7117448"/>
                  <a:pt x="1797646" y="7117448"/>
                  <a:pt x="1767322" y="7090886"/>
                </a:cubicBezTo>
                <a:cubicBezTo>
                  <a:pt x="1767322" y="7090886"/>
                  <a:pt x="1739753" y="7090886"/>
                  <a:pt x="1712188" y="7090886"/>
                </a:cubicBezTo>
                <a:lnTo>
                  <a:pt x="1675067" y="7079406"/>
                </a:lnTo>
                <a:lnTo>
                  <a:pt x="1655871" y="7079406"/>
                </a:lnTo>
                <a:lnTo>
                  <a:pt x="1648231" y="7071103"/>
                </a:lnTo>
                <a:lnTo>
                  <a:pt x="1646711" y="7070634"/>
                </a:lnTo>
                <a:lnTo>
                  <a:pt x="1647146" y="7069926"/>
                </a:lnTo>
                <a:lnTo>
                  <a:pt x="1642658" y="7065047"/>
                </a:lnTo>
                <a:cubicBezTo>
                  <a:pt x="1636050" y="7056431"/>
                  <a:pt x="1629445" y="7044943"/>
                  <a:pt x="1629445" y="7033460"/>
                </a:cubicBezTo>
                <a:cubicBezTo>
                  <a:pt x="1629445" y="7008186"/>
                  <a:pt x="1655871" y="7008186"/>
                  <a:pt x="1682298" y="7008186"/>
                </a:cubicBezTo>
                <a:lnTo>
                  <a:pt x="1682651" y="7011769"/>
                </a:lnTo>
                <a:lnTo>
                  <a:pt x="1684619" y="7008545"/>
                </a:lnTo>
                <a:cubicBezTo>
                  <a:pt x="1712188" y="7008545"/>
                  <a:pt x="1739753" y="7008545"/>
                  <a:pt x="1739753" y="7008545"/>
                </a:cubicBezTo>
                <a:lnTo>
                  <a:pt x="1746775" y="7011157"/>
                </a:lnTo>
                <a:lnTo>
                  <a:pt x="1746775" y="7000574"/>
                </a:lnTo>
                <a:cubicBezTo>
                  <a:pt x="1746775" y="6996837"/>
                  <a:pt x="1746775" y="6996837"/>
                  <a:pt x="1746775" y="6996837"/>
                </a:cubicBezTo>
                <a:lnTo>
                  <a:pt x="1755301" y="6986688"/>
                </a:lnTo>
                <a:lnTo>
                  <a:pt x="1733995" y="6993638"/>
                </a:lnTo>
                <a:cubicBezTo>
                  <a:pt x="1706383" y="6940364"/>
                  <a:pt x="1651160" y="6913731"/>
                  <a:pt x="1595939" y="6913731"/>
                </a:cubicBezTo>
                <a:cubicBezTo>
                  <a:pt x="1537954" y="6913731"/>
                  <a:pt x="1455122" y="6913731"/>
                  <a:pt x="1399898" y="6913731"/>
                </a:cubicBezTo>
                <a:cubicBezTo>
                  <a:pt x="1399898" y="6887094"/>
                  <a:pt x="1372290" y="6887094"/>
                  <a:pt x="1372290" y="6887094"/>
                </a:cubicBezTo>
                <a:lnTo>
                  <a:pt x="1382165" y="6883364"/>
                </a:lnTo>
                <a:lnTo>
                  <a:pt x="1372265" y="6883364"/>
                </a:lnTo>
                <a:cubicBezTo>
                  <a:pt x="1399161" y="6860027"/>
                  <a:pt x="1426058" y="6836689"/>
                  <a:pt x="1452951" y="6836689"/>
                </a:cubicBezTo>
                <a:lnTo>
                  <a:pt x="1590064" y="6836689"/>
                </a:lnTo>
                <a:lnTo>
                  <a:pt x="1595939" y="6833820"/>
                </a:lnTo>
                <a:cubicBezTo>
                  <a:pt x="1623548" y="6833820"/>
                  <a:pt x="1623548" y="6833820"/>
                  <a:pt x="1651160" y="6833820"/>
                </a:cubicBezTo>
                <a:cubicBezTo>
                  <a:pt x="1651160" y="6860457"/>
                  <a:pt x="1651160" y="6860457"/>
                  <a:pt x="1651160" y="6860457"/>
                </a:cubicBezTo>
                <a:cubicBezTo>
                  <a:pt x="1678772" y="6860457"/>
                  <a:pt x="1678772" y="6860457"/>
                  <a:pt x="1678772" y="6833820"/>
                </a:cubicBezTo>
                <a:cubicBezTo>
                  <a:pt x="1761604" y="6860457"/>
                  <a:pt x="1819589" y="6860457"/>
                  <a:pt x="1902421" y="6833820"/>
                </a:cubicBezTo>
                <a:cubicBezTo>
                  <a:pt x="1957645" y="6833820"/>
                  <a:pt x="2015627" y="6807183"/>
                  <a:pt x="2098459" y="6833820"/>
                </a:cubicBezTo>
                <a:cubicBezTo>
                  <a:pt x="2126071" y="6833820"/>
                  <a:pt x="2126071" y="6833820"/>
                  <a:pt x="2126071" y="6777885"/>
                </a:cubicBezTo>
                <a:lnTo>
                  <a:pt x="2141879" y="6777322"/>
                </a:lnTo>
                <a:lnTo>
                  <a:pt x="2140085" y="6776835"/>
                </a:lnTo>
                <a:cubicBezTo>
                  <a:pt x="2084691" y="6776835"/>
                  <a:pt x="2056993" y="6776835"/>
                  <a:pt x="1998826" y="6776835"/>
                </a:cubicBezTo>
                <a:cubicBezTo>
                  <a:pt x="1929581" y="6776835"/>
                  <a:pt x="1859646" y="6776835"/>
                  <a:pt x="1789707" y="6773440"/>
                </a:cubicBezTo>
                <a:lnTo>
                  <a:pt x="1678836" y="6760839"/>
                </a:lnTo>
                <a:lnTo>
                  <a:pt x="1660359" y="6760839"/>
                </a:lnTo>
                <a:cubicBezTo>
                  <a:pt x="1633757" y="6760839"/>
                  <a:pt x="1607156" y="6749700"/>
                  <a:pt x="1580555" y="6749700"/>
                </a:cubicBezTo>
                <a:lnTo>
                  <a:pt x="1580907" y="6749711"/>
                </a:lnTo>
                <a:lnTo>
                  <a:pt x="1580587" y="6749671"/>
                </a:lnTo>
                <a:lnTo>
                  <a:pt x="1588979" y="6720045"/>
                </a:lnTo>
                <a:lnTo>
                  <a:pt x="1562683" y="6736333"/>
                </a:lnTo>
                <a:cubicBezTo>
                  <a:pt x="1534605" y="6736333"/>
                  <a:pt x="1509082" y="6736333"/>
                  <a:pt x="1458029" y="6712618"/>
                </a:cubicBezTo>
                <a:lnTo>
                  <a:pt x="1480328" y="6705323"/>
                </a:lnTo>
                <a:lnTo>
                  <a:pt x="1458122" y="6708326"/>
                </a:lnTo>
                <a:lnTo>
                  <a:pt x="1405620" y="6701782"/>
                </a:lnTo>
                <a:lnTo>
                  <a:pt x="1455435" y="6712995"/>
                </a:lnTo>
                <a:cubicBezTo>
                  <a:pt x="1403599" y="6736333"/>
                  <a:pt x="1351763" y="6736333"/>
                  <a:pt x="1323251" y="6712995"/>
                </a:cubicBezTo>
                <a:lnTo>
                  <a:pt x="1331507" y="6706237"/>
                </a:lnTo>
                <a:lnTo>
                  <a:pt x="1318656" y="6708326"/>
                </a:lnTo>
                <a:cubicBezTo>
                  <a:pt x="1236621" y="6760839"/>
                  <a:pt x="1209273" y="6760839"/>
                  <a:pt x="1181928" y="6682070"/>
                </a:cubicBezTo>
                <a:cubicBezTo>
                  <a:pt x="1181928" y="6655818"/>
                  <a:pt x="1181928" y="6655818"/>
                  <a:pt x="1154583" y="6629562"/>
                </a:cubicBezTo>
                <a:cubicBezTo>
                  <a:pt x="1140910" y="6629562"/>
                  <a:pt x="1134074" y="6622996"/>
                  <a:pt x="1134074" y="6613149"/>
                </a:cubicBezTo>
                <a:cubicBezTo>
                  <a:pt x="1134074" y="6603306"/>
                  <a:pt x="1140910" y="6590178"/>
                  <a:pt x="1154583" y="6577050"/>
                </a:cubicBezTo>
                <a:lnTo>
                  <a:pt x="1171903" y="6577050"/>
                </a:lnTo>
                <a:lnTo>
                  <a:pt x="1151722" y="6574221"/>
                </a:lnTo>
                <a:cubicBezTo>
                  <a:pt x="1151722" y="6545712"/>
                  <a:pt x="1151722" y="6519794"/>
                  <a:pt x="1178148" y="6519794"/>
                </a:cubicBezTo>
                <a:cubicBezTo>
                  <a:pt x="1204576" y="6493872"/>
                  <a:pt x="1257429" y="6493872"/>
                  <a:pt x="1283856" y="6493872"/>
                </a:cubicBezTo>
                <a:lnTo>
                  <a:pt x="1283856" y="6507111"/>
                </a:lnTo>
                <a:lnTo>
                  <a:pt x="1291312" y="6495659"/>
                </a:lnTo>
                <a:cubicBezTo>
                  <a:pt x="1318656" y="6495659"/>
                  <a:pt x="1318656" y="6495659"/>
                  <a:pt x="1348738" y="6521911"/>
                </a:cubicBezTo>
                <a:cubicBezTo>
                  <a:pt x="1376083" y="6548167"/>
                  <a:pt x="1430777" y="6548167"/>
                  <a:pt x="1458122" y="6495659"/>
                </a:cubicBezTo>
                <a:cubicBezTo>
                  <a:pt x="1485467" y="6469403"/>
                  <a:pt x="1512815" y="6469403"/>
                  <a:pt x="1570242" y="6469403"/>
                </a:cubicBezTo>
                <a:cubicBezTo>
                  <a:pt x="1597587" y="6469403"/>
                  <a:pt x="1652277" y="6469403"/>
                  <a:pt x="1679625" y="6469403"/>
                </a:cubicBezTo>
                <a:lnTo>
                  <a:pt x="1681305" y="6472161"/>
                </a:lnTo>
                <a:lnTo>
                  <a:pt x="1684348" y="6469328"/>
                </a:lnTo>
                <a:cubicBezTo>
                  <a:pt x="1684348" y="6469328"/>
                  <a:pt x="1684348" y="6469328"/>
                  <a:pt x="1711728" y="6469328"/>
                </a:cubicBezTo>
                <a:lnTo>
                  <a:pt x="1723284" y="6471043"/>
                </a:lnTo>
                <a:lnTo>
                  <a:pt x="1715348" y="6460385"/>
                </a:lnTo>
                <a:cubicBezTo>
                  <a:pt x="1715348" y="6433748"/>
                  <a:pt x="1742831" y="6407111"/>
                  <a:pt x="1800543" y="6407111"/>
                </a:cubicBezTo>
                <a:cubicBezTo>
                  <a:pt x="1814283" y="6393795"/>
                  <a:pt x="1834895" y="6387133"/>
                  <a:pt x="1855507" y="6380474"/>
                </a:cubicBezTo>
                <a:lnTo>
                  <a:pt x="1906770" y="6355635"/>
                </a:lnTo>
                <a:lnTo>
                  <a:pt x="1902364" y="6351994"/>
                </a:lnTo>
                <a:lnTo>
                  <a:pt x="1902364" y="6321966"/>
                </a:lnTo>
                <a:lnTo>
                  <a:pt x="1882944" y="6316062"/>
                </a:lnTo>
                <a:lnTo>
                  <a:pt x="1749618" y="6319300"/>
                </a:lnTo>
                <a:cubicBezTo>
                  <a:pt x="1704971" y="6322863"/>
                  <a:pt x="1663701" y="6329991"/>
                  <a:pt x="1623110" y="6344247"/>
                </a:cubicBezTo>
                <a:cubicBezTo>
                  <a:pt x="1623110" y="6344247"/>
                  <a:pt x="1596050" y="6344247"/>
                  <a:pt x="1568989" y="6344247"/>
                </a:cubicBezTo>
                <a:cubicBezTo>
                  <a:pt x="1539225" y="6315735"/>
                  <a:pt x="1568989" y="6315735"/>
                  <a:pt x="1568989" y="6289817"/>
                </a:cubicBezTo>
                <a:lnTo>
                  <a:pt x="1596050" y="6289817"/>
                </a:lnTo>
                <a:lnTo>
                  <a:pt x="1623110" y="6263899"/>
                </a:lnTo>
                <a:cubicBezTo>
                  <a:pt x="1596050" y="6237981"/>
                  <a:pt x="1596050" y="6237981"/>
                  <a:pt x="1568989" y="6237981"/>
                </a:cubicBezTo>
                <a:cubicBezTo>
                  <a:pt x="1539225" y="6237981"/>
                  <a:pt x="1485100" y="6237981"/>
                  <a:pt x="1458040" y="6237981"/>
                </a:cubicBezTo>
                <a:cubicBezTo>
                  <a:pt x="1458040" y="6225020"/>
                  <a:pt x="1458040" y="6218540"/>
                  <a:pt x="1458040" y="6215301"/>
                </a:cubicBezTo>
                <a:lnTo>
                  <a:pt x="1458040" y="6213091"/>
                </a:lnTo>
                <a:lnTo>
                  <a:pt x="1455115" y="6212771"/>
                </a:lnTo>
                <a:lnTo>
                  <a:pt x="1443474" y="6200469"/>
                </a:lnTo>
                <a:lnTo>
                  <a:pt x="1440841" y="6207077"/>
                </a:lnTo>
                <a:cubicBezTo>
                  <a:pt x="1440841" y="6207077"/>
                  <a:pt x="1440841" y="6207077"/>
                  <a:pt x="1440841" y="6233974"/>
                </a:cubicBezTo>
                <a:cubicBezTo>
                  <a:pt x="1414058" y="6233974"/>
                  <a:pt x="1387279" y="6207077"/>
                  <a:pt x="1387279" y="6207077"/>
                </a:cubicBezTo>
                <a:cubicBezTo>
                  <a:pt x="1360496" y="6207077"/>
                  <a:pt x="1360496" y="6207077"/>
                  <a:pt x="1333713" y="6207077"/>
                </a:cubicBezTo>
                <a:cubicBezTo>
                  <a:pt x="1277475" y="6233974"/>
                  <a:pt x="1223910" y="6207077"/>
                  <a:pt x="1170348" y="6180180"/>
                </a:cubicBezTo>
                <a:cubicBezTo>
                  <a:pt x="1143569" y="6153287"/>
                  <a:pt x="1087327" y="6153287"/>
                  <a:pt x="1033765" y="6153287"/>
                </a:cubicBezTo>
                <a:lnTo>
                  <a:pt x="1022189" y="6146643"/>
                </a:lnTo>
                <a:lnTo>
                  <a:pt x="875994" y="6153017"/>
                </a:lnTo>
                <a:cubicBezTo>
                  <a:pt x="827863" y="6146455"/>
                  <a:pt x="779735" y="6133327"/>
                  <a:pt x="725500" y="6120199"/>
                </a:cubicBezTo>
                <a:cubicBezTo>
                  <a:pt x="698387" y="6120199"/>
                  <a:pt x="698387" y="6093943"/>
                  <a:pt x="725500" y="6065064"/>
                </a:cubicBezTo>
                <a:lnTo>
                  <a:pt x="727700" y="6065530"/>
                </a:lnTo>
                <a:lnTo>
                  <a:pt x="707603" y="6042327"/>
                </a:lnTo>
                <a:cubicBezTo>
                  <a:pt x="707603" y="6038996"/>
                  <a:pt x="714330" y="6038996"/>
                  <a:pt x="727789" y="6038996"/>
                </a:cubicBezTo>
                <a:cubicBezTo>
                  <a:pt x="727789" y="6038996"/>
                  <a:pt x="727789" y="6038996"/>
                  <a:pt x="754700" y="6038996"/>
                </a:cubicBezTo>
                <a:lnTo>
                  <a:pt x="754700" y="6012363"/>
                </a:lnTo>
                <a:cubicBezTo>
                  <a:pt x="700874" y="6012363"/>
                  <a:pt x="673960" y="6012363"/>
                  <a:pt x="647049" y="6012363"/>
                </a:cubicBezTo>
                <a:cubicBezTo>
                  <a:pt x="617444" y="5985726"/>
                  <a:pt x="590530" y="5959089"/>
                  <a:pt x="563619" y="5932452"/>
                </a:cubicBezTo>
                <a:lnTo>
                  <a:pt x="570078" y="5927659"/>
                </a:lnTo>
                <a:lnTo>
                  <a:pt x="590530" y="5912478"/>
                </a:lnTo>
                <a:cubicBezTo>
                  <a:pt x="597259" y="5912478"/>
                  <a:pt x="603989" y="5919136"/>
                  <a:pt x="617444" y="5932452"/>
                </a:cubicBezTo>
                <a:cubicBezTo>
                  <a:pt x="700874" y="5932452"/>
                  <a:pt x="781614" y="5932452"/>
                  <a:pt x="862350" y="5932452"/>
                </a:cubicBezTo>
                <a:cubicBezTo>
                  <a:pt x="862350" y="5932452"/>
                  <a:pt x="862350" y="5932452"/>
                  <a:pt x="891955" y="5959089"/>
                </a:cubicBezTo>
                <a:cubicBezTo>
                  <a:pt x="891955" y="5959089"/>
                  <a:pt x="891955" y="5959089"/>
                  <a:pt x="862350" y="5985726"/>
                </a:cubicBezTo>
                <a:cubicBezTo>
                  <a:pt x="862350" y="5985726"/>
                  <a:pt x="862350" y="5985726"/>
                  <a:pt x="835439" y="5985726"/>
                </a:cubicBezTo>
                <a:cubicBezTo>
                  <a:pt x="835439" y="6012363"/>
                  <a:pt x="808525" y="6012363"/>
                  <a:pt x="835439" y="6038996"/>
                </a:cubicBezTo>
                <a:cubicBezTo>
                  <a:pt x="835439" y="6038996"/>
                  <a:pt x="862350" y="6065633"/>
                  <a:pt x="891955" y="6038996"/>
                </a:cubicBezTo>
                <a:lnTo>
                  <a:pt x="918869" y="6038996"/>
                </a:lnTo>
                <a:cubicBezTo>
                  <a:pt x="945780" y="5985726"/>
                  <a:pt x="972694" y="6012363"/>
                  <a:pt x="999609" y="6012363"/>
                </a:cubicBezTo>
                <a:lnTo>
                  <a:pt x="1016947" y="6043825"/>
                </a:lnTo>
                <a:lnTo>
                  <a:pt x="1016947" y="6018847"/>
                </a:lnTo>
                <a:cubicBezTo>
                  <a:pt x="1043509" y="6018847"/>
                  <a:pt x="1043509" y="5992929"/>
                  <a:pt x="1070071" y="5992929"/>
                </a:cubicBezTo>
                <a:lnTo>
                  <a:pt x="1070694" y="5992844"/>
                </a:lnTo>
                <a:lnTo>
                  <a:pt x="1065953" y="5990715"/>
                </a:lnTo>
                <a:cubicBezTo>
                  <a:pt x="1065953" y="5966808"/>
                  <a:pt x="1065953" y="5966808"/>
                  <a:pt x="1065953" y="5966808"/>
                </a:cubicBezTo>
                <a:lnTo>
                  <a:pt x="1069776" y="5966808"/>
                </a:lnTo>
                <a:lnTo>
                  <a:pt x="1065953" y="5965612"/>
                </a:lnTo>
                <a:cubicBezTo>
                  <a:pt x="1065953" y="5941705"/>
                  <a:pt x="1092591" y="5941705"/>
                  <a:pt x="1092591" y="5917798"/>
                </a:cubicBezTo>
                <a:lnTo>
                  <a:pt x="1116338" y="5918449"/>
                </a:lnTo>
                <a:lnTo>
                  <a:pt x="1090658" y="5895485"/>
                </a:lnTo>
                <a:cubicBezTo>
                  <a:pt x="1090658" y="5841364"/>
                  <a:pt x="1090658" y="5841364"/>
                  <a:pt x="1063046" y="5841364"/>
                </a:cubicBezTo>
                <a:cubicBezTo>
                  <a:pt x="1007826" y="5811596"/>
                  <a:pt x="952602" y="5811596"/>
                  <a:pt x="897382" y="5811596"/>
                </a:cubicBezTo>
                <a:cubicBezTo>
                  <a:pt x="839397" y="5811596"/>
                  <a:pt x="839397" y="5784535"/>
                  <a:pt x="811784" y="5757475"/>
                </a:cubicBezTo>
                <a:cubicBezTo>
                  <a:pt x="811784" y="5757475"/>
                  <a:pt x="811784" y="5730411"/>
                  <a:pt x="811784" y="5703351"/>
                </a:cubicBezTo>
                <a:cubicBezTo>
                  <a:pt x="797980" y="5703351"/>
                  <a:pt x="791076" y="5696586"/>
                  <a:pt x="791076" y="5689821"/>
                </a:cubicBezTo>
                <a:cubicBezTo>
                  <a:pt x="791076" y="5683056"/>
                  <a:pt x="797980" y="5676290"/>
                  <a:pt x="811784" y="5676290"/>
                </a:cubicBezTo>
                <a:cubicBezTo>
                  <a:pt x="839397" y="5676290"/>
                  <a:pt x="839397" y="5676290"/>
                  <a:pt x="867008" y="5676290"/>
                </a:cubicBezTo>
                <a:cubicBezTo>
                  <a:pt x="897382" y="5703351"/>
                  <a:pt x="897382" y="5703351"/>
                  <a:pt x="897382" y="5730411"/>
                </a:cubicBezTo>
                <a:cubicBezTo>
                  <a:pt x="897382" y="5757475"/>
                  <a:pt x="924990" y="5757475"/>
                  <a:pt x="924990" y="5757475"/>
                </a:cubicBezTo>
                <a:cubicBezTo>
                  <a:pt x="980214" y="5757475"/>
                  <a:pt x="1007826" y="5730411"/>
                  <a:pt x="1063046" y="5730411"/>
                </a:cubicBezTo>
                <a:cubicBezTo>
                  <a:pt x="1090658" y="5730411"/>
                  <a:pt x="1148640" y="5730411"/>
                  <a:pt x="1176252" y="5730411"/>
                </a:cubicBezTo>
                <a:cubicBezTo>
                  <a:pt x="1148640" y="5703351"/>
                  <a:pt x="1121032" y="5703351"/>
                  <a:pt x="1090658" y="5703351"/>
                </a:cubicBezTo>
                <a:cubicBezTo>
                  <a:pt x="1063046" y="5703351"/>
                  <a:pt x="1035438" y="5703351"/>
                  <a:pt x="1007826" y="5703351"/>
                </a:cubicBezTo>
                <a:cubicBezTo>
                  <a:pt x="952602" y="5676290"/>
                  <a:pt x="924990" y="5649230"/>
                  <a:pt x="924990" y="5592402"/>
                </a:cubicBezTo>
                <a:lnTo>
                  <a:pt x="925681" y="5592124"/>
                </a:lnTo>
                <a:lnTo>
                  <a:pt x="924197" y="5592124"/>
                </a:lnTo>
                <a:cubicBezTo>
                  <a:pt x="896691" y="5565562"/>
                  <a:pt x="924197" y="5538999"/>
                  <a:pt x="951702" y="5512437"/>
                </a:cubicBezTo>
                <a:lnTo>
                  <a:pt x="988637" y="5498815"/>
                </a:lnTo>
                <a:lnTo>
                  <a:pt x="955687" y="5498815"/>
                </a:lnTo>
                <a:cubicBezTo>
                  <a:pt x="968969" y="5486957"/>
                  <a:pt x="975609" y="5475100"/>
                  <a:pt x="978929" y="5466206"/>
                </a:cubicBezTo>
                <a:lnTo>
                  <a:pt x="980406" y="5459598"/>
                </a:lnTo>
                <a:lnTo>
                  <a:pt x="979211" y="5459313"/>
                </a:lnTo>
                <a:cubicBezTo>
                  <a:pt x="924197" y="5432751"/>
                  <a:pt x="866435" y="5432751"/>
                  <a:pt x="811425" y="5432751"/>
                </a:cubicBezTo>
                <a:cubicBezTo>
                  <a:pt x="783920" y="5432751"/>
                  <a:pt x="728910" y="5432751"/>
                  <a:pt x="673899" y="5406189"/>
                </a:cubicBezTo>
                <a:lnTo>
                  <a:pt x="686952" y="5388541"/>
                </a:lnTo>
                <a:lnTo>
                  <a:pt x="669141" y="5388541"/>
                </a:lnTo>
                <a:cubicBezTo>
                  <a:pt x="669141" y="5388541"/>
                  <a:pt x="669141" y="5388541"/>
                  <a:pt x="642230" y="5388541"/>
                </a:cubicBezTo>
                <a:cubicBezTo>
                  <a:pt x="642230" y="5388541"/>
                  <a:pt x="612626" y="5388541"/>
                  <a:pt x="612626" y="5362285"/>
                </a:cubicBezTo>
                <a:cubicBezTo>
                  <a:pt x="612626" y="5333403"/>
                  <a:pt x="642230" y="5333403"/>
                  <a:pt x="642230" y="5333403"/>
                </a:cubicBezTo>
                <a:cubicBezTo>
                  <a:pt x="696056" y="5333403"/>
                  <a:pt x="749881" y="5333403"/>
                  <a:pt x="803706" y="5333403"/>
                </a:cubicBezTo>
                <a:cubicBezTo>
                  <a:pt x="817165" y="5333403"/>
                  <a:pt x="823891" y="5326841"/>
                  <a:pt x="827258" y="5316994"/>
                </a:cubicBezTo>
                <a:lnTo>
                  <a:pt x="829094" y="5297286"/>
                </a:lnTo>
                <a:lnTo>
                  <a:pt x="811425" y="5297286"/>
                </a:lnTo>
                <a:lnTo>
                  <a:pt x="834080" y="5263628"/>
                </a:lnTo>
                <a:lnTo>
                  <a:pt x="810863" y="5276660"/>
                </a:lnTo>
                <a:cubicBezTo>
                  <a:pt x="783948" y="5302773"/>
                  <a:pt x="730123" y="5302773"/>
                  <a:pt x="676298" y="5276660"/>
                </a:cubicBezTo>
                <a:cubicBezTo>
                  <a:pt x="676298" y="5276660"/>
                  <a:pt x="649383" y="5276660"/>
                  <a:pt x="649383" y="5250550"/>
                </a:cubicBezTo>
                <a:cubicBezTo>
                  <a:pt x="649383" y="5224436"/>
                  <a:pt x="676298" y="5224436"/>
                  <a:pt x="676298" y="5224436"/>
                </a:cubicBezTo>
                <a:cubicBezTo>
                  <a:pt x="730123" y="5224436"/>
                  <a:pt x="757034" y="5224436"/>
                  <a:pt x="837773" y="5198325"/>
                </a:cubicBezTo>
                <a:cubicBezTo>
                  <a:pt x="757034" y="5172212"/>
                  <a:pt x="730123" y="5198325"/>
                  <a:pt x="703209" y="5172212"/>
                </a:cubicBezTo>
                <a:lnTo>
                  <a:pt x="745703" y="5170639"/>
                </a:lnTo>
                <a:lnTo>
                  <a:pt x="743400" y="5170343"/>
                </a:lnTo>
                <a:lnTo>
                  <a:pt x="707718" y="5171141"/>
                </a:lnTo>
                <a:lnTo>
                  <a:pt x="689810" y="5163731"/>
                </a:lnTo>
                <a:lnTo>
                  <a:pt x="469409" y="5163731"/>
                </a:lnTo>
                <a:cubicBezTo>
                  <a:pt x="441947" y="5190368"/>
                  <a:pt x="414485" y="5163731"/>
                  <a:pt x="356813" y="5163731"/>
                </a:cubicBezTo>
                <a:lnTo>
                  <a:pt x="356813" y="5137098"/>
                </a:lnTo>
                <a:cubicBezTo>
                  <a:pt x="356813" y="5163731"/>
                  <a:pt x="329350" y="5163731"/>
                  <a:pt x="329350" y="5163731"/>
                </a:cubicBezTo>
                <a:cubicBezTo>
                  <a:pt x="301888" y="5137098"/>
                  <a:pt x="301888" y="5137098"/>
                  <a:pt x="301888" y="5137098"/>
                </a:cubicBezTo>
                <a:lnTo>
                  <a:pt x="301888" y="5163731"/>
                </a:lnTo>
                <a:cubicBezTo>
                  <a:pt x="246966" y="5163731"/>
                  <a:pt x="219504" y="5163731"/>
                  <a:pt x="192041" y="5137098"/>
                </a:cubicBezTo>
                <a:cubicBezTo>
                  <a:pt x="164579" y="5137098"/>
                  <a:pt x="137116" y="5137098"/>
                  <a:pt x="79444" y="5137098"/>
                </a:cubicBezTo>
                <a:cubicBezTo>
                  <a:pt x="51982" y="5137098"/>
                  <a:pt x="24519" y="5137098"/>
                  <a:pt x="24519" y="5081163"/>
                </a:cubicBezTo>
                <a:cubicBezTo>
                  <a:pt x="79444" y="5081163"/>
                  <a:pt x="106907" y="5081163"/>
                  <a:pt x="137116" y="5081163"/>
                </a:cubicBezTo>
                <a:lnTo>
                  <a:pt x="144917" y="5077849"/>
                </a:lnTo>
                <a:lnTo>
                  <a:pt x="137259" y="5077849"/>
                </a:lnTo>
                <a:cubicBezTo>
                  <a:pt x="107654" y="5051593"/>
                  <a:pt x="53829" y="5051593"/>
                  <a:pt x="26914" y="5051593"/>
                </a:cubicBezTo>
                <a:cubicBezTo>
                  <a:pt x="0" y="5051593"/>
                  <a:pt x="0" y="5025341"/>
                  <a:pt x="0" y="5025341"/>
                </a:cubicBezTo>
                <a:cubicBezTo>
                  <a:pt x="0" y="4999085"/>
                  <a:pt x="26914" y="4999085"/>
                  <a:pt x="26914" y="4999085"/>
                </a:cubicBezTo>
                <a:cubicBezTo>
                  <a:pt x="53829" y="4999085"/>
                  <a:pt x="80740" y="4999085"/>
                  <a:pt x="107654" y="4999085"/>
                </a:cubicBezTo>
                <a:cubicBezTo>
                  <a:pt x="217995" y="5025341"/>
                  <a:pt x="298735" y="5051593"/>
                  <a:pt x="382165" y="4999085"/>
                </a:cubicBezTo>
                <a:cubicBezTo>
                  <a:pt x="395620" y="4999085"/>
                  <a:pt x="409079" y="4999085"/>
                  <a:pt x="422535" y="5002366"/>
                </a:cubicBezTo>
                <a:lnTo>
                  <a:pt x="455207" y="5020961"/>
                </a:lnTo>
                <a:lnTo>
                  <a:pt x="462904" y="5025341"/>
                </a:lnTo>
                <a:lnTo>
                  <a:pt x="444612" y="5027889"/>
                </a:lnTo>
                <a:lnTo>
                  <a:pt x="469409" y="5027889"/>
                </a:lnTo>
                <a:lnTo>
                  <a:pt x="496872" y="5027889"/>
                </a:lnTo>
                <a:lnTo>
                  <a:pt x="504665" y="5020961"/>
                </a:lnTo>
                <a:lnTo>
                  <a:pt x="538064" y="4991263"/>
                </a:lnTo>
                <a:cubicBezTo>
                  <a:pt x="551797" y="4981277"/>
                  <a:pt x="565526" y="4974615"/>
                  <a:pt x="579259" y="4974615"/>
                </a:cubicBezTo>
                <a:cubicBezTo>
                  <a:pt x="664390" y="4974615"/>
                  <a:pt x="719315" y="4974615"/>
                  <a:pt x="801703" y="5001252"/>
                </a:cubicBezTo>
                <a:cubicBezTo>
                  <a:pt x="829165" y="5054526"/>
                  <a:pt x="886834" y="5001252"/>
                  <a:pt x="914296" y="5001252"/>
                </a:cubicBezTo>
                <a:lnTo>
                  <a:pt x="924513" y="5014462"/>
                </a:lnTo>
                <a:lnTo>
                  <a:pt x="931577" y="5007772"/>
                </a:lnTo>
                <a:cubicBezTo>
                  <a:pt x="959214" y="5007772"/>
                  <a:pt x="1014491" y="4980989"/>
                  <a:pt x="1069765" y="4980989"/>
                </a:cubicBezTo>
                <a:cubicBezTo>
                  <a:pt x="1097402" y="4954206"/>
                  <a:pt x="1155437" y="4954206"/>
                  <a:pt x="1210711" y="4954206"/>
                </a:cubicBezTo>
                <a:cubicBezTo>
                  <a:pt x="1293625" y="4927427"/>
                  <a:pt x="1379297" y="4927427"/>
                  <a:pt x="1462207" y="4844403"/>
                </a:cubicBezTo>
                <a:cubicBezTo>
                  <a:pt x="1489847" y="4817620"/>
                  <a:pt x="1545121" y="4817620"/>
                  <a:pt x="1603156" y="4817620"/>
                </a:cubicBezTo>
                <a:lnTo>
                  <a:pt x="1637875" y="4812011"/>
                </a:lnTo>
                <a:lnTo>
                  <a:pt x="1641950" y="4786659"/>
                </a:lnTo>
                <a:cubicBezTo>
                  <a:pt x="1658761" y="4770143"/>
                  <a:pt x="1685654" y="4756930"/>
                  <a:pt x="1712551" y="4743716"/>
                </a:cubicBezTo>
                <a:cubicBezTo>
                  <a:pt x="1739447" y="4730500"/>
                  <a:pt x="1752895" y="4730500"/>
                  <a:pt x="1766678" y="4740411"/>
                </a:cubicBezTo>
                <a:lnTo>
                  <a:pt x="1822027" y="4795773"/>
                </a:lnTo>
                <a:lnTo>
                  <a:pt x="1825351" y="4795567"/>
                </a:lnTo>
                <a:cubicBezTo>
                  <a:pt x="1825351" y="4795567"/>
                  <a:pt x="1852966" y="4822495"/>
                  <a:pt x="1880581" y="4795567"/>
                </a:cubicBezTo>
                <a:cubicBezTo>
                  <a:pt x="1908197" y="4768638"/>
                  <a:pt x="1935813" y="4741709"/>
                  <a:pt x="1963428" y="4714781"/>
                </a:cubicBezTo>
                <a:cubicBezTo>
                  <a:pt x="1963428" y="4702663"/>
                  <a:pt x="1970332" y="4696603"/>
                  <a:pt x="1977236" y="4693574"/>
                </a:cubicBezTo>
                <a:lnTo>
                  <a:pt x="1986681" y="4691500"/>
                </a:lnTo>
                <a:lnTo>
                  <a:pt x="1976090" y="4691500"/>
                </a:lnTo>
                <a:lnTo>
                  <a:pt x="1973951" y="4693440"/>
                </a:lnTo>
                <a:cubicBezTo>
                  <a:pt x="1970606" y="4696468"/>
                  <a:pt x="1963915" y="4702528"/>
                  <a:pt x="1950539" y="4714645"/>
                </a:cubicBezTo>
                <a:cubicBezTo>
                  <a:pt x="1816746" y="4690411"/>
                  <a:pt x="1680281" y="4690411"/>
                  <a:pt x="1543811" y="4690411"/>
                </a:cubicBezTo>
                <a:lnTo>
                  <a:pt x="1543811" y="4689226"/>
                </a:lnTo>
                <a:lnTo>
                  <a:pt x="1538121" y="4690140"/>
                </a:lnTo>
                <a:cubicBezTo>
                  <a:pt x="1510509" y="4690140"/>
                  <a:pt x="1455289" y="4690140"/>
                  <a:pt x="1427677" y="4690140"/>
                </a:cubicBezTo>
                <a:cubicBezTo>
                  <a:pt x="1344845" y="4690140"/>
                  <a:pt x="1259251" y="4690140"/>
                  <a:pt x="1204027" y="4690140"/>
                </a:cubicBezTo>
                <a:cubicBezTo>
                  <a:pt x="1148804" y="4690140"/>
                  <a:pt x="1090822" y="4663885"/>
                  <a:pt x="1035602" y="4690140"/>
                </a:cubicBezTo>
                <a:cubicBezTo>
                  <a:pt x="925157" y="4690140"/>
                  <a:pt x="811952" y="4690140"/>
                  <a:pt x="701508" y="4690140"/>
                </a:cubicBezTo>
                <a:cubicBezTo>
                  <a:pt x="673896" y="4690140"/>
                  <a:pt x="673896" y="4690140"/>
                  <a:pt x="673896" y="4690140"/>
                </a:cubicBezTo>
                <a:cubicBezTo>
                  <a:pt x="673896" y="4663885"/>
                  <a:pt x="673896" y="4663885"/>
                  <a:pt x="673896" y="4663885"/>
                </a:cubicBezTo>
                <a:cubicBezTo>
                  <a:pt x="673896" y="4663885"/>
                  <a:pt x="673896" y="4663885"/>
                  <a:pt x="701508" y="4663885"/>
                </a:cubicBezTo>
                <a:cubicBezTo>
                  <a:pt x="839564" y="4663885"/>
                  <a:pt x="1007989" y="4663885"/>
                  <a:pt x="1176415" y="4663885"/>
                </a:cubicBezTo>
                <a:cubicBezTo>
                  <a:pt x="1204027" y="4663885"/>
                  <a:pt x="1231639" y="4663885"/>
                  <a:pt x="1259251" y="4608749"/>
                </a:cubicBezTo>
                <a:cubicBezTo>
                  <a:pt x="1259251" y="4608749"/>
                  <a:pt x="1286860" y="4608749"/>
                  <a:pt x="1314472" y="4608749"/>
                </a:cubicBezTo>
                <a:cubicBezTo>
                  <a:pt x="1455289" y="4608749"/>
                  <a:pt x="1568495" y="4608749"/>
                  <a:pt x="1706547" y="4582493"/>
                </a:cubicBezTo>
                <a:lnTo>
                  <a:pt x="1724348" y="4591518"/>
                </a:lnTo>
                <a:lnTo>
                  <a:pt x="1707038" y="4580002"/>
                </a:lnTo>
                <a:cubicBezTo>
                  <a:pt x="1760554" y="4580002"/>
                  <a:pt x="1816746" y="4606931"/>
                  <a:pt x="1897019" y="4580002"/>
                </a:cubicBezTo>
                <a:cubicBezTo>
                  <a:pt x="1816746" y="4526145"/>
                  <a:pt x="1789988" y="4553074"/>
                  <a:pt x="1733796" y="4553074"/>
                </a:cubicBezTo>
                <a:cubicBezTo>
                  <a:pt x="1707038" y="4553074"/>
                  <a:pt x="1680281" y="4553074"/>
                  <a:pt x="1656864" y="4549707"/>
                </a:cubicBezTo>
                <a:lnTo>
                  <a:pt x="1609893" y="4530241"/>
                </a:lnTo>
                <a:lnTo>
                  <a:pt x="1600331" y="4531455"/>
                </a:lnTo>
                <a:cubicBezTo>
                  <a:pt x="1543050" y="4531455"/>
                  <a:pt x="1488495" y="4555362"/>
                  <a:pt x="1461218" y="4555362"/>
                </a:cubicBezTo>
                <a:lnTo>
                  <a:pt x="1428855" y="4544725"/>
                </a:lnTo>
                <a:lnTo>
                  <a:pt x="1443382" y="4555362"/>
                </a:lnTo>
                <a:lnTo>
                  <a:pt x="1352108" y="4555362"/>
                </a:lnTo>
                <a:lnTo>
                  <a:pt x="1347752" y="4555362"/>
                </a:lnTo>
                <a:lnTo>
                  <a:pt x="1322101" y="4555362"/>
                </a:lnTo>
                <a:cubicBezTo>
                  <a:pt x="1322101" y="4543408"/>
                  <a:pt x="1315283" y="4531455"/>
                  <a:pt x="1305055" y="4525476"/>
                </a:cubicBezTo>
                <a:lnTo>
                  <a:pt x="1294550" y="4527152"/>
                </a:lnTo>
                <a:lnTo>
                  <a:pt x="1300577" y="4539204"/>
                </a:lnTo>
                <a:lnTo>
                  <a:pt x="1294071" y="4534941"/>
                </a:lnTo>
                <a:cubicBezTo>
                  <a:pt x="1285319" y="4532024"/>
                  <a:pt x="1273650" y="4532024"/>
                  <a:pt x="1261981" y="4532024"/>
                </a:cubicBezTo>
                <a:lnTo>
                  <a:pt x="1266308" y="4531237"/>
                </a:lnTo>
                <a:lnTo>
                  <a:pt x="1250501" y="4528465"/>
                </a:lnTo>
                <a:cubicBezTo>
                  <a:pt x="1240273" y="4525476"/>
                  <a:pt x="1226632" y="4519501"/>
                  <a:pt x="1212995" y="4507547"/>
                </a:cubicBezTo>
                <a:cubicBezTo>
                  <a:pt x="1212995" y="4507547"/>
                  <a:pt x="1240273" y="4483640"/>
                  <a:pt x="1267550" y="4483640"/>
                </a:cubicBezTo>
                <a:cubicBezTo>
                  <a:pt x="1379386" y="4459732"/>
                  <a:pt x="1488495" y="4459732"/>
                  <a:pt x="1600331" y="4483640"/>
                </a:cubicBezTo>
                <a:lnTo>
                  <a:pt x="1741497" y="4480790"/>
                </a:lnTo>
                <a:lnTo>
                  <a:pt x="1789988" y="4472288"/>
                </a:lnTo>
                <a:lnTo>
                  <a:pt x="1794458" y="4473081"/>
                </a:lnTo>
                <a:lnTo>
                  <a:pt x="1875831" y="4459732"/>
                </a:lnTo>
                <a:lnTo>
                  <a:pt x="1912368" y="4462398"/>
                </a:lnTo>
                <a:lnTo>
                  <a:pt x="1874489" y="4441405"/>
                </a:lnTo>
                <a:cubicBezTo>
                  <a:pt x="1846881" y="4411943"/>
                  <a:pt x="1819272" y="4385163"/>
                  <a:pt x="1761291" y="4385163"/>
                </a:cubicBezTo>
                <a:cubicBezTo>
                  <a:pt x="1678465" y="4385163"/>
                  <a:pt x="1568029" y="4385163"/>
                  <a:pt x="1482438" y="4385163"/>
                </a:cubicBezTo>
                <a:cubicBezTo>
                  <a:pt x="1454830" y="4385163"/>
                  <a:pt x="1399610" y="4385163"/>
                  <a:pt x="1399610" y="4358381"/>
                </a:cubicBezTo>
                <a:cubicBezTo>
                  <a:pt x="1399610" y="4304815"/>
                  <a:pt x="1372001" y="4304815"/>
                  <a:pt x="1344393" y="4304815"/>
                </a:cubicBezTo>
                <a:cubicBezTo>
                  <a:pt x="1314023" y="4304815"/>
                  <a:pt x="1314023" y="4304815"/>
                  <a:pt x="1286411" y="4278036"/>
                </a:cubicBezTo>
                <a:cubicBezTo>
                  <a:pt x="1314023" y="4251253"/>
                  <a:pt x="1372001" y="4278036"/>
                  <a:pt x="1399610" y="4251253"/>
                </a:cubicBezTo>
                <a:cubicBezTo>
                  <a:pt x="1399610" y="4251253"/>
                  <a:pt x="1406514" y="4244556"/>
                  <a:pt x="1416866" y="4237862"/>
                </a:cubicBezTo>
                <a:lnTo>
                  <a:pt x="1442844" y="4228698"/>
                </a:lnTo>
                <a:lnTo>
                  <a:pt x="1454830" y="4224471"/>
                </a:lnTo>
                <a:cubicBezTo>
                  <a:pt x="1454830" y="4224471"/>
                  <a:pt x="1454830" y="4224471"/>
                  <a:pt x="1482438" y="4224471"/>
                </a:cubicBezTo>
                <a:lnTo>
                  <a:pt x="1495129" y="4219022"/>
                </a:lnTo>
                <a:lnTo>
                  <a:pt x="1498096" y="4194738"/>
                </a:lnTo>
                <a:cubicBezTo>
                  <a:pt x="1501491" y="4188037"/>
                  <a:pt x="1508281" y="4181652"/>
                  <a:pt x="1521861" y="4168891"/>
                </a:cubicBezTo>
                <a:cubicBezTo>
                  <a:pt x="1549018" y="4143364"/>
                  <a:pt x="1549018" y="4143364"/>
                  <a:pt x="1549018" y="4117838"/>
                </a:cubicBezTo>
                <a:lnTo>
                  <a:pt x="1552353" y="4117550"/>
                </a:lnTo>
                <a:lnTo>
                  <a:pt x="1532904" y="4107977"/>
                </a:lnTo>
                <a:lnTo>
                  <a:pt x="1505588" y="4107977"/>
                </a:lnTo>
                <a:lnTo>
                  <a:pt x="1502712" y="4099101"/>
                </a:lnTo>
                <a:lnTo>
                  <a:pt x="1454175" y="4092721"/>
                </a:lnTo>
                <a:cubicBezTo>
                  <a:pt x="1437030" y="4092721"/>
                  <a:pt x="1423314" y="4099483"/>
                  <a:pt x="1423314" y="4126517"/>
                </a:cubicBezTo>
                <a:lnTo>
                  <a:pt x="1395884" y="4126517"/>
                </a:lnTo>
                <a:cubicBezTo>
                  <a:pt x="1310849" y="4126517"/>
                  <a:pt x="1228557" y="4126517"/>
                  <a:pt x="1146263" y="4126517"/>
                </a:cubicBezTo>
                <a:cubicBezTo>
                  <a:pt x="1146263" y="4126517"/>
                  <a:pt x="1118832" y="4126517"/>
                  <a:pt x="1088658" y="4126517"/>
                </a:cubicBezTo>
                <a:cubicBezTo>
                  <a:pt x="1088658" y="4099483"/>
                  <a:pt x="1088658" y="4099483"/>
                  <a:pt x="1088658" y="4072444"/>
                </a:cubicBezTo>
                <a:lnTo>
                  <a:pt x="1088658" y="4045408"/>
                </a:lnTo>
                <a:cubicBezTo>
                  <a:pt x="1146263" y="4018372"/>
                  <a:pt x="1173693" y="4018372"/>
                  <a:pt x="1201124" y="4018372"/>
                </a:cubicBezTo>
                <a:lnTo>
                  <a:pt x="1201124" y="3991333"/>
                </a:lnTo>
                <a:lnTo>
                  <a:pt x="1201124" y="3961593"/>
                </a:lnTo>
                <a:cubicBezTo>
                  <a:pt x="1146263" y="3961593"/>
                  <a:pt x="1118832" y="3961593"/>
                  <a:pt x="1088658" y="3991333"/>
                </a:cubicBezTo>
                <a:cubicBezTo>
                  <a:pt x="1061228" y="3991333"/>
                  <a:pt x="1033797" y="3961593"/>
                  <a:pt x="1006367" y="3934558"/>
                </a:cubicBezTo>
                <a:cubicBezTo>
                  <a:pt x="1006367" y="3907523"/>
                  <a:pt x="978936" y="3853448"/>
                  <a:pt x="951506" y="3853448"/>
                </a:cubicBezTo>
                <a:lnTo>
                  <a:pt x="899620" y="3844708"/>
                </a:lnTo>
                <a:lnTo>
                  <a:pt x="784059" y="3844708"/>
                </a:lnTo>
                <a:cubicBezTo>
                  <a:pt x="784059" y="3821370"/>
                  <a:pt x="784059" y="3821370"/>
                  <a:pt x="784059" y="3821370"/>
                </a:cubicBezTo>
                <a:lnTo>
                  <a:pt x="787329" y="3821124"/>
                </a:lnTo>
                <a:lnTo>
                  <a:pt x="784176" y="3799377"/>
                </a:lnTo>
                <a:cubicBezTo>
                  <a:pt x="811606" y="3799377"/>
                  <a:pt x="811606" y="3772342"/>
                  <a:pt x="839041" y="3772342"/>
                </a:cubicBezTo>
                <a:lnTo>
                  <a:pt x="847371" y="3771549"/>
                </a:lnTo>
                <a:lnTo>
                  <a:pt x="871097" y="3748915"/>
                </a:lnTo>
                <a:lnTo>
                  <a:pt x="892150" y="3748915"/>
                </a:lnTo>
                <a:lnTo>
                  <a:pt x="896645" y="3742602"/>
                </a:lnTo>
                <a:cubicBezTo>
                  <a:pt x="896645" y="3715563"/>
                  <a:pt x="866471" y="3715563"/>
                  <a:pt x="866471" y="3688527"/>
                </a:cubicBezTo>
                <a:cubicBezTo>
                  <a:pt x="866471" y="3661492"/>
                  <a:pt x="839041" y="3634453"/>
                  <a:pt x="811606" y="3634453"/>
                </a:cubicBezTo>
                <a:cubicBezTo>
                  <a:pt x="784176" y="3634453"/>
                  <a:pt x="784176" y="3607418"/>
                  <a:pt x="784176" y="3607418"/>
                </a:cubicBezTo>
                <a:cubicBezTo>
                  <a:pt x="784176" y="3580383"/>
                  <a:pt x="784176" y="3580383"/>
                  <a:pt x="811606" y="3580383"/>
                </a:cubicBezTo>
                <a:cubicBezTo>
                  <a:pt x="866471" y="3580383"/>
                  <a:pt x="924076" y="3553347"/>
                  <a:pt x="978936" y="3553347"/>
                </a:cubicBezTo>
                <a:lnTo>
                  <a:pt x="982648" y="3556546"/>
                </a:lnTo>
                <a:lnTo>
                  <a:pt x="980175" y="3540724"/>
                </a:lnTo>
                <a:lnTo>
                  <a:pt x="1003890" y="3540724"/>
                </a:lnTo>
                <a:lnTo>
                  <a:pt x="1027605" y="3540724"/>
                </a:lnTo>
                <a:lnTo>
                  <a:pt x="1041370" y="3556532"/>
                </a:lnTo>
                <a:lnTo>
                  <a:pt x="1041370" y="3551756"/>
                </a:lnTo>
                <a:lnTo>
                  <a:pt x="1260458" y="3551756"/>
                </a:lnTo>
                <a:lnTo>
                  <a:pt x="1342464" y="3543717"/>
                </a:lnTo>
                <a:cubicBezTo>
                  <a:pt x="1369578" y="3543717"/>
                  <a:pt x="1369578" y="3543717"/>
                  <a:pt x="1369578" y="3543717"/>
                </a:cubicBezTo>
                <a:lnTo>
                  <a:pt x="1375724" y="3544112"/>
                </a:lnTo>
                <a:lnTo>
                  <a:pt x="1412560" y="3531190"/>
                </a:lnTo>
                <a:cubicBezTo>
                  <a:pt x="1422887" y="3524550"/>
                  <a:pt x="1429770" y="3517909"/>
                  <a:pt x="1429770" y="3517909"/>
                </a:cubicBezTo>
                <a:cubicBezTo>
                  <a:pt x="1457307" y="3517909"/>
                  <a:pt x="1457307" y="3488692"/>
                  <a:pt x="1457307" y="3488692"/>
                </a:cubicBezTo>
                <a:lnTo>
                  <a:pt x="1451054" y="3471803"/>
                </a:lnTo>
                <a:lnTo>
                  <a:pt x="1438645" y="3456209"/>
                </a:lnTo>
                <a:cubicBezTo>
                  <a:pt x="1428656" y="3453220"/>
                  <a:pt x="1415336" y="3453220"/>
                  <a:pt x="1402019" y="3453220"/>
                </a:cubicBezTo>
                <a:cubicBezTo>
                  <a:pt x="1348749" y="3453220"/>
                  <a:pt x="1266176" y="3429312"/>
                  <a:pt x="1212906" y="3429312"/>
                </a:cubicBezTo>
                <a:lnTo>
                  <a:pt x="1212906" y="3405405"/>
                </a:lnTo>
                <a:cubicBezTo>
                  <a:pt x="1266176" y="3381497"/>
                  <a:pt x="1292813" y="3405405"/>
                  <a:pt x="1348749" y="3405405"/>
                </a:cubicBezTo>
                <a:lnTo>
                  <a:pt x="1348759" y="3405405"/>
                </a:lnTo>
                <a:lnTo>
                  <a:pt x="1357485" y="3385765"/>
                </a:lnTo>
                <a:lnTo>
                  <a:pt x="1354300" y="3384743"/>
                </a:lnTo>
                <a:lnTo>
                  <a:pt x="1347685" y="3391359"/>
                </a:lnTo>
                <a:lnTo>
                  <a:pt x="1347685" y="3382615"/>
                </a:lnTo>
                <a:lnTo>
                  <a:pt x="1347158" y="3382444"/>
                </a:lnTo>
                <a:lnTo>
                  <a:pt x="1312945" y="3366853"/>
                </a:lnTo>
                <a:lnTo>
                  <a:pt x="1303443" y="3362523"/>
                </a:lnTo>
                <a:lnTo>
                  <a:pt x="1294393" y="3366853"/>
                </a:lnTo>
                <a:lnTo>
                  <a:pt x="1261792" y="3382444"/>
                </a:lnTo>
                <a:cubicBezTo>
                  <a:pt x="1234255" y="3382444"/>
                  <a:pt x="1206721" y="3382444"/>
                  <a:pt x="1151647" y="3355882"/>
                </a:cubicBezTo>
                <a:cubicBezTo>
                  <a:pt x="1151647" y="3355882"/>
                  <a:pt x="1151647" y="3355882"/>
                  <a:pt x="1151647" y="3329320"/>
                </a:cubicBezTo>
                <a:lnTo>
                  <a:pt x="1166604" y="3316430"/>
                </a:lnTo>
                <a:lnTo>
                  <a:pt x="1150170" y="3316430"/>
                </a:lnTo>
                <a:lnTo>
                  <a:pt x="1136690" y="3317256"/>
                </a:lnTo>
                <a:lnTo>
                  <a:pt x="1136690" y="3336765"/>
                </a:lnTo>
                <a:cubicBezTo>
                  <a:pt x="1136690" y="3339975"/>
                  <a:pt x="1136690" y="3339975"/>
                  <a:pt x="1136690" y="3339975"/>
                </a:cubicBezTo>
                <a:cubicBezTo>
                  <a:pt x="1052801" y="3391359"/>
                  <a:pt x="971620" y="3365668"/>
                  <a:pt x="890435" y="3365668"/>
                </a:cubicBezTo>
                <a:cubicBezTo>
                  <a:pt x="860670" y="3339975"/>
                  <a:pt x="806550" y="3339975"/>
                  <a:pt x="779486" y="3339975"/>
                </a:cubicBezTo>
                <a:lnTo>
                  <a:pt x="743682" y="3356971"/>
                </a:lnTo>
                <a:lnTo>
                  <a:pt x="778247" y="3356971"/>
                </a:lnTo>
                <a:cubicBezTo>
                  <a:pt x="778247" y="3380686"/>
                  <a:pt x="778247" y="3380686"/>
                  <a:pt x="804357" y="3380686"/>
                </a:cubicBezTo>
                <a:cubicBezTo>
                  <a:pt x="804357" y="3380686"/>
                  <a:pt x="830471" y="3404401"/>
                  <a:pt x="830471" y="3428116"/>
                </a:cubicBezTo>
                <a:cubicBezTo>
                  <a:pt x="804357" y="3428116"/>
                  <a:pt x="804357" y="3428116"/>
                  <a:pt x="778247" y="3428116"/>
                </a:cubicBezTo>
                <a:cubicBezTo>
                  <a:pt x="752134" y="3428116"/>
                  <a:pt x="726023" y="3428116"/>
                  <a:pt x="699910" y="3404401"/>
                </a:cubicBezTo>
                <a:cubicBezTo>
                  <a:pt x="673800" y="3404401"/>
                  <a:pt x="699910" y="3380686"/>
                  <a:pt x="699910" y="3356971"/>
                </a:cubicBezTo>
                <a:lnTo>
                  <a:pt x="734109" y="3356971"/>
                </a:lnTo>
                <a:lnTo>
                  <a:pt x="698305" y="3339975"/>
                </a:lnTo>
                <a:cubicBezTo>
                  <a:pt x="725365" y="3314284"/>
                  <a:pt x="752426" y="3314284"/>
                  <a:pt x="779486" y="3314284"/>
                </a:cubicBezTo>
                <a:cubicBezTo>
                  <a:pt x="833610" y="3314284"/>
                  <a:pt x="860670" y="3314284"/>
                  <a:pt x="917499" y="3286025"/>
                </a:cubicBezTo>
                <a:lnTo>
                  <a:pt x="927965" y="3288790"/>
                </a:lnTo>
                <a:lnTo>
                  <a:pt x="927211" y="3285520"/>
                </a:lnTo>
                <a:cubicBezTo>
                  <a:pt x="899727" y="3258459"/>
                  <a:pt x="927211" y="3231399"/>
                  <a:pt x="869496" y="3231399"/>
                </a:cubicBezTo>
                <a:cubicBezTo>
                  <a:pt x="842016" y="3231399"/>
                  <a:pt x="787051" y="3204335"/>
                  <a:pt x="759568" y="3204335"/>
                </a:cubicBezTo>
                <a:cubicBezTo>
                  <a:pt x="759568" y="3177275"/>
                  <a:pt x="787051" y="3177275"/>
                  <a:pt x="814532" y="3177275"/>
                </a:cubicBezTo>
                <a:cubicBezTo>
                  <a:pt x="814532" y="3150214"/>
                  <a:pt x="842016" y="3150214"/>
                  <a:pt x="814532" y="3123154"/>
                </a:cubicBezTo>
                <a:cubicBezTo>
                  <a:pt x="787051" y="3096090"/>
                  <a:pt x="842016" y="3066326"/>
                  <a:pt x="869496" y="3066326"/>
                </a:cubicBezTo>
                <a:cubicBezTo>
                  <a:pt x="927211" y="3039262"/>
                  <a:pt x="954691" y="3039262"/>
                  <a:pt x="1009655" y="3039262"/>
                </a:cubicBezTo>
                <a:cubicBezTo>
                  <a:pt x="1064619" y="3039262"/>
                  <a:pt x="1092103" y="3012201"/>
                  <a:pt x="1149814" y="3012201"/>
                </a:cubicBezTo>
                <a:cubicBezTo>
                  <a:pt x="1149814" y="3012201"/>
                  <a:pt x="1177298" y="2985141"/>
                  <a:pt x="1177298" y="2958080"/>
                </a:cubicBezTo>
                <a:cubicBezTo>
                  <a:pt x="1149814" y="2958080"/>
                  <a:pt x="1149814" y="2931020"/>
                  <a:pt x="1122334" y="2931020"/>
                </a:cubicBezTo>
                <a:cubicBezTo>
                  <a:pt x="1092103" y="2931020"/>
                  <a:pt x="1064619" y="2958080"/>
                  <a:pt x="1037139" y="2958080"/>
                </a:cubicBezTo>
                <a:cubicBezTo>
                  <a:pt x="1009655" y="2958080"/>
                  <a:pt x="1009655" y="2958080"/>
                  <a:pt x="982175" y="2931020"/>
                </a:cubicBezTo>
                <a:cubicBezTo>
                  <a:pt x="1009655" y="2903956"/>
                  <a:pt x="1064619" y="2903956"/>
                  <a:pt x="1122334" y="2903956"/>
                </a:cubicBezTo>
                <a:lnTo>
                  <a:pt x="1131533" y="2903956"/>
                </a:lnTo>
                <a:lnTo>
                  <a:pt x="1127142" y="2900045"/>
                </a:lnTo>
                <a:cubicBezTo>
                  <a:pt x="1127142" y="2873298"/>
                  <a:pt x="1127142" y="2873298"/>
                  <a:pt x="1127142" y="2873298"/>
                </a:cubicBezTo>
                <a:lnTo>
                  <a:pt x="1150839" y="2862102"/>
                </a:lnTo>
                <a:lnTo>
                  <a:pt x="1115291" y="2862102"/>
                </a:lnTo>
                <a:cubicBezTo>
                  <a:pt x="1115291" y="2832515"/>
                  <a:pt x="1085284" y="2832515"/>
                  <a:pt x="1030730" y="2832515"/>
                </a:cubicBezTo>
                <a:cubicBezTo>
                  <a:pt x="976175" y="2832515"/>
                  <a:pt x="948897" y="2805622"/>
                  <a:pt x="894343" y="2751829"/>
                </a:cubicBezTo>
                <a:lnTo>
                  <a:pt x="925986" y="2760928"/>
                </a:lnTo>
                <a:lnTo>
                  <a:pt x="893613" y="2748455"/>
                </a:lnTo>
                <a:cubicBezTo>
                  <a:pt x="893613" y="2748455"/>
                  <a:pt x="863439" y="2774882"/>
                  <a:pt x="836008" y="2748455"/>
                </a:cubicBezTo>
                <a:cubicBezTo>
                  <a:pt x="836008" y="2748455"/>
                  <a:pt x="836008" y="2748455"/>
                  <a:pt x="808578" y="2748455"/>
                </a:cubicBezTo>
                <a:lnTo>
                  <a:pt x="836008" y="2722028"/>
                </a:lnTo>
                <a:cubicBezTo>
                  <a:pt x="863439" y="2722028"/>
                  <a:pt x="893613" y="2722028"/>
                  <a:pt x="893613" y="2722028"/>
                </a:cubicBezTo>
                <a:cubicBezTo>
                  <a:pt x="907328" y="2695598"/>
                  <a:pt x="922759" y="2677431"/>
                  <a:pt x="939517" y="2665043"/>
                </a:cubicBezTo>
                <a:lnTo>
                  <a:pt x="947171" y="2661876"/>
                </a:lnTo>
                <a:lnTo>
                  <a:pt x="893841" y="2613271"/>
                </a:lnTo>
                <a:cubicBezTo>
                  <a:pt x="836037" y="2613271"/>
                  <a:pt x="780984" y="2613271"/>
                  <a:pt x="753458" y="2639833"/>
                </a:cubicBezTo>
                <a:cubicBezTo>
                  <a:pt x="753458" y="2639833"/>
                  <a:pt x="753458" y="2639833"/>
                  <a:pt x="725934" y="2639833"/>
                </a:cubicBezTo>
                <a:cubicBezTo>
                  <a:pt x="698408" y="2584054"/>
                  <a:pt x="725934" y="2530930"/>
                  <a:pt x="753458" y="2477806"/>
                </a:cubicBezTo>
                <a:lnTo>
                  <a:pt x="761706" y="2471290"/>
                </a:lnTo>
                <a:lnTo>
                  <a:pt x="751753" y="2472411"/>
                </a:lnTo>
                <a:lnTo>
                  <a:pt x="699159" y="2395966"/>
                </a:lnTo>
                <a:lnTo>
                  <a:pt x="698383" y="2395337"/>
                </a:lnTo>
                <a:lnTo>
                  <a:pt x="698501" y="2395009"/>
                </a:lnTo>
                <a:lnTo>
                  <a:pt x="698258" y="2394653"/>
                </a:lnTo>
                <a:lnTo>
                  <a:pt x="698625" y="2394653"/>
                </a:lnTo>
                <a:lnTo>
                  <a:pt x="718362" y="2338497"/>
                </a:lnTo>
                <a:cubicBezTo>
                  <a:pt x="731678" y="2328540"/>
                  <a:pt x="751657" y="2328540"/>
                  <a:pt x="778290" y="2341387"/>
                </a:cubicBezTo>
                <a:cubicBezTo>
                  <a:pt x="804927" y="2341387"/>
                  <a:pt x="858197" y="2341387"/>
                  <a:pt x="914133" y="2341387"/>
                </a:cubicBezTo>
                <a:lnTo>
                  <a:pt x="914919" y="2344415"/>
                </a:lnTo>
                <a:lnTo>
                  <a:pt x="914919" y="2340223"/>
                </a:lnTo>
                <a:lnTo>
                  <a:pt x="924186" y="2340223"/>
                </a:lnTo>
                <a:lnTo>
                  <a:pt x="922752" y="2330401"/>
                </a:lnTo>
                <a:cubicBezTo>
                  <a:pt x="922752" y="2330401"/>
                  <a:pt x="950097" y="2276836"/>
                  <a:pt x="922752" y="2276836"/>
                </a:cubicBezTo>
                <a:cubicBezTo>
                  <a:pt x="837980" y="2303618"/>
                  <a:pt x="783286" y="2250056"/>
                  <a:pt x="701248" y="2250056"/>
                </a:cubicBezTo>
                <a:cubicBezTo>
                  <a:pt x="701248" y="2223274"/>
                  <a:pt x="673903" y="2223274"/>
                  <a:pt x="673903" y="2196491"/>
                </a:cubicBezTo>
                <a:cubicBezTo>
                  <a:pt x="673903" y="2196491"/>
                  <a:pt x="673903" y="2169708"/>
                  <a:pt x="701248" y="2169708"/>
                </a:cubicBezTo>
                <a:cubicBezTo>
                  <a:pt x="728596" y="2142929"/>
                  <a:pt x="783286" y="2142929"/>
                  <a:pt x="810631" y="2142929"/>
                </a:cubicBezTo>
                <a:lnTo>
                  <a:pt x="814244" y="2144359"/>
                </a:lnTo>
                <a:lnTo>
                  <a:pt x="849304" y="2141491"/>
                </a:lnTo>
                <a:lnTo>
                  <a:pt x="889795" y="2119395"/>
                </a:lnTo>
                <a:lnTo>
                  <a:pt x="895407" y="2113466"/>
                </a:lnTo>
                <a:lnTo>
                  <a:pt x="922752" y="2113466"/>
                </a:lnTo>
                <a:cubicBezTo>
                  <a:pt x="950097" y="2086687"/>
                  <a:pt x="950097" y="2086687"/>
                  <a:pt x="950097" y="2086687"/>
                </a:cubicBezTo>
                <a:cubicBezTo>
                  <a:pt x="950097" y="2059905"/>
                  <a:pt x="922752" y="2059905"/>
                  <a:pt x="922752" y="2059905"/>
                </a:cubicBezTo>
                <a:cubicBezTo>
                  <a:pt x="865325" y="2059905"/>
                  <a:pt x="810631" y="2033122"/>
                  <a:pt x="755942" y="2006339"/>
                </a:cubicBezTo>
                <a:lnTo>
                  <a:pt x="761963" y="1988827"/>
                </a:lnTo>
                <a:lnTo>
                  <a:pt x="747461" y="1993371"/>
                </a:lnTo>
                <a:cubicBezTo>
                  <a:pt x="720116" y="2019061"/>
                  <a:pt x="692771" y="2019061"/>
                  <a:pt x="665426" y="2019061"/>
                </a:cubicBezTo>
                <a:lnTo>
                  <a:pt x="658376" y="2019061"/>
                </a:lnTo>
                <a:lnTo>
                  <a:pt x="638159" y="2028688"/>
                </a:lnTo>
                <a:cubicBezTo>
                  <a:pt x="631013" y="2035253"/>
                  <a:pt x="623526" y="2041816"/>
                  <a:pt x="608551" y="2041816"/>
                </a:cubicBezTo>
                <a:cubicBezTo>
                  <a:pt x="526868" y="2015560"/>
                  <a:pt x="472413" y="2041816"/>
                  <a:pt x="417958" y="2068072"/>
                </a:cubicBezTo>
                <a:cubicBezTo>
                  <a:pt x="390730" y="2068072"/>
                  <a:pt x="360780" y="2068072"/>
                  <a:pt x="360780" y="2041816"/>
                </a:cubicBezTo>
                <a:cubicBezTo>
                  <a:pt x="333553" y="2015560"/>
                  <a:pt x="306325" y="1989304"/>
                  <a:pt x="333553" y="1936795"/>
                </a:cubicBezTo>
                <a:cubicBezTo>
                  <a:pt x="333553" y="1923667"/>
                  <a:pt x="326745" y="1910539"/>
                  <a:pt x="323343" y="1897084"/>
                </a:cubicBezTo>
                <a:cubicBezTo>
                  <a:pt x="319941" y="1883625"/>
                  <a:pt x="319941" y="1869842"/>
                  <a:pt x="333553" y="1855401"/>
                </a:cubicBezTo>
                <a:cubicBezTo>
                  <a:pt x="360780" y="1829144"/>
                  <a:pt x="390730" y="1829144"/>
                  <a:pt x="417958" y="1829144"/>
                </a:cubicBezTo>
                <a:cubicBezTo>
                  <a:pt x="499641" y="1802892"/>
                  <a:pt x="581324" y="1802892"/>
                  <a:pt x="638501" y="1776636"/>
                </a:cubicBezTo>
                <a:lnTo>
                  <a:pt x="688490" y="1777657"/>
                </a:lnTo>
                <a:lnTo>
                  <a:pt x="649394" y="1768113"/>
                </a:lnTo>
                <a:cubicBezTo>
                  <a:pt x="731223" y="1768113"/>
                  <a:pt x="813055" y="1714679"/>
                  <a:pt x="897617" y="1741394"/>
                </a:cubicBezTo>
                <a:cubicBezTo>
                  <a:pt x="924894" y="1741394"/>
                  <a:pt x="952171" y="1741394"/>
                  <a:pt x="979449" y="1714679"/>
                </a:cubicBezTo>
                <a:cubicBezTo>
                  <a:pt x="1088558" y="1661245"/>
                  <a:pt x="1200394" y="1634530"/>
                  <a:pt x="1339507" y="1605142"/>
                </a:cubicBezTo>
                <a:lnTo>
                  <a:pt x="1340703" y="1610794"/>
                </a:lnTo>
                <a:lnTo>
                  <a:pt x="1344393" y="1603961"/>
                </a:lnTo>
                <a:cubicBezTo>
                  <a:pt x="1371951" y="1603961"/>
                  <a:pt x="1399506" y="1576477"/>
                  <a:pt x="1427065" y="1548993"/>
                </a:cubicBezTo>
                <a:cubicBezTo>
                  <a:pt x="1454620" y="1521513"/>
                  <a:pt x="1482179" y="1494029"/>
                  <a:pt x="1537288" y="1466545"/>
                </a:cubicBezTo>
                <a:lnTo>
                  <a:pt x="1565723" y="1453026"/>
                </a:lnTo>
                <a:lnTo>
                  <a:pt x="1543811" y="1455439"/>
                </a:lnTo>
                <a:cubicBezTo>
                  <a:pt x="1601245" y="1401645"/>
                  <a:pt x="1683295" y="1372062"/>
                  <a:pt x="1737992" y="1318269"/>
                </a:cubicBezTo>
                <a:lnTo>
                  <a:pt x="1765340" y="1318269"/>
                </a:lnTo>
                <a:cubicBezTo>
                  <a:pt x="1877471" y="1318269"/>
                  <a:pt x="1959520" y="1237582"/>
                  <a:pt x="2071652" y="1237582"/>
                </a:cubicBezTo>
                <a:lnTo>
                  <a:pt x="2074192" y="1238622"/>
                </a:lnTo>
                <a:lnTo>
                  <a:pt x="2074630" y="1236042"/>
                </a:lnTo>
                <a:cubicBezTo>
                  <a:pt x="2102299" y="1209003"/>
                  <a:pt x="2129964" y="1209003"/>
                  <a:pt x="2157633" y="1209003"/>
                </a:cubicBezTo>
                <a:lnTo>
                  <a:pt x="2172800" y="1197145"/>
                </a:lnTo>
                <a:lnTo>
                  <a:pt x="2174925" y="1195487"/>
                </a:lnTo>
                <a:cubicBezTo>
                  <a:pt x="2185302" y="1195487"/>
                  <a:pt x="2199135" y="1195487"/>
                  <a:pt x="2213021" y="1181967"/>
                </a:cubicBezTo>
                <a:cubicBezTo>
                  <a:pt x="2213021" y="1181967"/>
                  <a:pt x="2243462" y="1181967"/>
                  <a:pt x="2271131" y="1181967"/>
                </a:cubicBezTo>
                <a:lnTo>
                  <a:pt x="2292981" y="1176003"/>
                </a:lnTo>
                <a:lnTo>
                  <a:pt x="2281494" y="1172643"/>
                </a:lnTo>
                <a:lnTo>
                  <a:pt x="2275586" y="1173629"/>
                </a:lnTo>
                <a:cubicBezTo>
                  <a:pt x="2248045" y="1173629"/>
                  <a:pt x="2248045" y="1173629"/>
                  <a:pt x="2217750" y="1173629"/>
                </a:cubicBezTo>
                <a:cubicBezTo>
                  <a:pt x="2217750" y="1173629"/>
                  <a:pt x="2248045" y="1143811"/>
                  <a:pt x="2275586" y="1143811"/>
                </a:cubicBezTo>
                <a:cubicBezTo>
                  <a:pt x="2471126" y="1062488"/>
                  <a:pt x="2663911" y="1008275"/>
                  <a:pt x="2886988" y="981164"/>
                </a:cubicBezTo>
                <a:cubicBezTo>
                  <a:pt x="2999905" y="954058"/>
                  <a:pt x="3110068" y="924240"/>
                  <a:pt x="3222985" y="897133"/>
                </a:cubicBezTo>
                <a:cubicBezTo>
                  <a:pt x="3250526" y="897133"/>
                  <a:pt x="3278067" y="897133"/>
                  <a:pt x="3305608" y="870026"/>
                </a:cubicBezTo>
                <a:cubicBezTo>
                  <a:pt x="3278067" y="924240"/>
                  <a:pt x="3250526" y="924240"/>
                  <a:pt x="3222985" y="954058"/>
                </a:cubicBezTo>
                <a:cubicBezTo>
                  <a:pt x="3195445" y="954058"/>
                  <a:pt x="3137609" y="954058"/>
                  <a:pt x="3082527" y="954058"/>
                </a:cubicBezTo>
                <a:cubicBezTo>
                  <a:pt x="3082527" y="981164"/>
                  <a:pt x="3082527" y="981164"/>
                  <a:pt x="3054987" y="981164"/>
                </a:cubicBezTo>
                <a:lnTo>
                  <a:pt x="3039712" y="996118"/>
                </a:lnTo>
                <a:lnTo>
                  <a:pt x="3057375" y="992453"/>
                </a:lnTo>
                <a:cubicBezTo>
                  <a:pt x="3070890" y="1005506"/>
                  <a:pt x="3098595" y="1012036"/>
                  <a:pt x="3126303" y="1021826"/>
                </a:cubicBezTo>
                <a:lnTo>
                  <a:pt x="3193139" y="1069302"/>
                </a:lnTo>
                <a:lnTo>
                  <a:pt x="3201448" y="1068971"/>
                </a:lnTo>
                <a:cubicBezTo>
                  <a:pt x="3228569" y="1068971"/>
                  <a:pt x="3255686" y="1068971"/>
                  <a:pt x="3282807" y="1043445"/>
                </a:cubicBezTo>
                <a:cubicBezTo>
                  <a:pt x="3309924" y="1017919"/>
                  <a:pt x="3337042" y="1017919"/>
                  <a:pt x="3364162" y="1017919"/>
                </a:cubicBezTo>
                <a:lnTo>
                  <a:pt x="3432141" y="999784"/>
                </a:lnTo>
                <a:lnTo>
                  <a:pt x="3369483" y="1002090"/>
                </a:lnTo>
                <a:cubicBezTo>
                  <a:pt x="3423440" y="978752"/>
                  <a:pt x="3474827" y="955414"/>
                  <a:pt x="3526204" y="978752"/>
                </a:cubicBezTo>
                <a:lnTo>
                  <a:pt x="3464938" y="994919"/>
                </a:lnTo>
                <a:lnTo>
                  <a:pt x="3529581" y="992392"/>
                </a:lnTo>
                <a:cubicBezTo>
                  <a:pt x="3556694" y="992392"/>
                  <a:pt x="3556694" y="992392"/>
                  <a:pt x="3556694" y="992392"/>
                </a:cubicBezTo>
                <a:lnTo>
                  <a:pt x="3585207" y="993492"/>
                </a:lnTo>
                <a:lnTo>
                  <a:pt x="3565698" y="980186"/>
                </a:lnTo>
                <a:cubicBezTo>
                  <a:pt x="3706758" y="953268"/>
                  <a:pt x="3845049" y="953268"/>
                  <a:pt x="3958446" y="923656"/>
                </a:cubicBezTo>
                <a:cubicBezTo>
                  <a:pt x="4013763" y="923656"/>
                  <a:pt x="4041421" y="923656"/>
                  <a:pt x="4096738" y="923656"/>
                </a:cubicBezTo>
                <a:cubicBezTo>
                  <a:pt x="4210136" y="896738"/>
                  <a:pt x="4320768" y="896738"/>
                  <a:pt x="4434166" y="896738"/>
                </a:cubicBezTo>
                <a:cubicBezTo>
                  <a:pt x="4489486" y="896738"/>
                  <a:pt x="4544799" y="869820"/>
                  <a:pt x="4602884" y="869820"/>
                </a:cubicBezTo>
                <a:cubicBezTo>
                  <a:pt x="4685855" y="842898"/>
                  <a:pt x="4741174" y="815980"/>
                  <a:pt x="4826914" y="842898"/>
                </a:cubicBezTo>
                <a:cubicBezTo>
                  <a:pt x="4854572" y="842898"/>
                  <a:pt x="4909889" y="842898"/>
                  <a:pt x="4965205" y="815980"/>
                </a:cubicBezTo>
                <a:cubicBezTo>
                  <a:pt x="5020522" y="815980"/>
                  <a:pt x="5078607" y="815980"/>
                  <a:pt x="5106268" y="815980"/>
                </a:cubicBezTo>
                <a:cubicBezTo>
                  <a:pt x="5189257" y="842898"/>
                  <a:pt x="5274997" y="815980"/>
                  <a:pt x="5357975" y="789062"/>
                </a:cubicBezTo>
                <a:lnTo>
                  <a:pt x="5387967" y="789447"/>
                </a:lnTo>
                <a:lnTo>
                  <a:pt x="5390594" y="771084"/>
                </a:lnTo>
                <a:cubicBezTo>
                  <a:pt x="5390594" y="771084"/>
                  <a:pt x="5390594" y="747177"/>
                  <a:pt x="5414490" y="747177"/>
                </a:cubicBezTo>
                <a:cubicBezTo>
                  <a:pt x="5414490" y="771084"/>
                  <a:pt x="5438416" y="771084"/>
                  <a:pt x="5438416" y="771084"/>
                </a:cubicBezTo>
                <a:cubicBezTo>
                  <a:pt x="5438416" y="783038"/>
                  <a:pt x="5438416" y="794991"/>
                  <a:pt x="5441401" y="803956"/>
                </a:cubicBezTo>
                <a:lnTo>
                  <a:pt x="5462248" y="818842"/>
                </a:lnTo>
                <a:lnTo>
                  <a:pt x="5468632" y="815980"/>
                </a:lnTo>
                <a:lnTo>
                  <a:pt x="5525443" y="806048"/>
                </a:lnTo>
                <a:lnTo>
                  <a:pt x="5476960" y="806048"/>
                </a:lnTo>
                <a:cubicBezTo>
                  <a:pt x="5505842" y="794909"/>
                  <a:pt x="5532080" y="794909"/>
                  <a:pt x="5558354" y="794909"/>
                </a:cubicBezTo>
                <a:cubicBezTo>
                  <a:pt x="5558354" y="794909"/>
                  <a:pt x="5584607" y="794909"/>
                  <a:pt x="5584607" y="806048"/>
                </a:cubicBezTo>
                <a:lnTo>
                  <a:pt x="5527251" y="806048"/>
                </a:lnTo>
                <a:lnTo>
                  <a:pt x="5582033" y="815980"/>
                </a:lnTo>
                <a:lnTo>
                  <a:pt x="5609695" y="815980"/>
                </a:lnTo>
                <a:cubicBezTo>
                  <a:pt x="5609695" y="789062"/>
                  <a:pt x="5609695" y="789062"/>
                  <a:pt x="5637347" y="789062"/>
                </a:cubicBezTo>
                <a:cubicBezTo>
                  <a:pt x="5637347" y="815980"/>
                  <a:pt x="5637347" y="815980"/>
                  <a:pt x="5637347" y="815980"/>
                </a:cubicBezTo>
                <a:lnTo>
                  <a:pt x="5664973" y="815980"/>
                </a:lnTo>
                <a:lnTo>
                  <a:pt x="5685421" y="803070"/>
                </a:lnTo>
                <a:lnTo>
                  <a:pt x="5687090" y="745152"/>
                </a:lnTo>
                <a:cubicBezTo>
                  <a:pt x="5692375" y="700714"/>
                  <a:pt x="5713538" y="700714"/>
                  <a:pt x="5798260" y="700714"/>
                </a:cubicBezTo>
                <a:cubicBezTo>
                  <a:pt x="5880893" y="700714"/>
                  <a:pt x="5966145" y="675024"/>
                  <a:pt x="6076262" y="675024"/>
                </a:cubicBezTo>
                <a:cubicBezTo>
                  <a:pt x="6103766" y="675024"/>
                  <a:pt x="6131322" y="649334"/>
                  <a:pt x="6186467" y="675024"/>
                </a:cubicBezTo>
                <a:cubicBezTo>
                  <a:pt x="6216773" y="700714"/>
                  <a:pt x="6244332" y="728974"/>
                  <a:pt x="6299463" y="700714"/>
                </a:cubicBezTo>
                <a:cubicBezTo>
                  <a:pt x="6382135" y="675024"/>
                  <a:pt x="6467469" y="700714"/>
                  <a:pt x="6522518" y="728974"/>
                </a:cubicBezTo>
                <a:cubicBezTo>
                  <a:pt x="6550152" y="728974"/>
                  <a:pt x="6577757" y="728974"/>
                  <a:pt x="6605287" y="728974"/>
                </a:cubicBezTo>
                <a:cubicBezTo>
                  <a:pt x="6687702" y="700714"/>
                  <a:pt x="6773108" y="700714"/>
                  <a:pt x="6855808" y="700714"/>
                </a:cubicBezTo>
                <a:cubicBezTo>
                  <a:pt x="6910947" y="700714"/>
                  <a:pt x="6938662" y="728974"/>
                  <a:pt x="6938662" y="780358"/>
                </a:cubicBezTo>
                <a:cubicBezTo>
                  <a:pt x="6953761" y="780358"/>
                  <a:pt x="6961281" y="780358"/>
                  <a:pt x="6961281" y="783568"/>
                </a:cubicBezTo>
                <a:lnTo>
                  <a:pt x="6954583" y="790237"/>
                </a:lnTo>
                <a:lnTo>
                  <a:pt x="7086447" y="790237"/>
                </a:lnTo>
                <a:cubicBezTo>
                  <a:pt x="7113799" y="790237"/>
                  <a:pt x="7141098" y="790237"/>
                  <a:pt x="7168439" y="764547"/>
                </a:cubicBezTo>
                <a:cubicBezTo>
                  <a:pt x="7198485" y="738856"/>
                  <a:pt x="7198485" y="710597"/>
                  <a:pt x="7225823" y="710597"/>
                </a:cubicBezTo>
                <a:cubicBezTo>
                  <a:pt x="7225823" y="738856"/>
                  <a:pt x="7225823" y="738856"/>
                  <a:pt x="7253157" y="764547"/>
                </a:cubicBezTo>
                <a:cubicBezTo>
                  <a:pt x="7280488" y="790237"/>
                  <a:pt x="7307830" y="790237"/>
                  <a:pt x="7335161" y="790237"/>
                </a:cubicBezTo>
                <a:cubicBezTo>
                  <a:pt x="7447231" y="790237"/>
                  <a:pt x="7556571" y="790237"/>
                  <a:pt x="7695979" y="790237"/>
                </a:cubicBezTo>
                <a:cubicBezTo>
                  <a:pt x="7723307" y="790237"/>
                  <a:pt x="7777986" y="790237"/>
                  <a:pt x="7750648" y="815927"/>
                </a:cubicBezTo>
                <a:cubicBezTo>
                  <a:pt x="7750648" y="841621"/>
                  <a:pt x="7723307" y="815927"/>
                  <a:pt x="7695979" y="815927"/>
                </a:cubicBezTo>
                <a:cubicBezTo>
                  <a:pt x="7641307" y="815927"/>
                  <a:pt x="7583910" y="815927"/>
                  <a:pt x="7556571" y="815927"/>
                </a:cubicBezTo>
                <a:cubicBezTo>
                  <a:pt x="7474569" y="815927"/>
                  <a:pt x="7389833" y="815927"/>
                  <a:pt x="7335161" y="867311"/>
                </a:cubicBezTo>
                <a:cubicBezTo>
                  <a:pt x="7307830" y="867311"/>
                  <a:pt x="7280488" y="867311"/>
                  <a:pt x="7253157" y="867311"/>
                </a:cubicBezTo>
                <a:cubicBezTo>
                  <a:pt x="7168439" y="815927"/>
                  <a:pt x="7086447" y="815927"/>
                  <a:pt x="7004476" y="815927"/>
                </a:cubicBezTo>
                <a:cubicBezTo>
                  <a:pt x="7004476" y="815927"/>
                  <a:pt x="6977148" y="815927"/>
                  <a:pt x="6947142" y="815927"/>
                </a:cubicBezTo>
                <a:lnTo>
                  <a:pt x="6947142" y="797596"/>
                </a:lnTo>
                <a:lnTo>
                  <a:pt x="6938662" y="806048"/>
                </a:lnTo>
                <a:cubicBezTo>
                  <a:pt x="6910947" y="806048"/>
                  <a:pt x="6855808" y="806048"/>
                  <a:pt x="6800744" y="806048"/>
                </a:cubicBezTo>
                <a:lnTo>
                  <a:pt x="6767624" y="792646"/>
                </a:lnTo>
                <a:lnTo>
                  <a:pt x="6784901" y="815980"/>
                </a:lnTo>
                <a:cubicBezTo>
                  <a:pt x="6671510" y="815980"/>
                  <a:pt x="6533301" y="842898"/>
                  <a:pt x="6392352" y="842898"/>
                </a:cubicBezTo>
                <a:lnTo>
                  <a:pt x="6391242" y="842817"/>
                </a:lnTo>
                <a:lnTo>
                  <a:pt x="6396228" y="849575"/>
                </a:lnTo>
                <a:cubicBezTo>
                  <a:pt x="6423729" y="876137"/>
                  <a:pt x="6454230" y="902699"/>
                  <a:pt x="6396228" y="929261"/>
                </a:cubicBezTo>
                <a:lnTo>
                  <a:pt x="6368516" y="929261"/>
                </a:lnTo>
                <a:cubicBezTo>
                  <a:pt x="6368516" y="958478"/>
                  <a:pt x="6340957" y="985040"/>
                  <a:pt x="6313285" y="985040"/>
                </a:cubicBezTo>
                <a:cubicBezTo>
                  <a:pt x="6285623" y="985040"/>
                  <a:pt x="6285623" y="985040"/>
                  <a:pt x="6257961" y="958478"/>
                </a:cubicBezTo>
                <a:cubicBezTo>
                  <a:pt x="6257961" y="958478"/>
                  <a:pt x="6257961" y="958478"/>
                  <a:pt x="6230289" y="958478"/>
                </a:cubicBezTo>
                <a:cubicBezTo>
                  <a:pt x="6144550" y="958478"/>
                  <a:pt x="6033974" y="929261"/>
                  <a:pt x="5951191" y="985040"/>
                </a:cubicBezTo>
                <a:cubicBezTo>
                  <a:pt x="5920846" y="1011602"/>
                  <a:pt x="5865534" y="1011602"/>
                  <a:pt x="5810253" y="985040"/>
                </a:cubicBezTo>
                <a:cubicBezTo>
                  <a:pt x="5754944" y="958478"/>
                  <a:pt x="5696901" y="985040"/>
                  <a:pt x="5641574" y="1011602"/>
                </a:cubicBezTo>
                <a:cubicBezTo>
                  <a:pt x="5613933" y="1011602"/>
                  <a:pt x="5613933" y="1038164"/>
                  <a:pt x="5586286" y="1064726"/>
                </a:cubicBezTo>
                <a:lnTo>
                  <a:pt x="5584568" y="1077979"/>
                </a:lnTo>
                <a:lnTo>
                  <a:pt x="5590763" y="1077979"/>
                </a:lnTo>
                <a:cubicBezTo>
                  <a:pt x="5729079" y="1077979"/>
                  <a:pt x="5891765" y="1077979"/>
                  <a:pt x="6029856" y="1077979"/>
                </a:cubicBezTo>
                <a:cubicBezTo>
                  <a:pt x="6056977" y="1077979"/>
                  <a:pt x="6084112" y="1077979"/>
                  <a:pt x="6111144" y="1077979"/>
                </a:cubicBezTo>
                <a:lnTo>
                  <a:pt x="6111144" y="1101694"/>
                </a:lnTo>
                <a:cubicBezTo>
                  <a:pt x="6056977" y="1125409"/>
                  <a:pt x="6002664" y="1125409"/>
                  <a:pt x="5948661" y="1125409"/>
                </a:cubicBezTo>
                <a:cubicBezTo>
                  <a:pt x="5891765" y="1125409"/>
                  <a:pt x="5864644" y="1149124"/>
                  <a:pt x="5810427" y="1149124"/>
                </a:cubicBezTo>
                <a:lnTo>
                  <a:pt x="5805413" y="1149124"/>
                </a:lnTo>
                <a:lnTo>
                  <a:pt x="5734268" y="1149124"/>
                </a:lnTo>
                <a:lnTo>
                  <a:pt x="5729079" y="1149124"/>
                </a:lnTo>
                <a:lnTo>
                  <a:pt x="5699254" y="1149124"/>
                </a:lnTo>
                <a:cubicBezTo>
                  <a:pt x="5644987" y="1125409"/>
                  <a:pt x="5590763" y="1125409"/>
                  <a:pt x="5536539" y="1125409"/>
                </a:cubicBezTo>
                <a:lnTo>
                  <a:pt x="5509742" y="1117850"/>
                </a:lnTo>
                <a:lnTo>
                  <a:pt x="5501305" y="1117850"/>
                </a:lnTo>
                <a:lnTo>
                  <a:pt x="5523109" y="1124708"/>
                </a:lnTo>
                <a:cubicBezTo>
                  <a:pt x="5495507" y="1124708"/>
                  <a:pt x="5465134" y="1124708"/>
                  <a:pt x="5437526" y="1124708"/>
                </a:cubicBezTo>
                <a:cubicBezTo>
                  <a:pt x="5409907" y="1151629"/>
                  <a:pt x="5354683" y="1124708"/>
                  <a:pt x="5327082" y="1124708"/>
                </a:cubicBezTo>
                <a:cubicBezTo>
                  <a:pt x="5186274" y="1151629"/>
                  <a:pt x="5048225" y="1151629"/>
                  <a:pt x="4907426" y="1181238"/>
                </a:cubicBezTo>
                <a:cubicBezTo>
                  <a:pt x="4794234" y="1181238"/>
                  <a:pt x="4711413" y="1208156"/>
                  <a:pt x="4600980" y="1208156"/>
                </a:cubicBezTo>
                <a:cubicBezTo>
                  <a:pt x="4515397" y="1208156"/>
                  <a:pt x="4432575" y="1235077"/>
                  <a:pt x="4319383" y="1235077"/>
                </a:cubicBezTo>
                <a:cubicBezTo>
                  <a:pt x="4264167" y="1235077"/>
                  <a:pt x="4181346" y="1235077"/>
                  <a:pt x="4123367" y="1288913"/>
                </a:cubicBezTo>
                <a:cubicBezTo>
                  <a:pt x="4095762" y="1315831"/>
                  <a:pt x="4040545" y="1288913"/>
                  <a:pt x="4012937" y="1315831"/>
                </a:cubicBezTo>
                <a:cubicBezTo>
                  <a:pt x="3985329" y="1315831"/>
                  <a:pt x="3985329" y="1315831"/>
                  <a:pt x="3985329" y="1342753"/>
                </a:cubicBezTo>
                <a:cubicBezTo>
                  <a:pt x="3957724" y="1342753"/>
                  <a:pt x="3957724" y="1342753"/>
                  <a:pt x="3957724" y="1342753"/>
                </a:cubicBezTo>
                <a:lnTo>
                  <a:pt x="3944820" y="1342753"/>
                </a:lnTo>
                <a:lnTo>
                  <a:pt x="3955276" y="1345165"/>
                </a:lnTo>
                <a:cubicBezTo>
                  <a:pt x="3932304" y="1345165"/>
                  <a:pt x="3907034" y="1345165"/>
                  <a:pt x="3884063" y="1345165"/>
                </a:cubicBezTo>
                <a:lnTo>
                  <a:pt x="3891191" y="1341710"/>
                </a:lnTo>
                <a:lnTo>
                  <a:pt x="3882266" y="1340621"/>
                </a:lnTo>
                <a:lnTo>
                  <a:pt x="3880785" y="1342991"/>
                </a:lnTo>
                <a:cubicBezTo>
                  <a:pt x="3874315" y="1345955"/>
                  <a:pt x="3867846" y="1345955"/>
                  <a:pt x="3867846" y="1345955"/>
                </a:cubicBezTo>
                <a:lnTo>
                  <a:pt x="3841960" y="1345955"/>
                </a:lnTo>
                <a:cubicBezTo>
                  <a:pt x="3829016" y="1357813"/>
                  <a:pt x="3816074" y="1357813"/>
                  <a:pt x="3799900" y="1357813"/>
                </a:cubicBezTo>
                <a:lnTo>
                  <a:pt x="3796173" y="1358532"/>
                </a:lnTo>
                <a:lnTo>
                  <a:pt x="3832665" y="1358532"/>
                </a:lnTo>
                <a:lnTo>
                  <a:pt x="3740534" y="1369265"/>
                </a:lnTo>
                <a:lnTo>
                  <a:pt x="3738423" y="1369671"/>
                </a:lnTo>
                <a:lnTo>
                  <a:pt x="3738341" y="1369518"/>
                </a:lnTo>
                <a:lnTo>
                  <a:pt x="3737039" y="1369671"/>
                </a:lnTo>
                <a:lnTo>
                  <a:pt x="3737039" y="1367137"/>
                </a:lnTo>
                <a:lnTo>
                  <a:pt x="3734256" y="1362034"/>
                </a:lnTo>
                <a:lnTo>
                  <a:pt x="3734256" y="1369671"/>
                </a:lnTo>
                <a:lnTo>
                  <a:pt x="3728832" y="1369671"/>
                </a:lnTo>
                <a:lnTo>
                  <a:pt x="3731132" y="1370784"/>
                </a:lnTo>
                <a:cubicBezTo>
                  <a:pt x="3734413" y="1376354"/>
                  <a:pt x="3734413" y="1381923"/>
                  <a:pt x="3734413" y="1381923"/>
                </a:cubicBezTo>
                <a:cubicBezTo>
                  <a:pt x="3708157" y="1406428"/>
                  <a:pt x="3681904" y="1406428"/>
                  <a:pt x="3626769" y="1406428"/>
                </a:cubicBezTo>
                <a:lnTo>
                  <a:pt x="3629413" y="1399962"/>
                </a:lnTo>
                <a:lnTo>
                  <a:pt x="3618577" y="1407193"/>
                </a:lnTo>
                <a:lnTo>
                  <a:pt x="3676124" y="1424507"/>
                </a:lnTo>
                <a:cubicBezTo>
                  <a:pt x="3693480" y="1424507"/>
                  <a:pt x="3707096" y="1417784"/>
                  <a:pt x="3720708" y="1404336"/>
                </a:cubicBezTo>
                <a:cubicBezTo>
                  <a:pt x="3775159" y="1404336"/>
                  <a:pt x="3802387" y="1404336"/>
                  <a:pt x="3856839" y="1404336"/>
                </a:cubicBezTo>
                <a:lnTo>
                  <a:pt x="3835892" y="1418129"/>
                </a:lnTo>
                <a:lnTo>
                  <a:pt x="3869062" y="1407254"/>
                </a:lnTo>
                <a:cubicBezTo>
                  <a:pt x="3883508" y="1399813"/>
                  <a:pt x="3899501" y="1397784"/>
                  <a:pt x="3916219" y="1398503"/>
                </a:cubicBezTo>
                <a:lnTo>
                  <a:pt x="3943870" y="1402653"/>
                </a:lnTo>
                <a:lnTo>
                  <a:pt x="3975635" y="1399468"/>
                </a:lnTo>
                <a:lnTo>
                  <a:pt x="4059386" y="1408051"/>
                </a:lnTo>
                <a:lnTo>
                  <a:pt x="4064400" y="1407254"/>
                </a:lnTo>
                <a:lnTo>
                  <a:pt x="4085542" y="1401873"/>
                </a:lnTo>
                <a:lnTo>
                  <a:pt x="4120268" y="1372831"/>
                </a:lnTo>
                <a:cubicBezTo>
                  <a:pt x="4133880" y="1363927"/>
                  <a:pt x="4147826" y="1358183"/>
                  <a:pt x="4162431" y="1358183"/>
                </a:cubicBezTo>
                <a:cubicBezTo>
                  <a:pt x="4215552" y="1358183"/>
                  <a:pt x="4262032" y="1352439"/>
                  <a:pt x="4308847" y="1349568"/>
                </a:cubicBezTo>
                <a:lnTo>
                  <a:pt x="4374263" y="1353365"/>
                </a:lnTo>
                <a:lnTo>
                  <a:pt x="4455066" y="1350429"/>
                </a:lnTo>
                <a:cubicBezTo>
                  <a:pt x="4482578" y="1350429"/>
                  <a:pt x="4510091" y="1350429"/>
                  <a:pt x="4537600" y="1350429"/>
                </a:cubicBezTo>
                <a:lnTo>
                  <a:pt x="4570300" y="1350429"/>
                </a:lnTo>
                <a:lnTo>
                  <a:pt x="4691861" y="1321899"/>
                </a:lnTo>
                <a:cubicBezTo>
                  <a:pt x="4744466" y="1315109"/>
                  <a:pt x="4800534" y="1315109"/>
                  <a:pt x="4857291" y="1328689"/>
                </a:cubicBezTo>
                <a:lnTo>
                  <a:pt x="4875636" y="1328689"/>
                </a:lnTo>
                <a:lnTo>
                  <a:pt x="4864220" y="1321856"/>
                </a:lnTo>
                <a:cubicBezTo>
                  <a:pt x="4917490" y="1297949"/>
                  <a:pt x="4944123" y="1297949"/>
                  <a:pt x="4997394" y="1297949"/>
                </a:cubicBezTo>
                <a:lnTo>
                  <a:pt x="5001280" y="1297447"/>
                </a:lnTo>
                <a:lnTo>
                  <a:pt x="4998991" y="1297322"/>
                </a:lnTo>
                <a:cubicBezTo>
                  <a:pt x="5053418" y="1273984"/>
                  <a:pt x="5079336" y="1273984"/>
                  <a:pt x="5131172" y="1297322"/>
                </a:cubicBezTo>
                <a:lnTo>
                  <a:pt x="5126503" y="1301525"/>
                </a:lnTo>
                <a:lnTo>
                  <a:pt x="5136930" y="1301525"/>
                </a:lnTo>
                <a:cubicBezTo>
                  <a:pt x="5164620" y="1301525"/>
                  <a:pt x="5219997" y="1328689"/>
                  <a:pt x="5247694" y="1328689"/>
                </a:cubicBezTo>
                <a:cubicBezTo>
                  <a:pt x="5361206" y="1301525"/>
                  <a:pt x="5471970" y="1301525"/>
                  <a:pt x="5585489" y="1301525"/>
                </a:cubicBezTo>
                <a:cubicBezTo>
                  <a:pt x="5640855" y="1301525"/>
                  <a:pt x="5668539" y="1301525"/>
                  <a:pt x="5696257" y="1274365"/>
                </a:cubicBezTo>
                <a:lnTo>
                  <a:pt x="5741384" y="1276693"/>
                </a:lnTo>
                <a:lnTo>
                  <a:pt x="5709794" y="1265885"/>
                </a:lnTo>
                <a:cubicBezTo>
                  <a:pt x="5740032" y="1213027"/>
                  <a:pt x="5795035" y="1213027"/>
                  <a:pt x="5850018" y="1213027"/>
                </a:cubicBezTo>
                <a:cubicBezTo>
                  <a:pt x="5932512" y="1239458"/>
                  <a:pt x="5989978" y="1239458"/>
                  <a:pt x="6045016" y="1213027"/>
                </a:cubicBezTo>
                <a:cubicBezTo>
                  <a:pt x="6100002" y="1213027"/>
                  <a:pt x="6127457" y="1213027"/>
                  <a:pt x="6154980" y="1239458"/>
                </a:cubicBezTo>
                <a:cubicBezTo>
                  <a:pt x="6212748" y="1265885"/>
                  <a:pt x="6267769" y="1265885"/>
                  <a:pt x="6322797" y="1265885"/>
                </a:cubicBezTo>
                <a:cubicBezTo>
                  <a:pt x="6350306" y="1265885"/>
                  <a:pt x="6377772" y="1265885"/>
                  <a:pt x="6405231" y="1292312"/>
                </a:cubicBezTo>
                <a:lnTo>
                  <a:pt x="6334876" y="1292312"/>
                </a:lnTo>
                <a:lnTo>
                  <a:pt x="6403252" y="1301095"/>
                </a:lnTo>
                <a:cubicBezTo>
                  <a:pt x="6543536" y="1275404"/>
                  <a:pt x="6680930" y="1275404"/>
                  <a:pt x="6793698" y="1275404"/>
                </a:cubicBezTo>
                <a:cubicBezTo>
                  <a:pt x="6961619" y="1275404"/>
                  <a:pt x="7126671" y="1275404"/>
                  <a:pt x="7294567" y="1301095"/>
                </a:cubicBezTo>
                <a:cubicBezTo>
                  <a:pt x="7349609" y="1301095"/>
                  <a:pt x="7377136" y="1301095"/>
                  <a:pt x="7407409" y="1301095"/>
                </a:cubicBezTo>
                <a:lnTo>
                  <a:pt x="7425950" y="1297333"/>
                </a:lnTo>
                <a:lnTo>
                  <a:pt x="7465861" y="1276984"/>
                </a:lnTo>
                <a:cubicBezTo>
                  <a:pt x="7479437" y="1274020"/>
                  <a:pt x="7493000" y="1274020"/>
                  <a:pt x="7506565" y="1274020"/>
                </a:cubicBezTo>
                <a:cubicBezTo>
                  <a:pt x="7644944" y="1274020"/>
                  <a:pt x="7753481" y="1274020"/>
                  <a:pt x="7864729" y="1274020"/>
                </a:cubicBezTo>
                <a:cubicBezTo>
                  <a:pt x="7891861" y="1274020"/>
                  <a:pt x="7918999" y="1274020"/>
                  <a:pt x="7918999" y="1274020"/>
                </a:cubicBezTo>
                <a:cubicBezTo>
                  <a:pt x="7946127" y="1274020"/>
                  <a:pt x="7973263" y="1274020"/>
                  <a:pt x="8000397" y="1274020"/>
                </a:cubicBezTo>
                <a:cubicBezTo>
                  <a:pt x="8027468" y="1274020"/>
                  <a:pt x="8084386" y="1274020"/>
                  <a:pt x="8084386" y="1321450"/>
                </a:cubicBezTo>
                <a:cubicBezTo>
                  <a:pt x="8084386" y="1321450"/>
                  <a:pt x="8054561" y="1345165"/>
                  <a:pt x="8000397" y="1345165"/>
                </a:cubicBezTo>
                <a:lnTo>
                  <a:pt x="7973263" y="1345165"/>
                </a:lnTo>
                <a:cubicBezTo>
                  <a:pt x="7834882" y="1321450"/>
                  <a:pt x="7699214" y="1321450"/>
                  <a:pt x="7560832" y="1321450"/>
                </a:cubicBezTo>
                <a:lnTo>
                  <a:pt x="7534818" y="1312091"/>
                </a:lnTo>
                <a:lnTo>
                  <a:pt x="7545028" y="1326785"/>
                </a:lnTo>
                <a:cubicBezTo>
                  <a:pt x="7434935" y="1326785"/>
                  <a:pt x="7322086" y="1326785"/>
                  <a:pt x="7211990" y="1326785"/>
                </a:cubicBezTo>
                <a:cubicBezTo>
                  <a:pt x="7126671" y="1326785"/>
                  <a:pt x="7071650" y="1326785"/>
                  <a:pt x="6989085" y="1352479"/>
                </a:cubicBezTo>
                <a:cubicBezTo>
                  <a:pt x="6931405" y="1378169"/>
                  <a:pt x="6876306" y="1378169"/>
                  <a:pt x="6793698" y="1378169"/>
                </a:cubicBezTo>
                <a:cubicBezTo>
                  <a:pt x="6766197" y="1378169"/>
                  <a:pt x="6711186" y="1378169"/>
                  <a:pt x="6680930" y="1378169"/>
                </a:cubicBezTo>
                <a:lnTo>
                  <a:pt x="6672130" y="1377863"/>
                </a:lnTo>
                <a:lnTo>
                  <a:pt x="6665755" y="1402475"/>
                </a:lnTo>
                <a:cubicBezTo>
                  <a:pt x="6673083" y="1406147"/>
                  <a:pt x="6687581" y="1406147"/>
                  <a:pt x="6702777" y="1406147"/>
                </a:cubicBezTo>
                <a:cubicBezTo>
                  <a:pt x="6785456" y="1432866"/>
                  <a:pt x="6895890" y="1432866"/>
                  <a:pt x="6981316" y="1432866"/>
                </a:cubicBezTo>
                <a:cubicBezTo>
                  <a:pt x="7091706" y="1432866"/>
                  <a:pt x="7204784" y="1432866"/>
                  <a:pt x="7287556" y="1432866"/>
                </a:cubicBezTo>
                <a:lnTo>
                  <a:pt x="7286392" y="1438506"/>
                </a:lnTo>
                <a:lnTo>
                  <a:pt x="7301346" y="1435727"/>
                </a:lnTo>
                <a:cubicBezTo>
                  <a:pt x="7356520" y="1409090"/>
                  <a:pt x="7414452" y="1409090"/>
                  <a:pt x="7469622" y="1409090"/>
                </a:cubicBezTo>
                <a:cubicBezTo>
                  <a:pt x="7607556" y="1435727"/>
                  <a:pt x="7748249" y="1409090"/>
                  <a:pt x="7916522" y="1409090"/>
                </a:cubicBezTo>
                <a:cubicBezTo>
                  <a:pt x="7999280" y="1409090"/>
                  <a:pt x="8084678" y="1409090"/>
                  <a:pt x="8167332" y="1409090"/>
                </a:cubicBezTo>
                <a:cubicBezTo>
                  <a:pt x="8222720" y="1409090"/>
                  <a:pt x="8277723" y="1409090"/>
                  <a:pt x="8363107" y="1409090"/>
                </a:cubicBezTo>
                <a:cubicBezTo>
                  <a:pt x="8363107" y="1409090"/>
                  <a:pt x="8390515" y="1409090"/>
                  <a:pt x="8390515" y="1435727"/>
                </a:cubicBezTo>
                <a:cubicBezTo>
                  <a:pt x="8363107" y="1489001"/>
                  <a:pt x="8418131" y="1462364"/>
                  <a:pt x="8445857" y="1462364"/>
                </a:cubicBezTo>
                <a:lnTo>
                  <a:pt x="8451704" y="1476414"/>
                </a:lnTo>
                <a:lnTo>
                  <a:pt x="8458451" y="1458079"/>
                </a:lnTo>
                <a:cubicBezTo>
                  <a:pt x="8458451" y="1458079"/>
                  <a:pt x="8486117" y="1458079"/>
                  <a:pt x="8513671" y="1458079"/>
                </a:cubicBezTo>
                <a:lnTo>
                  <a:pt x="8517073" y="1463318"/>
                </a:lnTo>
                <a:lnTo>
                  <a:pt x="8617489" y="1449994"/>
                </a:lnTo>
                <a:cubicBezTo>
                  <a:pt x="8655962" y="1443186"/>
                  <a:pt x="8697439" y="1436378"/>
                  <a:pt x="8738912" y="1436378"/>
                </a:cubicBezTo>
                <a:cubicBezTo>
                  <a:pt x="8993840" y="1409151"/>
                  <a:pt x="9245705" y="1409151"/>
                  <a:pt x="9497721" y="1409151"/>
                </a:cubicBezTo>
                <a:cubicBezTo>
                  <a:pt x="9608461" y="1409151"/>
                  <a:pt x="9719328" y="1409151"/>
                  <a:pt x="9832876" y="1409151"/>
                </a:cubicBezTo>
                <a:lnTo>
                  <a:pt x="9832993" y="1409802"/>
                </a:lnTo>
                <a:lnTo>
                  <a:pt x="9845257" y="1407403"/>
                </a:lnTo>
                <a:cubicBezTo>
                  <a:pt x="9872964" y="1407403"/>
                  <a:pt x="9900672" y="1377585"/>
                  <a:pt x="9900672" y="1377585"/>
                </a:cubicBezTo>
                <a:cubicBezTo>
                  <a:pt x="9983793" y="1323372"/>
                  <a:pt x="10097390" y="1377585"/>
                  <a:pt x="10180510" y="1350479"/>
                </a:cubicBezTo>
                <a:cubicBezTo>
                  <a:pt x="10238695" y="1350479"/>
                  <a:pt x="10294111" y="1377585"/>
                  <a:pt x="10349524" y="1350479"/>
                </a:cubicBezTo>
                <a:cubicBezTo>
                  <a:pt x="10629365" y="1377585"/>
                  <a:pt x="10912114" y="1377585"/>
                  <a:pt x="11164440" y="1407403"/>
                </a:cubicBezTo>
                <a:cubicBezTo>
                  <a:pt x="11389022" y="1407403"/>
                  <a:pt x="11610536" y="1407403"/>
                  <a:pt x="11807339" y="1407403"/>
                </a:cubicBezTo>
                <a:cubicBezTo>
                  <a:pt x="12001366" y="1407403"/>
                  <a:pt x="12198166" y="1434510"/>
                  <a:pt x="12367250" y="1434510"/>
                </a:cubicBezTo>
                <a:cubicBezTo>
                  <a:pt x="12505840" y="1461620"/>
                  <a:pt x="12619487" y="1434510"/>
                  <a:pt x="12758077" y="1434510"/>
                </a:cubicBezTo>
                <a:lnTo>
                  <a:pt x="12767472" y="1435706"/>
                </a:lnTo>
                <a:lnTo>
                  <a:pt x="12766835" y="1432101"/>
                </a:lnTo>
                <a:cubicBezTo>
                  <a:pt x="12766835" y="1432101"/>
                  <a:pt x="12795717" y="1432101"/>
                  <a:pt x="12821969" y="1408763"/>
                </a:cubicBezTo>
                <a:lnTo>
                  <a:pt x="12824411" y="1412556"/>
                </a:lnTo>
                <a:lnTo>
                  <a:pt x="12833937" y="1410482"/>
                </a:lnTo>
                <a:cubicBezTo>
                  <a:pt x="12844332" y="1406713"/>
                  <a:pt x="12858193" y="1399169"/>
                  <a:pt x="12872054" y="1384087"/>
                </a:cubicBezTo>
                <a:cubicBezTo>
                  <a:pt x="12872054" y="1384087"/>
                  <a:pt x="12899773" y="1384087"/>
                  <a:pt x="12899773" y="1356664"/>
                </a:cubicBezTo>
                <a:lnTo>
                  <a:pt x="12902777" y="1346984"/>
                </a:lnTo>
                <a:lnTo>
                  <a:pt x="12897627" y="1349503"/>
                </a:lnTo>
                <a:cubicBezTo>
                  <a:pt x="12869905" y="1349503"/>
                  <a:pt x="12842183" y="1349503"/>
                  <a:pt x="12842183" y="1349503"/>
                </a:cubicBezTo>
                <a:cubicBezTo>
                  <a:pt x="12617618" y="1376610"/>
                  <a:pt x="12393054" y="1295287"/>
                  <a:pt x="12140768" y="1322393"/>
                </a:cubicBezTo>
                <a:cubicBezTo>
                  <a:pt x="12085323" y="1322393"/>
                  <a:pt x="12029875" y="1322393"/>
                  <a:pt x="11943929" y="1295287"/>
                </a:cubicBezTo>
                <a:lnTo>
                  <a:pt x="11916207" y="1295287"/>
                </a:lnTo>
                <a:lnTo>
                  <a:pt x="11888485" y="1295287"/>
                </a:lnTo>
                <a:cubicBezTo>
                  <a:pt x="11860759" y="1295287"/>
                  <a:pt x="11860759" y="1295287"/>
                  <a:pt x="11860759" y="1295287"/>
                </a:cubicBezTo>
                <a:cubicBezTo>
                  <a:pt x="11833037" y="1295287"/>
                  <a:pt x="11833037" y="1295287"/>
                  <a:pt x="11805311" y="1295287"/>
                </a:cubicBezTo>
                <a:cubicBezTo>
                  <a:pt x="11805311" y="1295287"/>
                  <a:pt x="11805311" y="1295287"/>
                  <a:pt x="11774816" y="1295287"/>
                </a:cubicBezTo>
                <a:lnTo>
                  <a:pt x="11747091" y="1295287"/>
                </a:lnTo>
                <a:lnTo>
                  <a:pt x="11719368" y="1268180"/>
                </a:lnTo>
                <a:cubicBezTo>
                  <a:pt x="11691643" y="1241074"/>
                  <a:pt x="11636198" y="1241074"/>
                  <a:pt x="11608472" y="1241074"/>
                </a:cubicBezTo>
                <a:cubicBezTo>
                  <a:pt x="11442356" y="1213963"/>
                  <a:pt x="11273219" y="1213963"/>
                  <a:pt x="11104075" y="1241074"/>
                </a:cubicBezTo>
                <a:cubicBezTo>
                  <a:pt x="10909918" y="1241074"/>
                  <a:pt x="10685301" y="1241074"/>
                  <a:pt x="10460832" y="1213963"/>
                </a:cubicBezTo>
                <a:cubicBezTo>
                  <a:pt x="10402637" y="1186857"/>
                  <a:pt x="10347214" y="1186857"/>
                  <a:pt x="10291787" y="1186857"/>
                </a:cubicBezTo>
                <a:cubicBezTo>
                  <a:pt x="10067315" y="1157039"/>
                  <a:pt x="9842847" y="1129932"/>
                  <a:pt x="9618350" y="1102825"/>
                </a:cubicBezTo>
                <a:cubicBezTo>
                  <a:pt x="9673756" y="1102825"/>
                  <a:pt x="9729161" y="1102825"/>
                  <a:pt x="9759691" y="1102825"/>
                </a:cubicBezTo>
                <a:lnTo>
                  <a:pt x="9791805" y="1102825"/>
                </a:lnTo>
                <a:lnTo>
                  <a:pt x="9777517" y="1101751"/>
                </a:lnTo>
                <a:cubicBezTo>
                  <a:pt x="9719328" y="1101751"/>
                  <a:pt x="9663866" y="1101751"/>
                  <a:pt x="9608418" y="1101751"/>
                </a:cubicBezTo>
                <a:cubicBezTo>
                  <a:pt x="9384160" y="1101751"/>
                  <a:pt x="9159540" y="1101751"/>
                  <a:pt x="8907394" y="1128498"/>
                </a:cubicBezTo>
                <a:cubicBezTo>
                  <a:pt x="8738431" y="1128498"/>
                  <a:pt x="8544703" y="1101751"/>
                  <a:pt x="8375462" y="1101751"/>
                </a:cubicBezTo>
                <a:cubicBezTo>
                  <a:pt x="8347793" y="1101751"/>
                  <a:pt x="8289652" y="1101751"/>
                  <a:pt x="8261991" y="1101751"/>
                </a:cubicBezTo>
                <a:cubicBezTo>
                  <a:pt x="8037440" y="1101751"/>
                  <a:pt x="7812937" y="1075000"/>
                  <a:pt x="7588354" y="1075000"/>
                </a:cubicBezTo>
                <a:lnTo>
                  <a:pt x="7577504" y="1074676"/>
                </a:lnTo>
                <a:lnTo>
                  <a:pt x="7563325" y="1087861"/>
                </a:lnTo>
                <a:cubicBezTo>
                  <a:pt x="7367157" y="1062171"/>
                  <a:pt x="7143372" y="1087861"/>
                  <a:pt x="6919680" y="1087861"/>
                </a:cubicBezTo>
                <a:cubicBezTo>
                  <a:pt x="6836691" y="1087861"/>
                  <a:pt x="6781435" y="1087861"/>
                  <a:pt x="6695848" y="1087861"/>
                </a:cubicBezTo>
                <a:cubicBezTo>
                  <a:pt x="6668264" y="1087861"/>
                  <a:pt x="6668264" y="1087861"/>
                  <a:pt x="6640667" y="1062171"/>
                </a:cubicBezTo>
                <a:cubicBezTo>
                  <a:pt x="6640667" y="1036477"/>
                  <a:pt x="6668264" y="1036477"/>
                  <a:pt x="6695848" y="1036477"/>
                </a:cubicBezTo>
                <a:cubicBezTo>
                  <a:pt x="6977650" y="1010787"/>
                  <a:pt x="7256635" y="985097"/>
                  <a:pt x="7535693" y="959407"/>
                </a:cubicBezTo>
                <a:cubicBezTo>
                  <a:pt x="7618582" y="959407"/>
                  <a:pt x="7704232" y="959407"/>
                  <a:pt x="7787121" y="959407"/>
                </a:cubicBezTo>
                <a:cubicBezTo>
                  <a:pt x="7842381" y="959407"/>
                  <a:pt x="7900398" y="959407"/>
                  <a:pt x="7928031" y="931147"/>
                </a:cubicBezTo>
                <a:cubicBezTo>
                  <a:pt x="8066087" y="931147"/>
                  <a:pt x="8207019" y="931147"/>
                  <a:pt x="8320069" y="931147"/>
                </a:cubicBezTo>
                <a:cubicBezTo>
                  <a:pt x="8347683" y="931147"/>
                  <a:pt x="8375242" y="959407"/>
                  <a:pt x="8402711" y="959407"/>
                </a:cubicBezTo>
                <a:lnTo>
                  <a:pt x="8400807" y="961798"/>
                </a:lnTo>
                <a:lnTo>
                  <a:pt x="8410440" y="960229"/>
                </a:lnTo>
                <a:cubicBezTo>
                  <a:pt x="8437978" y="960229"/>
                  <a:pt x="8437978" y="960229"/>
                  <a:pt x="8465515" y="960229"/>
                </a:cubicBezTo>
                <a:lnTo>
                  <a:pt x="8553027" y="957214"/>
                </a:lnTo>
                <a:lnTo>
                  <a:pt x="8466953" y="955307"/>
                </a:lnTo>
                <a:cubicBezTo>
                  <a:pt x="8522205" y="930802"/>
                  <a:pt x="8552518" y="930802"/>
                  <a:pt x="8607589" y="930802"/>
                </a:cubicBezTo>
                <a:cubicBezTo>
                  <a:pt x="8803463" y="955307"/>
                  <a:pt x="8999636" y="930802"/>
                  <a:pt x="9192620" y="930802"/>
                </a:cubicBezTo>
                <a:lnTo>
                  <a:pt x="9248887" y="930802"/>
                </a:lnTo>
                <a:lnTo>
                  <a:pt x="9255869" y="929599"/>
                </a:lnTo>
                <a:lnTo>
                  <a:pt x="9283446" y="930802"/>
                </a:lnTo>
                <a:lnTo>
                  <a:pt x="9572386" y="930802"/>
                </a:lnTo>
                <a:lnTo>
                  <a:pt x="9591181" y="927382"/>
                </a:lnTo>
                <a:lnTo>
                  <a:pt x="9635393" y="930802"/>
                </a:lnTo>
                <a:lnTo>
                  <a:pt x="9753079" y="930802"/>
                </a:lnTo>
                <a:cubicBezTo>
                  <a:pt x="10031807" y="930802"/>
                  <a:pt x="10310518" y="930802"/>
                  <a:pt x="10589226" y="930802"/>
                </a:cubicBezTo>
                <a:cubicBezTo>
                  <a:pt x="10589226" y="930802"/>
                  <a:pt x="10616821" y="930802"/>
                  <a:pt x="10644419" y="955307"/>
                </a:cubicBezTo>
                <a:cubicBezTo>
                  <a:pt x="10589226" y="955307"/>
                  <a:pt x="10534035" y="955307"/>
                  <a:pt x="10451256" y="955307"/>
                </a:cubicBezTo>
                <a:lnTo>
                  <a:pt x="10383943" y="955307"/>
                </a:lnTo>
                <a:lnTo>
                  <a:pt x="10654479" y="963531"/>
                </a:lnTo>
                <a:cubicBezTo>
                  <a:pt x="10654479" y="963531"/>
                  <a:pt x="10654479" y="963531"/>
                  <a:pt x="10684938" y="963531"/>
                </a:cubicBezTo>
                <a:cubicBezTo>
                  <a:pt x="10712624" y="933798"/>
                  <a:pt x="10740311" y="933798"/>
                  <a:pt x="10795753" y="933798"/>
                </a:cubicBezTo>
                <a:lnTo>
                  <a:pt x="10807525" y="933909"/>
                </a:lnTo>
                <a:lnTo>
                  <a:pt x="10790460" y="923635"/>
                </a:lnTo>
                <a:cubicBezTo>
                  <a:pt x="10817837" y="897941"/>
                  <a:pt x="10872527" y="897941"/>
                  <a:pt x="10929968" y="897941"/>
                </a:cubicBezTo>
                <a:cubicBezTo>
                  <a:pt x="10984690" y="923635"/>
                  <a:pt x="11066768" y="923635"/>
                  <a:pt x="11124177" y="897941"/>
                </a:cubicBezTo>
                <a:cubicBezTo>
                  <a:pt x="11066768" y="897941"/>
                  <a:pt x="11039405" y="897941"/>
                  <a:pt x="10984690" y="897941"/>
                </a:cubicBezTo>
                <a:cubicBezTo>
                  <a:pt x="10957346" y="897941"/>
                  <a:pt x="10902627" y="897941"/>
                  <a:pt x="10872527" y="872251"/>
                </a:cubicBezTo>
                <a:cubicBezTo>
                  <a:pt x="10817837" y="872251"/>
                  <a:pt x="10763084" y="872251"/>
                  <a:pt x="10708414" y="872251"/>
                </a:cubicBezTo>
                <a:lnTo>
                  <a:pt x="10708414" y="846560"/>
                </a:lnTo>
                <a:cubicBezTo>
                  <a:pt x="10708414" y="846560"/>
                  <a:pt x="10708414" y="820870"/>
                  <a:pt x="10735742" y="820870"/>
                </a:cubicBezTo>
                <a:cubicBezTo>
                  <a:pt x="10790460" y="846560"/>
                  <a:pt x="10872527" y="846560"/>
                  <a:pt x="10957346" y="846560"/>
                </a:cubicBezTo>
                <a:cubicBezTo>
                  <a:pt x="11012049" y="846560"/>
                  <a:pt x="11066768" y="846560"/>
                  <a:pt x="11124177" y="846560"/>
                </a:cubicBezTo>
                <a:cubicBezTo>
                  <a:pt x="11206238" y="846560"/>
                  <a:pt x="11260948" y="872251"/>
                  <a:pt x="11345756" y="897941"/>
                </a:cubicBezTo>
                <a:cubicBezTo>
                  <a:pt x="11400424" y="923635"/>
                  <a:pt x="11482452" y="951894"/>
                  <a:pt x="11564238" y="923635"/>
                </a:cubicBezTo>
                <a:cubicBezTo>
                  <a:pt x="11618924" y="923635"/>
                  <a:pt x="11646269" y="923635"/>
                  <a:pt x="11673614" y="977584"/>
                </a:cubicBezTo>
                <a:lnTo>
                  <a:pt x="11667123" y="977293"/>
                </a:lnTo>
                <a:lnTo>
                  <a:pt x="11690429" y="990559"/>
                </a:lnTo>
                <a:cubicBezTo>
                  <a:pt x="11690429" y="990559"/>
                  <a:pt x="11718130" y="990559"/>
                  <a:pt x="11745831" y="990559"/>
                </a:cubicBezTo>
                <a:lnTo>
                  <a:pt x="11762784" y="977584"/>
                </a:lnTo>
                <a:lnTo>
                  <a:pt x="11749863" y="977584"/>
                </a:lnTo>
                <a:lnTo>
                  <a:pt x="11791816" y="967595"/>
                </a:lnTo>
                <a:lnTo>
                  <a:pt x="11804001" y="963531"/>
                </a:lnTo>
                <a:lnTo>
                  <a:pt x="11811126" y="963531"/>
                </a:lnTo>
                <a:lnTo>
                  <a:pt x="11811126" y="958090"/>
                </a:lnTo>
                <a:cubicBezTo>
                  <a:pt x="11811126" y="955307"/>
                  <a:pt x="11811126" y="955307"/>
                  <a:pt x="11811126" y="955307"/>
                </a:cubicBezTo>
                <a:cubicBezTo>
                  <a:pt x="11837553" y="930802"/>
                  <a:pt x="11890406" y="955307"/>
                  <a:pt x="11943260" y="955307"/>
                </a:cubicBezTo>
                <a:cubicBezTo>
                  <a:pt x="11943260" y="955307"/>
                  <a:pt x="11943260" y="960876"/>
                  <a:pt x="11939958" y="966446"/>
                </a:cubicBezTo>
                <a:lnTo>
                  <a:pt x="11926061" y="973140"/>
                </a:lnTo>
                <a:lnTo>
                  <a:pt x="11930975" y="977335"/>
                </a:lnTo>
                <a:lnTo>
                  <a:pt x="11948904" y="960592"/>
                </a:lnTo>
                <a:cubicBezTo>
                  <a:pt x="12116689" y="906642"/>
                  <a:pt x="12254219" y="932332"/>
                  <a:pt x="12394499" y="960592"/>
                </a:cubicBezTo>
                <a:cubicBezTo>
                  <a:pt x="12504523" y="960592"/>
                  <a:pt x="12617298" y="1011972"/>
                  <a:pt x="12727322" y="1063356"/>
                </a:cubicBezTo>
                <a:lnTo>
                  <a:pt x="12687789" y="1063356"/>
                </a:lnTo>
                <a:lnTo>
                  <a:pt x="12726429" y="1071640"/>
                </a:lnTo>
                <a:cubicBezTo>
                  <a:pt x="12852467" y="1085156"/>
                  <a:pt x="12986121" y="1098669"/>
                  <a:pt x="13123238" y="1105427"/>
                </a:cubicBezTo>
                <a:lnTo>
                  <a:pt x="13416923" y="1100676"/>
                </a:lnTo>
                <a:lnTo>
                  <a:pt x="13478542" y="1060726"/>
                </a:lnTo>
                <a:cubicBezTo>
                  <a:pt x="13510449" y="1053854"/>
                  <a:pt x="13545826" y="1053854"/>
                  <a:pt x="13573573" y="1053854"/>
                </a:cubicBezTo>
                <a:cubicBezTo>
                  <a:pt x="13629067" y="1053854"/>
                  <a:pt x="13684561" y="1053854"/>
                  <a:pt x="13770575" y="1053854"/>
                </a:cubicBezTo>
                <a:cubicBezTo>
                  <a:pt x="13770575" y="1053854"/>
                  <a:pt x="13770575" y="1053854"/>
                  <a:pt x="13798322" y="1053854"/>
                </a:cubicBezTo>
                <a:cubicBezTo>
                  <a:pt x="13826069" y="1081349"/>
                  <a:pt x="13881560" y="1081349"/>
                  <a:pt x="13967577" y="1081349"/>
                </a:cubicBezTo>
                <a:cubicBezTo>
                  <a:pt x="14275565" y="1108847"/>
                  <a:pt x="14583552" y="1136345"/>
                  <a:pt x="14894318" y="1136345"/>
                </a:cubicBezTo>
                <a:cubicBezTo>
                  <a:pt x="15005303" y="1163839"/>
                  <a:pt x="15146815" y="1163839"/>
                  <a:pt x="15285547" y="1194088"/>
                </a:cubicBezTo>
                <a:cubicBezTo>
                  <a:pt x="15454802" y="1221583"/>
                  <a:pt x="15624057" y="1221583"/>
                  <a:pt x="15790537" y="1249081"/>
                </a:cubicBezTo>
                <a:cubicBezTo>
                  <a:pt x="15833547" y="1249081"/>
                  <a:pt x="15868924" y="1249081"/>
                  <a:pt x="15900482" y="1252518"/>
                </a:cubicBezTo>
                <a:lnTo>
                  <a:pt x="15956664" y="1268045"/>
                </a:lnTo>
                <a:lnTo>
                  <a:pt x="15999276" y="1268045"/>
                </a:lnTo>
                <a:cubicBezTo>
                  <a:pt x="16042180" y="1281774"/>
                  <a:pt x="16084390" y="1288639"/>
                  <a:pt x="16126254" y="1292070"/>
                </a:cubicBezTo>
                <a:lnTo>
                  <a:pt x="16195964" y="1293984"/>
                </a:lnTo>
                <a:lnTo>
                  <a:pt x="16126172" y="1249807"/>
                </a:lnTo>
                <a:cubicBezTo>
                  <a:pt x="16084230" y="1225696"/>
                  <a:pt x="16041938" y="1205035"/>
                  <a:pt x="15998956" y="1191259"/>
                </a:cubicBezTo>
                <a:cubicBezTo>
                  <a:pt x="15943494" y="1191259"/>
                  <a:pt x="15915760" y="1160953"/>
                  <a:pt x="15915760" y="1105847"/>
                </a:cubicBezTo>
                <a:cubicBezTo>
                  <a:pt x="15915760" y="1050744"/>
                  <a:pt x="15971222" y="1050744"/>
                  <a:pt x="16026684" y="1050744"/>
                </a:cubicBezTo>
                <a:cubicBezTo>
                  <a:pt x="16251310" y="1023193"/>
                  <a:pt x="16475932" y="1105847"/>
                  <a:pt x="16672822" y="1133398"/>
                </a:cubicBezTo>
                <a:cubicBezTo>
                  <a:pt x="16729672" y="1147176"/>
                  <a:pt x="16792760" y="1161641"/>
                  <a:pt x="16855848" y="1172662"/>
                </a:cubicBezTo>
                <a:lnTo>
                  <a:pt x="16909872" y="1180393"/>
                </a:lnTo>
                <a:lnTo>
                  <a:pt x="16916814" y="1181788"/>
                </a:lnTo>
                <a:lnTo>
                  <a:pt x="16922936" y="1182263"/>
                </a:lnTo>
                <a:lnTo>
                  <a:pt x="16949700" y="1186093"/>
                </a:lnTo>
                <a:cubicBezTo>
                  <a:pt x="16980464" y="1189365"/>
                  <a:pt x="17010450" y="1191259"/>
                  <a:pt x="17038874" y="1191259"/>
                </a:cubicBezTo>
                <a:lnTo>
                  <a:pt x="16922936" y="1182263"/>
                </a:lnTo>
                <a:lnTo>
                  <a:pt x="16909872" y="1180393"/>
                </a:lnTo>
                <a:lnTo>
                  <a:pt x="16802812" y="1158885"/>
                </a:lnTo>
                <a:cubicBezTo>
                  <a:pt x="16728978" y="1140976"/>
                  <a:pt x="16658958" y="1119623"/>
                  <a:pt x="16589628" y="1105847"/>
                </a:cubicBezTo>
                <a:lnTo>
                  <a:pt x="16557024" y="1066975"/>
                </a:lnTo>
                <a:lnTo>
                  <a:pt x="16518542" y="1084441"/>
                </a:lnTo>
                <a:cubicBezTo>
                  <a:pt x="16462804" y="1098619"/>
                  <a:pt x="16416028" y="1077996"/>
                  <a:pt x="16353662" y="1057374"/>
                </a:cubicBezTo>
                <a:cubicBezTo>
                  <a:pt x="16043216" y="1002381"/>
                  <a:pt x="15735537" y="889649"/>
                  <a:pt x="15427863" y="862151"/>
                </a:cubicBezTo>
                <a:cubicBezTo>
                  <a:pt x="15372426" y="862151"/>
                  <a:pt x="15316988" y="834657"/>
                  <a:pt x="15286497" y="807158"/>
                </a:cubicBezTo>
                <a:cubicBezTo>
                  <a:pt x="15203345" y="807158"/>
                  <a:pt x="15126424" y="800287"/>
                  <a:pt x="15049157" y="789974"/>
                </a:cubicBezTo>
                <a:lnTo>
                  <a:pt x="15016104" y="784756"/>
                </a:lnTo>
                <a:lnTo>
                  <a:pt x="14861596" y="799482"/>
                </a:lnTo>
                <a:cubicBezTo>
                  <a:pt x="14795262" y="799482"/>
                  <a:pt x="14732707" y="792920"/>
                  <a:pt x="14677715" y="779792"/>
                </a:cubicBezTo>
                <a:lnTo>
                  <a:pt x="14635224" y="769045"/>
                </a:lnTo>
                <a:lnTo>
                  <a:pt x="14585217" y="779664"/>
                </a:lnTo>
                <a:lnTo>
                  <a:pt x="14557499" y="779664"/>
                </a:lnTo>
                <a:cubicBezTo>
                  <a:pt x="14515922" y="744607"/>
                  <a:pt x="14468802" y="720031"/>
                  <a:pt x="14418475" y="702031"/>
                </a:cubicBezTo>
                <a:lnTo>
                  <a:pt x="14310244" y="675910"/>
                </a:lnTo>
                <a:lnTo>
                  <a:pt x="14271928" y="675910"/>
                </a:lnTo>
                <a:cubicBezTo>
                  <a:pt x="14189348" y="730867"/>
                  <a:pt x="14104014" y="702081"/>
                  <a:pt x="14048965" y="702081"/>
                </a:cubicBezTo>
                <a:cubicBezTo>
                  <a:pt x="13938859" y="675910"/>
                  <a:pt x="13825998" y="649740"/>
                  <a:pt x="13743419" y="623569"/>
                </a:cubicBezTo>
                <a:cubicBezTo>
                  <a:pt x="13743419" y="571228"/>
                  <a:pt x="13743419" y="571228"/>
                  <a:pt x="13685615" y="571228"/>
                </a:cubicBezTo>
                <a:cubicBezTo>
                  <a:pt x="13658088" y="545057"/>
                  <a:pt x="13603035" y="545057"/>
                  <a:pt x="13575509" y="518886"/>
                </a:cubicBezTo>
                <a:lnTo>
                  <a:pt x="13635558" y="509559"/>
                </a:lnTo>
                <a:lnTo>
                  <a:pt x="13576263" y="501954"/>
                </a:lnTo>
                <a:cubicBezTo>
                  <a:pt x="13520826" y="501954"/>
                  <a:pt x="13462620" y="471705"/>
                  <a:pt x="13379464" y="471705"/>
                </a:cubicBezTo>
                <a:cubicBezTo>
                  <a:pt x="13434901" y="444211"/>
                  <a:pt x="13520826" y="416716"/>
                  <a:pt x="13603982" y="444211"/>
                </a:cubicBezTo>
                <a:cubicBezTo>
                  <a:pt x="13745348" y="444211"/>
                  <a:pt x="13883941" y="444211"/>
                  <a:pt x="14025303" y="416716"/>
                </a:cubicBezTo>
                <a:close/>
                <a:moveTo>
                  <a:pt x="7889088" y="412976"/>
                </a:moveTo>
                <a:lnTo>
                  <a:pt x="7958607" y="423695"/>
                </a:lnTo>
                <a:lnTo>
                  <a:pt x="7991981" y="424449"/>
                </a:lnTo>
                <a:lnTo>
                  <a:pt x="8051198" y="429389"/>
                </a:lnTo>
                <a:lnTo>
                  <a:pt x="8108347" y="430762"/>
                </a:lnTo>
                <a:lnTo>
                  <a:pt x="8148019" y="437442"/>
                </a:lnTo>
                <a:lnTo>
                  <a:pt x="8225502" y="443890"/>
                </a:lnTo>
                <a:cubicBezTo>
                  <a:pt x="8225502" y="443890"/>
                  <a:pt x="8252983" y="443890"/>
                  <a:pt x="8280460" y="417969"/>
                </a:cubicBezTo>
                <a:cubicBezTo>
                  <a:pt x="8280460" y="469808"/>
                  <a:pt x="8280460" y="498321"/>
                  <a:pt x="8252983" y="524239"/>
                </a:cubicBezTo>
                <a:cubicBezTo>
                  <a:pt x="8142745" y="524239"/>
                  <a:pt x="8029779" y="524239"/>
                  <a:pt x="7947195" y="498321"/>
                </a:cubicBezTo>
                <a:cubicBezTo>
                  <a:pt x="7864523" y="498321"/>
                  <a:pt x="7779093" y="498321"/>
                  <a:pt x="7723979" y="498321"/>
                </a:cubicBezTo>
                <a:cubicBezTo>
                  <a:pt x="7668862" y="524239"/>
                  <a:pt x="7641304" y="524239"/>
                  <a:pt x="7610991" y="498321"/>
                </a:cubicBezTo>
                <a:cubicBezTo>
                  <a:pt x="7445640" y="498321"/>
                  <a:pt x="7305097" y="498321"/>
                  <a:pt x="7137005" y="498321"/>
                </a:cubicBezTo>
                <a:cubicBezTo>
                  <a:pt x="7109582" y="498321"/>
                  <a:pt x="7109582" y="498321"/>
                  <a:pt x="7081949" y="498321"/>
                </a:cubicBezTo>
                <a:cubicBezTo>
                  <a:pt x="7137005" y="469808"/>
                  <a:pt x="7137005" y="469808"/>
                  <a:pt x="7164567" y="469808"/>
                </a:cubicBezTo>
                <a:cubicBezTo>
                  <a:pt x="7222425" y="469808"/>
                  <a:pt x="7277542" y="469808"/>
                  <a:pt x="7332652" y="443890"/>
                </a:cubicBezTo>
                <a:cubicBezTo>
                  <a:pt x="7332652" y="417969"/>
                  <a:pt x="7360214" y="443890"/>
                  <a:pt x="7387769" y="443890"/>
                </a:cubicBezTo>
                <a:cubicBezTo>
                  <a:pt x="7445640" y="469808"/>
                  <a:pt x="7500761" y="469808"/>
                  <a:pt x="7555874" y="469808"/>
                </a:cubicBezTo>
                <a:cubicBezTo>
                  <a:pt x="7641304" y="443890"/>
                  <a:pt x="7696417" y="443890"/>
                  <a:pt x="7779093" y="443890"/>
                </a:cubicBezTo>
                <a:lnTo>
                  <a:pt x="7847259" y="429748"/>
                </a:lnTo>
                <a:close/>
                <a:moveTo>
                  <a:pt x="10718952" y="358969"/>
                </a:moveTo>
                <a:lnTo>
                  <a:pt x="10723944" y="361759"/>
                </a:lnTo>
                <a:lnTo>
                  <a:pt x="10761781" y="365076"/>
                </a:lnTo>
                <a:lnTo>
                  <a:pt x="10759837" y="363432"/>
                </a:lnTo>
                <a:cubicBezTo>
                  <a:pt x="10752909" y="360065"/>
                  <a:pt x="10745980" y="360065"/>
                  <a:pt x="10732123" y="360065"/>
                </a:cubicBezTo>
                <a:close/>
                <a:moveTo>
                  <a:pt x="5697488" y="293831"/>
                </a:moveTo>
                <a:cubicBezTo>
                  <a:pt x="5837815" y="317738"/>
                  <a:pt x="5977946" y="293831"/>
                  <a:pt x="6087963" y="293831"/>
                </a:cubicBezTo>
                <a:cubicBezTo>
                  <a:pt x="6170535" y="293831"/>
                  <a:pt x="6228346" y="293831"/>
                  <a:pt x="6310947" y="293831"/>
                </a:cubicBezTo>
                <a:cubicBezTo>
                  <a:pt x="6338488" y="317738"/>
                  <a:pt x="6393523" y="317738"/>
                  <a:pt x="6451217" y="317738"/>
                </a:cubicBezTo>
                <a:cubicBezTo>
                  <a:pt x="6451217" y="317738"/>
                  <a:pt x="6478739" y="317738"/>
                  <a:pt x="6478739" y="341645"/>
                </a:cubicBezTo>
                <a:lnTo>
                  <a:pt x="6451217" y="341645"/>
                </a:lnTo>
                <a:lnTo>
                  <a:pt x="6420882" y="365553"/>
                </a:lnTo>
                <a:cubicBezTo>
                  <a:pt x="6255880" y="341645"/>
                  <a:pt x="6087963" y="365553"/>
                  <a:pt x="5950579" y="365553"/>
                </a:cubicBezTo>
                <a:cubicBezTo>
                  <a:pt x="5865320" y="341645"/>
                  <a:pt x="5782773" y="365553"/>
                  <a:pt x="5697488" y="365553"/>
                </a:cubicBezTo>
                <a:cubicBezTo>
                  <a:pt x="5504853" y="389460"/>
                  <a:pt x="5281957" y="389460"/>
                  <a:pt x="5086571" y="365553"/>
                </a:cubicBezTo>
                <a:cubicBezTo>
                  <a:pt x="4946244" y="365553"/>
                  <a:pt x="4836185" y="389460"/>
                  <a:pt x="4723374" y="389460"/>
                </a:cubicBezTo>
                <a:cubicBezTo>
                  <a:pt x="4695858" y="389460"/>
                  <a:pt x="4695858" y="389460"/>
                  <a:pt x="4668342" y="389460"/>
                </a:cubicBezTo>
                <a:cubicBezTo>
                  <a:pt x="4750890" y="341645"/>
                  <a:pt x="4750890" y="341645"/>
                  <a:pt x="4863700" y="341645"/>
                </a:cubicBezTo>
                <a:cubicBezTo>
                  <a:pt x="5086571" y="341645"/>
                  <a:pt x="5336993" y="317738"/>
                  <a:pt x="5587397" y="317738"/>
                </a:cubicBezTo>
                <a:cubicBezTo>
                  <a:pt x="5642418" y="317738"/>
                  <a:pt x="5669930" y="317738"/>
                  <a:pt x="5697488" y="293831"/>
                </a:cubicBezTo>
                <a:close/>
                <a:moveTo>
                  <a:pt x="9854943" y="189234"/>
                </a:moveTo>
                <a:lnTo>
                  <a:pt x="9853488" y="193383"/>
                </a:lnTo>
                <a:lnTo>
                  <a:pt x="9860680" y="194995"/>
                </a:lnTo>
                <a:lnTo>
                  <a:pt x="9860278" y="196436"/>
                </a:lnTo>
                <a:lnTo>
                  <a:pt x="9862043" y="195896"/>
                </a:lnTo>
                <a:lnTo>
                  <a:pt x="9863370" y="192952"/>
                </a:lnTo>
                <a:close/>
                <a:moveTo>
                  <a:pt x="8981736" y="166988"/>
                </a:moveTo>
                <a:lnTo>
                  <a:pt x="8986018" y="168981"/>
                </a:lnTo>
                <a:lnTo>
                  <a:pt x="8994629" y="168981"/>
                </a:lnTo>
                <a:lnTo>
                  <a:pt x="9009614" y="167753"/>
                </a:lnTo>
                <a:lnTo>
                  <a:pt x="8991042" y="166988"/>
                </a:lnTo>
                <a:close/>
                <a:moveTo>
                  <a:pt x="11480567" y="152573"/>
                </a:moveTo>
                <a:cubicBezTo>
                  <a:pt x="11498945" y="152573"/>
                  <a:pt x="11517323" y="158408"/>
                  <a:pt x="11517323" y="170077"/>
                </a:cubicBezTo>
                <a:cubicBezTo>
                  <a:pt x="11539117" y="170077"/>
                  <a:pt x="11517323" y="193415"/>
                  <a:pt x="11517323" y="193415"/>
                </a:cubicBezTo>
                <a:lnTo>
                  <a:pt x="11492829" y="193415"/>
                </a:lnTo>
                <a:cubicBezTo>
                  <a:pt x="11468324" y="193415"/>
                  <a:pt x="11468324" y="193415"/>
                  <a:pt x="11443811" y="170077"/>
                </a:cubicBezTo>
                <a:cubicBezTo>
                  <a:pt x="11443811" y="158408"/>
                  <a:pt x="11462189" y="152573"/>
                  <a:pt x="11480567" y="152573"/>
                </a:cubicBezTo>
                <a:close/>
                <a:moveTo>
                  <a:pt x="10683923" y="109981"/>
                </a:moveTo>
                <a:lnTo>
                  <a:pt x="10710825" y="109981"/>
                </a:lnTo>
                <a:cubicBezTo>
                  <a:pt x="10791581" y="109981"/>
                  <a:pt x="10872357" y="109981"/>
                  <a:pt x="10928936" y="109981"/>
                </a:cubicBezTo>
                <a:cubicBezTo>
                  <a:pt x="10982775" y="109981"/>
                  <a:pt x="11063561" y="109981"/>
                  <a:pt x="11120084" y="109981"/>
                </a:cubicBezTo>
                <a:cubicBezTo>
                  <a:pt x="11120084" y="109981"/>
                  <a:pt x="11146995" y="109981"/>
                  <a:pt x="11146995" y="133319"/>
                </a:cubicBezTo>
                <a:cubicBezTo>
                  <a:pt x="11146995" y="156657"/>
                  <a:pt x="11120084" y="156657"/>
                  <a:pt x="11120084" y="156657"/>
                </a:cubicBezTo>
                <a:cubicBezTo>
                  <a:pt x="10982775" y="156657"/>
                  <a:pt x="10845481" y="156657"/>
                  <a:pt x="10710825" y="133319"/>
                </a:cubicBezTo>
                <a:cubicBezTo>
                  <a:pt x="10710825" y="133319"/>
                  <a:pt x="10683923" y="133319"/>
                  <a:pt x="10683923" y="109981"/>
                </a:cubicBezTo>
                <a:close/>
                <a:moveTo>
                  <a:pt x="10041121" y="68056"/>
                </a:moveTo>
                <a:cubicBezTo>
                  <a:pt x="10086493" y="68056"/>
                  <a:pt x="10128059" y="74786"/>
                  <a:pt x="10169621" y="88241"/>
                </a:cubicBezTo>
                <a:cubicBezTo>
                  <a:pt x="10169621" y="115156"/>
                  <a:pt x="10141909" y="115156"/>
                  <a:pt x="10114201" y="115156"/>
                </a:cubicBezTo>
                <a:cubicBezTo>
                  <a:pt x="10114201" y="115156"/>
                  <a:pt x="10086493" y="115156"/>
                  <a:pt x="10058782" y="115156"/>
                </a:cubicBezTo>
                <a:lnTo>
                  <a:pt x="10031077" y="142067"/>
                </a:lnTo>
                <a:cubicBezTo>
                  <a:pt x="10058782" y="142067"/>
                  <a:pt x="10058782" y="168981"/>
                  <a:pt x="10058782" y="168981"/>
                </a:cubicBezTo>
                <a:cubicBezTo>
                  <a:pt x="10086493" y="195896"/>
                  <a:pt x="10114201" y="195896"/>
                  <a:pt x="10169621" y="195896"/>
                </a:cubicBezTo>
                <a:cubicBezTo>
                  <a:pt x="10283221" y="195896"/>
                  <a:pt x="10421772" y="195896"/>
                  <a:pt x="10563095" y="222806"/>
                </a:cubicBezTo>
                <a:cubicBezTo>
                  <a:pt x="10646223" y="249721"/>
                  <a:pt x="10759837" y="249721"/>
                  <a:pt x="10843107" y="222806"/>
                </a:cubicBezTo>
                <a:cubicBezTo>
                  <a:pt x="10870830" y="222806"/>
                  <a:pt x="10901338" y="222806"/>
                  <a:pt x="10929085" y="222806"/>
                </a:cubicBezTo>
                <a:cubicBezTo>
                  <a:pt x="11181425" y="222806"/>
                  <a:pt x="11433801" y="222806"/>
                  <a:pt x="11710753" y="222806"/>
                </a:cubicBezTo>
                <a:cubicBezTo>
                  <a:pt x="11879865" y="249721"/>
                  <a:pt x="12048978" y="279326"/>
                  <a:pt x="12215322" y="306240"/>
                </a:cubicBezTo>
                <a:cubicBezTo>
                  <a:pt x="12273543" y="306240"/>
                  <a:pt x="12301265" y="306240"/>
                  <a:pt x="12328987" y="306240"/>
                </a:cubicBezTo>
                <a:cubicBezTo>
                  <a:pt x="12553551" y="306240"/>
                  <a:pt x="12778112" y="360065"/>
                  <a:pt x="12999904" y="386980"/>
                </a:cubicBezTo>
                <a:cubicBezTo>
                  <a:pt x="13030399" y="413894"/>
                  <a:pt x="13058124" y="413894"/>
                  <a:pt x="13030399" y="440805"/>
                </a:cubicBezTo>
                <a:cubicBezTo>
                  <a:pt x="12999904" y="413894"/>
                  <a:pt x="12972178" y="440805"/>
                  <a:pt x="12916734" y="440805"/>
                </a:cubicBezTo>
                <a:cubicBezTo>
                  <a:pt x="12778112" y="440805"/>
                  <a:pt x="12636722" y="440805"/>
                  <a:pt x="12525826" y="440805"/>
                </a:cubicBezTo>
                <a:cubicBezTo>
                  <a:pt x="12467609" y="440805"/>
                  <a:pt x="12384435" y="440805"/>
                  <a:pt x="12328987" y="413894"/>
                </a:cubicBezTo>
                <a:cubicBezTo>
                  <a:pt x="12273543" y="413894"/>
                  <a:pt x="12187596" y="413894"/>
                  <a:pt x="12104426" y="440805"/>
                </a:cubicBezTo>
                <a:cubicBezTo>
                  <a:pt x="12048978" y="467719"/>
                  <a:pt x="11990758" y="440805"/>
                  <a:pt x="11935310" y="440805"/>
                </a:cubicBezTo>
                <a:cubicBezTo>
                  <a:pt x="11796692" y="440805"/>
                  <a:pt x="11683030" y="413894"/>
                  <a:pt x="11541644" y="413894"/>
                </a:cubicBezTo>
                <a:cubicBezTo>
                  <a:pt x="11474007" y="386980"/>
                  <a:pt x="11397776" y="386980"/>
                  <a:pt x="11320827" y="390343"/>
                </a:cubicBezTo>
                <a:lnTo>
                  <a:pt x="11257817" y="392880"/>
                </a:lnTo>
                <a:lnTo>
                  <a:pt x="11230009" y="383617"/>
                </a:lnTo>
                <a:cubicBezTo>
                  <a:pt x="11195276" y="380250"/>
                  <a:pt x="11153740" y="386980"/>
                  <a:pt x="11126009" y="386980"/>
                </a:cubicBezTo>
                <a:lnTo>
                  <a:pt x="11121536" y="386980"/>
                </a:lnTo>
                <a:lnTo>
                  <a:pt x="11221980" y="392524"/>
                </a:lnTo>
                <a:lnTo>
                  <a:pt x="11239806" y="393602"/>
                </a:lnTo>
                <a:lnTo>
                  <a:pt x="11257817" y="392880"/>
                </a:lnTo>
                <a:lnTo>
                  <a:pt x="11264486" y="395097"/>
                </a:lnTo>
                <a:lnTo>
                  <a:pt x="11432701" y="405286"/>
                </a:lnTo>
                <a:cubicBezTo>
                  <a:pt x="11487263" y="405286"/>
                  <a:pt x="11514526" y="405286"/>
                  <a:pt x="11538839" y="430812"/>
                </a:cubicBezTo>
                <a:cubicBezTo>
                  <a:pt x="11514526" y="430812"/>
                  <a:pt x="11487263" y="430812"/>
                  <a:pt x="11459989" y="430812"/>
                </a:cubicBezTo>
                <a:cubicBezTo>
                  <a:pt x="11405417" y="430812"/>
                  <a:pt x="11378164" y="430812"/>
                  <a:pt x="11350876" y="481865"/>
                </a:cubicBezTo>
                <a:cubicBezTo>
                  <a:pt x="11320883" y="535470"/>
                  <a:pt x="11266304" y="535470"/>
                  <a:pt x="11211738" y="560996"/>
                </a:cubicBezTo>
                <a:cubicBezTo>
                  <a:pt x="11072597" y="535470"/>
                  <a:pt x="10963437" y="535470"/>
                  <a:pt x="10824282" y="509943"/>
                </a:cubicBezTo>
                <a:cubicBezTo>
                  <a:pt x="10769668" y="481865"/>
                  <a:pt x="10769668" y="481865"/>
                  <a:pt x="10796980" y="430812"/>
                </a:cubicBezTo>
                <a:cubicBezTo>
                  <a:pt x="10796980" y="430812"/>
                  <a:pt x="10796980" y="430812"/>
                  <a:pt x="10796980" y="405286"/>
                </a:cubicBezTo>
                <a:lnTo>
                  <a:pt x="10826990" y="409140"/>
                </a:lnTo>
                <a:lnTo>
                  <a:pt x="10787595" y="386980"/>
                </a:lnTo>
                <a:lnTo>
                  <a:pt x="10762076" y="365329"/>
                </a:lnTo>
                <a:lnTo>
                  <a:pt x="10779172" y="388392"/>
                </a:lnTo>
                <a:cubicBezTo>
                  <a:pt x="10751547" y="388392"/>
                  <a:pt x="10696347" y="361759"/>
                  <a:pt x="10638393" y="361759"/>
                </a:cubicBezTo>
                <a:cubicBezTo>
                  <a:pt x="10472811" y="361759"/>
                  <a:pt x="10304474" y="335122"/>
                  <a:pt x="10136130" y="335122"/>
                </a:cubicBezTo>
                <a:cubicBezTo>
                  <a:pt x="10108529" y="335122"/>
                  <a:pt x="10080935" y="335122"/>
                  <a:pt x="10053340" y="361759"/>
                </a:cubicBezTo>
                <a:cubicBezTo>
                  <a:pt x="10080935" y="388392"/>
                  <a:pt x="10108529" y="388392"/>
                  <a:pt x="10136130" y="388392"/>
                </a:cubicBezTo>
                <a:cubicBezTo>
                  <a:pt x="10163724" y="388392"/>
                  <a:pt x="10221681" y="388392"/>
                  <a:pt x="10249275" y="388392"/>
                </a:cubicBezTo>
                <a:cubicBezTo>
                  <a:pt x="10276873" y="415029"/>
                  <a:pt x="10304474" y="441666"/>
                  <a:pt x="10304474" y="441666"/>
                </a:cubicBezTo>
                <a:cubicBezTo>
                  <a:pt x="10276873" y="468303"/>
                  <a:pt x="10249275" y="468303"/>
                  <a:pt x="10221681" y="468303"/>
                </a:cubicBezTo>
                <a:cubicBezTo>
                  <a:pt x="10163724" y="468303"/>
                  <a:pt x="10080935" y="441666"/>
                  <a:pt x="10025739" y="441666"/>
                </a:cubicBezTo>
                <a:cubicBezTo>
                  <a:pt x="9967789" y="441666"/>
                  <a:pt x="9940192" y="441666"/>
                  <a:pt x="9940192" y="361759"/>
                </a:cubicBezTo>
                <a:cubicBezTo>
                  <a:pt x="9884996" y="388392"/>
                  <a:pt x="9884996" y="441666"/>
                  <a:pt x="9857402" y="468303"/>
                </a:cubicBezTo>
                <a:cubicBezTo>
                  <a:pt x="9829801" y="468303"/>
                  <a:pt x="9802208" y="497602"/>
                  <a:pt x="9774602" y="468303"/>
                </a:cubicBezTo>
                <a:cubicBezTo>
                  <a:pt x="9661372" y="441666"/>
                  <a:pt x="9550938" y="468303"/>
                  <a:pt x="9437872" y="441666"/>
                </a:cubicBezTo>
                <a:cubicBezTo>
                  <a:pt x="9410145" y="441666"/>
                  <a:pt x="9410145" y="441666"/>
                  <a:pt x="9382726" y="468303"/>
                </a:cubicBezTo>
                <a:cubicBezTo>
                  <a:pt x="9327370" y="497602"/>
                  <a:pt x="9272057" y="524239"/>
                  <a:pt x="9214097" y="524239"/>
                </a:cubicBezTo>
                <a:lnTo>
                  <a:pt x="9186496" y="524239"/>
                </a:lnTo>
                <a:cubicBezTo>
                  <a:pt x="9158913" y="524239"/>
                  <a:pt x="9158913" y="524239"/>
                  <a:pt x="9158913" y="524239"/>
                </a:cubicBezTo>
                <a:cubicBezTo>
                  <a:pt x="9103724" y="468303"/>
                  <a:pt x="9048618" y="524239"/>
                  <a:pt x="8993476" y="468303"/>
                </a:cubicBezTo>
                <a:cubicBezTo>
                  <a:pt x="8963174" y="441666"/>
                  <a:pt x="8963174" y="441666"/>
                  <a:pt x="8993476" y="415029"/>
                </a:cubicBezTo>
                <a:cubicBezTo>
                  <a:pt x="8993476" y="361759"/>
                  <a:pt x="8993476" y="335122"/>
                  <a:pt x="8935448" y="335122"/>
                </a:cubicBezTo>
                <a:cubicBezTo>
                  <a:pt x="8893822" y="348439"/>
                  <a:pt x="8859306" y="348439"/>
                  <a:pt x="8824555" y="345112"/>
                </a:cubicBezTo>
                <a:lnTo>
                  <a:pt x="8724502" y="336247"/>
                </a:lnTo>
                <a:lnTo>
                  <a:pt x="8714339" y="338058"/>
                </a:lnTo>
                <a:cubicBezTo>
                  <a:pt x="8686709" y="338058"/>
                  <a:pt x="8631322" y="338058"/>
                  <a:pt x="8603692" y="338058"/>
                </a:cubicBezTo>
                <a:cubicBezTo>
                  <a:pt x="8490397" y="338058"/>
                  <a:pt x="8406846" y="338058"/>
                  <a:pt x="8293516" y="338058"/>
                </a:cubicBezTo>
                <a:cubicBezTo>
                  <a:pt x="8238261" y="338058"/>
                  <a:pt x="8182716" y="338058"/>
                  <a:pt x="8127450" y="338058"/>
                </a:cubicBezTo>
                <a:cubicBezTo>
                  <a:pt x="8013807" y="338058"/>
                  <a:pt x="7875291" y="338058"/>
                  <a:pt x="7761669" y="338058"/>
                </a:cubicBezTo>
                <a:cubicBezTo>
                  <a:pt x="7678535" y="364955"/>
                  <a:pt x="7620339" y="338058"/>
                  <a:pt x="7537202" y="338058"/>
                </a:cubicBezTo>
                <a:cubicBezTo>
                  <a:pt x="7454071" y="338058"/>
                  <a:pt x="7395872" y="338058"/>
                  <a:pt x="7312734" y="338058"/>
                </a:cubicBezTo>
                <a:cubicBezTo>
                  <a:pt x="7229599" y="338058"/>
                  <a:pt x="7116006" y="311162"/>
                  <a:pt x="7032939" y="284265"/>
                </a:cubicBezTo>
                <a:cubicBezTo>
                  <a:pt x="7060586" y="254682"/>
                  <a:pt x="7088283" y="254682"/>
                  <a:pt x="7116006" y="254682"/>
                </a:cubicBezTo>
                <a:cubicBezTo>
                  <a:pt x="7201888" y="254682"/>
                  <a:pt x="7285025" y="227785"/>
                  <a:pt x="7368160" y="254682"/>
                </a:cubicBezTo>
                <a:cubicBezTo>
                  <a:pt x="7620339" y="254682"/>
                  <a:pt x="7875291" y="254682"/>
                  <a:pt x="8099639" y="227785"/>
                </a:cubicBezTo>
                <a:cubicBezTo>
                  <a:pt x="8210560" y="227785"/>
                  <a:pt x="8323929" y="227785"/>
                  <a:pt x="8462541" y="254682"/>
                </a:cubicBezTo>
                <a:cubicBezTo>
                  <a:pt x="8518059" y="254682"/>
                  <a:pt x="8575995" y="227785"/>
                  <a:pt x="8659051" y="200888"/>
                </a:cubicBezTo>
                <a:cubicBezTo>
                  <a:pt x="8700527" y="187440"/>
                  <a:pt x="8742662" y="180718"/>
                  <a:pt x="8784851" y="177355"/>
                </a:cubicBezTo>
                <a:lnTo>
                  <a:pt x="8814591" y="176561"/>
                </a:lnTo>
                <a:lnTo>
                  <a:pt x="8814925" y="175711"/>
                </a:lnTo>
                <a:cubicBezTo>
                  <a:pt x="8825279" y="168981"/>
                  <a:pt x="8839092" y="168981"/>
                  <a:pt x="8852900" y="168981"/>
                </a:cubicBezTo>
                <a:lnTo>
                  <a:pt x="8921316" y="168981"/>
                </a:lnTo>
                <a:lnTo>
                  <a:pt x="8925465" y="166988"/>
                </a:lnTo>
                <a:lnTo>
                  <a:pt x="8907779" y="166988"/>
                </a:lnTo>
                <a:cubicBezTo>
                  <a:pt x="8934718" y="140561"/>
                  <a:pt x="8991042" y="140561"/>
                  <a:pt x="9017742" y="140561"/>
                </a:cubicBezTo>
                <a:cubicBezTo>
                  <a:pt x="9044507" y="140561"/>
                  <a:pt x="9071201" y="140561"/>
                  <a:pt x="9098016" y="114134"/>
                </a:cubicBezTo>
                <a:cubicBezTo>
                  <a:pt x="9205015" y="114134"/>
                  <a:pt x="9261136" y="61277"/>
                  <a:pt x="9368345" y="87708"/>
                </a:cubicBezTo>
                <a:lnTo>
                  <a:pt x="9366727" y="89594"/>
                </a:lnTo>
                <a:lnTo>
                  <a:pt x="9394204" y="87708"/>
                </a:lnTo>
                <a:lnTo>
                  <a:pt x="9421495" y="87708"/>
                </a:lnTo>
                <a:lnTo>
                  <a:pt x="9485665" y="83142"/>
                </a:lnTo>
                <a:lnTo>
                  <a:pt x="9422398" y="83142"/>
                </a:lnTo>
                <a:cubicBezTo>
                  <a:pt x="9476472" y="72003"/>
                  <a:pt x="9506253" y="72003"/>
                  <a:pt x="9533394" y="72003"/>
                </a:cubicBezTo>
                <a:cubicBezTo>
                  <a:pt x="9641482" y="72003"/>
                  <a:pt x="9752485" y="72003"/>
                  <a:pt x="9860701" y="83142"/>
                </a:cubicBezTo>
                <a:cubicBezTo>
                  <a:pt x="9806605" y="83142"/>
                  <a:pt x="9779538" y="83142"/>
                  <a:pt x="9722709" y="83142"/>
                </a:cubicBezTo>
                <a:lnTo>
                  <a:pt x="9567216" y="83142"/>
                </a:lnTo>
                <a:lnTo>
                  <a:pt x="9632749" y="87708"/>
                </a:lnTo>
                <a:cubicBezTo>
                  <a:pt x="9705104" y="94313"/>
                  <a:pt x="9781033" y="100921"/>
                  <a:pt x="9864416" y="87708"/>
                </a:cubicBezTo>
                <a:lnTo>
                  <a:pt x="9891751" y="87708"/>
                </a:lnTo>
                <a:lnTo>
                  <a:pt x="9891925" y="87953"/>
                </a:lnTo>
                <a:close/>
                <a:moveTo>
                  <a:pt x="7231944" y="0"/>
                </a:moveTo>
                <a:cubicBezTo>
                  <a:pt x="7286873" y="0"/>
                  <a:pt x="7314339" y="0"/>
                  <a:pt x="7341798" y="0"/>
                </a:cubicBezTo>
                <a:cubicBezTo>
                  <a:pt x="7454395" y="0"/>
                  <a:pt x="7564251" y="26256"/>
                  <a:pt x="7676851" y="0"/>
                </a:cubicBezTo>
                <a:cubicBezTo>
                  <a:pt x="7731776" y="0"/>
                  <a:pt x="7786708" y="0"/>
                  <a:pt x="7814167" y="0"/>
                </a:cubicBezTo>
                <a:cubicBezTo>
                  <a:pt x="7899309" y="0"/>
                  <a:pt x="7954234" y="0"/>
                  <a:pt x="8009121" y="0"/>
                </a:cubicBezTo>
                <a:cubicBezTo>
                  <a:pt x="8036522" y="0"/>
                  <a:pt x="8063988" y="0"/>
                  <a:pt x="8063988" y="26256"/>
                </a:cubicBezTo>
                <a:cubicBezTo>
                  <a:pt x="8063988" y="26256"/>
                  <a:pt x="8036522" y="26256"/>
                  <a:pt x="8036522" y="55135"/>
                </a:cubicBezTo>
                <a:cubicBezTo>
                  <a:pt x="8094223" y="81391"/>
                  <a:pt x="8176613" y="81391"/>
                  <a:pt x="8231577" y="81391"/>
                </a:cubicBezTo>
                <a:lnTo>
                  <a:pt x="8179855" y="84722"/>
                </a:lnTo>
                <a:lnTo>
                  <a:pt x="8222293" y="84722"/>
                </a:lnTo>
                <a:cubicBezTo>
                  <a:pt x="8277385" y="84722"/>
                  <a:pt x="8335278" y="84722"/>
                  <a:pt x="8390366" y="84722"/>
                </a:cubicBezTo>
                <a:cubicBezTo>
                  <a:pt x="8417999" y="84722"/>
                  <a:pt x="8438835" y="78793"/>
                  <a:pt x="8456180" y="78793"/>
                </a:cubicBezTo>
                <a:lnTo>
                  <a:pt x="8463569" y="83651"/>
                </a:lnTo>
                <a:lnTo>
                  <a:pt x="8684246" y="75829"/>
                </a:lnTo>
                <a:cubicBezTo>
                  <a:pt x="8767559" y="72864"/>
                  <a:pt x="8850583" y="72864"/>
                  <a:pt x="8933220" y="84722"/>
                </a:cubicBezTo>
                <a:lnTo>
                  <a:pt x="8960857" y="84722"/>
                </a:lnTo>
                <a:cubicBezTo>
                  <a:pt x="8990992" y="84722"/>
                  <a:pt x="8990992" y="84722"/>
                  <a:pt x="8990992" y="108437"/>
                </a:cubicBezTo>
                <a:lnTo>
                  <a:pt x="8960857" y="108437"/>
                </a:lnTo>
                <a:cubicBezTo>
                  <a:pt x="8960857" y="108437"/>
                  <a:pt x="8960857" y="108437"/>
                  <a:pt x="8933220" y="108437"/>
                </a:cubicBezTo>
                <a:cubicBezTo>
                  <a:pt x="8795641" y="108437"/>
                  <a:pt x="8655791" y="132152"/>
                  <a:pt x="8515856" y="108437"/>
                </a:cubicBezTo>
                <a:cubicBezTo>
                  <a:pt x="8502198" y="96579"/>
                  <a:pt x="8488387" y="90651"/>
                  <a:pt x="8471106" y="87686"/>
                </a:cubicBezTo>
                <a:lnTo>
                  <a:pt x="8469604" y="87619"/>
                </a:lnTo>
                <a:lnTo>
                  <a:pt x="8501294" y="108437"/>
                </a:lnTo>
                <a:cubicBezTo>
                  <a:pt x="8445750" y="108437"/>
                  <a:pt x="8390366" y="132152"/>
                  <a:pt x="8362887" y="132152"/>
                </a:cubicBezTo>
                <a:cubicBezTo>
                  <a:pt x="8249840" y="132152"/>
                  <a:pt x="8166834" y="132152"/>
                  <a:pt x="8053679" y="132152"/>
                </a:cubicBezTo>
                <a:cubicBezTo>
                  <a:pt x="7860391" y="132152"/>
                  <a:pt x="7636613" y="132152"/>
                  <a:pt x="7440459" y="132152"/>
                </a:cubicBezTo>
                <a:cubicBezTo>
                  <a:pt x="7354818" y="132152"/>
                  <a:pt x="7244311" y="132152"/>
                  <a:pt x="7158678" y="132152"/>
                </a:cubicBezTo>
                <a:cubicBezTo>
                  <a:pt x="7131059" y="132152"/>
                  <a:pt x="7075814" y="132152"/>
                  <a:pt x="7020618" y="132152"/>
                </a:cubicBezTo>
                <a:cubicBezTo>
                  <a:pt x="6907381" y="132152"/>
                  <a:pt x="6769196" y="108437"/>
                  <a:pt x="6628457" y="132152"/>
                </a:cubicBezTo>
                <a:cubicBezTo>
                  <a:pt x="6600991" y="132152"/>
                  <a:pt x="6566472" y="132152"/>
                  <a:pt x="6531483" y="129188"/>
                </a:cubicBezTo>
                <a:lnTo>
                  <a:pt x="6503939" y="123405"/>
                </a:lnTo>
                <a:lnTo>
                  <a:pt x="6429106" y="118451"/>
                </a:lnTo>
                <a:cubicBezTo>
                  <a:pt x="6429106" y="92099"/>
                  <a:pt x="6401586" y="65750"/>
                  <a:pt x="6373890" y="65750"/>
                </a:cubicBezTo>
                <a:cubicBezTo>
                  <a:pt x="6318559" y="65750"/>
                  <a:pt x="6290865" y="65750"/>
                  <a:pt x="6235467" y="92099"/>
                </a:cubicBezTo>
                <a:lnTo>
                  <a:pt x="6263172" y="118451"/>
                </a:lnTo>
                <a:cubicBezTo>
                  <a:pt x="6263172" y="144800"/>
                  <a:pt x="6263172" y="144800"/>
                  <a:pt x="6235467" y="144800"/>
                </a:cubicBezTo>
                <a:lnTo>
                  <a:pt x="6180969" y="132152"/>
                </a:lnTo>
                <a:lnTo>
                  <a:pt x="6021496" y="132152"/>
                </a:lnTo>
                <a:lnTo>
                  <a:pt x="6009924" y="136031"/>
                </a:lnTo>
                <a:lnTo>
                  <a:pt x="6012447" y="145600"/>
                </a:lnTo>
                <a:lnTo>
                  <a:pt x="6013148" y="148159"/>
                </a:lnTo>
                <a:cubicBezTo>
                  <a:pt x="5985497" y="173849"/>
                  <a:pt x="5927736" y="148159"/>
                  <a:pt x="5900131" y="173849"/>
                </a:cubicBezTo>
                <a:lnTo>
                  <a:pt x="5872512" y="173849"/>
                </a:lnTo>
                <a:cubicBezTo>
                  <a:pt x="5704076" y="173849"/>
                  <a:pt x="5565988" y="199540"/>
                  <a:pt x="5397530" y="199540"/>
                </a:cubicBezTo>
                <a:cubicBezTo>
                  <a:pt x="5342306" y="199540"/>
                  <a:pt x="5256687" y="199540"/>
                  <a:pt x="5201467" y="199540"/>
                </a:cubicBezTo>
                <a:cubicBezTo>
                  <a:pt x="5146232" y="225233"/>
                  <a:pt x="5090998" y="225233"/>
                  <a:pt x="5063386" y="250924"/>
                </a:cubicBezTo>
                <a:cubicBezTo>
                  <a:pt x="5063386" y="279183"/>
                  <a:pt x="5033013" y="279183"/>
                  <a:pt x="5005401" y="250924"/>
                </a:cubicBezTo>
                <a:cubicBezTo>
                  <a:pt x="4894946" y="225233"/>
                  <a:pt x="4754125" y="225233"/>
                  <a:pt x="4643673" y="250924"/>
                </a:cubicBezTo>
                <a:cubicBezTo>
                  <a:pt x="4616062" y="250924"/>
                  <a:pt x="4585688" y="225233"/>
                  <a:pt x="4558076" y="225233"/>
                </a:cubicBezTo>
                <a:lnTo>
                  <a:pt x="4558076" y="219340"/>
                </a:lnTo>
                <a:lnTo>
                  <a:pt x="4549948" y="224045"/>
                </a:lnTo>
                <a:cubicBezTo>
                  <a:pt x="4549948" y="250301"/>
                  <a:pt x="4524030" y="279183"/>
                  <a:pt x="4498112" y="279183"/>
                </a:cubicBezTo>
                <a:lnTo>
                  <a:pt x="4483991" y="266308"/>
                </a:lnTo>
                <a:lnTo>
                  <a:pt x="4478963" y="279906"/>
                </a:lnTo>
                <a:cubicBezTo>
                  <a:pt x="4478963" y="306333"/>
                  <a:pt x="4478963" y="332763"/>
                  <a:pt x="4478963" y="332763"/>
                </a:cubicBezTo>
                <a:cubicBezTo>
                  <a:pt x="4396864" y="332763"/>
                  <a:pt x="4312025" y="359190"/>
                  <a:pt x="4229922" y="332763"/>
                </a:cubicBezTo>
                <a:cubicBezTo>
                  <a:pt x="4229922" y="332763"/>
                  <a:pt x="4202556" y="306333"/>
                  <a:pt x="4175189" y="332763"/>
                </a:cubicBezTo>
                <a:cubicBezTo>
                  <a:pt x="4161505" y="345976"/>
                  <a:pt x="4140296" y="352581"/>
                  <a:pt x="4115663" y="352581"/>
                </a:cubicBezTo>
                <a:lnTo>
                  <a:pt x="4091709" y="346649"/>
                </a:lnTo>
                <a:lnTo>
                  <a:pt x="4089830" y="347254"/>
                </a:lnTo>
                <a:cubicBezTo>
                  <a:pt x="4048367" y="340446"/>
                  <a:pt x="4006735" y="338745"/>
                  <a:pt x="3965400" y="340873"/>
                </a:cubicBezTo>
                <a:lnTo>
                  <a:pt x="3856156" y="355656"/>
                </a:lnTo>
                <a:lnTo>
                  <a:pt x="3841309" y="359190"/>
                </a:lnTo>
                <a:cubicBezTo>
                  <a:pt x="3813938" y="372403"/>
                  <a:pt x="3786572" y="379008"/>
                  <a:pt x="3755441" y="385617"/>
                </a:cubicBezTo>
                <a:lnTo>
                  <a:pt x="3743623" y="388496"/>
                </a:lnTo>
                <a:lnTo>
                  <a:pt x="3614392" y="428937"/>
                </a:lnTo>
                <a:cubicBezTo>
                  <a:pt x="3586752" y="428937"/>
                  <a:pt x="3559108" y="401709"/>
                  <a:pt x="3531467" y="428937"/>
                </a:cubicBezTo>
                <a:cubicBezTo>
                  <a:pt x="3476183" y="428937"/>
                  <a:pt x="3420885" y="401709"/>
                  <a:pt x="3362828" y="428937"/>
                </a:cubicBezTo>
                <a:lnTo>
                  <a:pt x="3361127" y="429716"/>
                </a:lnTo>
                <a:lnTo>
                  <a:pt x="3366835" y="428787"/>
                </a:lnTo>
                <a:cubicBezTo>
                  <a:pt x="3366835" y="454477"/>
                  <a:pt x="3340198" y="454477"/>
                  <a:pt x="3313558" y="480168"/>
                </a:cubicBezTo>
                <a:cubicBezTo>
                  <a:pt x="3340198" y="508427"/>
                  <a:pt x="3340198" y="508427"/>
                  <a:pt x="3366835" y="508427"/>
                </a:cubicBezTo>
                <a:cubicBezTo>
                  <a:pt x="3366835" y="534118"/>
                  <a:pt x="3366835" y="534118"/>
                  <a:pt x="3366835" y="534118"/>
                </a:cubicBezTo>
                <a:cubicBezTo>
                  <a:pt x="3313558" y="585502"/>
                  <a:pt x="3233644" y="585502"/>
                  <a:pt x="3180367" y="559811"/>
                </a:cubicBezTo>
                <a:cubicBezTo>
                  <a:pt x="3165715" y="559811"/>
                  <a:pt x="3158388" y="546964"/>
                  <a:pt x="3151399" y="534121"/>
                </a:cubicBezTo>
                <a:lnTo>
                  <a:pt x="3125979" y="509908"/>
                </a:lnTo>
                <a:lnTo>
                  <a:pt x="3111239" y="513345"/>
                </a:lnTo>
                <a:cubicBezTo>
                  <a:pt x="3028296" y="540573"/>
                  <a:pt x="2945354" y="567801"/>
                  <a:pt x="2831999" y="567801"/>
                </a:cubicBezTo>
                <a:cubicBezTo>
                  <a:pt x="2804351" y="540573"/>
                  <a:pt x="2776704" y="567801"/>
                  <a:pt x="2749056" y="567801"/>
                </a:cubicBezTo>
                <a:cubicBezTo>
                  <a:pt x="2721412" y="595028"/>
                  <a:pt x="2663352" y="595028"/>
                  <a:pt x="2693761" y="622259"/>
                </a:cubicBezTo>
                <a:cubicBezTo>
                  <a:pt x="2693761" y="649487"/>
                  <a:pt x="2721412" y="622259"/>
                  <a:pt x="2749056" y="622259"/>
                </a:cubicBezTo>
                <a:cubicBezTo>
                  <a:pt x="2776704" y="622259"/>
                  <a:pt x="2804351" y="595028"/>
                  <a:pt x="2804351" y="595028"/>
                </a:cubicBezTo>
                <a:cubicBezTo>
                  <a:pt x="2831999" y="622259"/>
                  <a:pt x="2831999" y="622259"/>
                  <a:pt x="2831999" y="622259"/>
                </a:cubicBezTo>
                <a:cubicBezTo>
                  <a:pt x="2859646" y="622259"/>
                  <a:pt x="2831999" y="649487"/>
                  <a:pt x="2831999" y="649487"/>
                </a:cubicBezTo>
                <a:cubicBezTo>
                  <a:pt x="2749056" y="676714"/>
                  <a:pt x="2663352" y="703942"/>
                  <a:pt x="2580410" y="676714"/>
                </a:cubicBezTo>
                <a:cubicBezTo>
                  <a:pt x="2552762" y="649487"/>
                  <a:pt x="2497467" y="676714"/>
                  <a:pt x="2469820" y="676714"/>
                </a:cubicBezTo>
                <a:cubicBezTo>
                  <a:pt x="2356464" y="703942"/>
                  <a:pt x="2273522" y="733892"/>
                  <a:pt x="2160121" y="703942"/>
                </a:cubicBezTo>
                <a:cubicBezTo>
                  <a:pt x="2132473" y="703942"/>
                  <a:pt x="2104833" y="733892"/>
                  <a:pt x="2077189" y="733892"/>
                </a:cubicBezTo>
                <a:cubicBezTo>
                  <a:pt x="2063367" y="733892"/>
                  <a:pt x="2056456" y="733892"/>
                  <a:pt x="2049545" y="737298"/>
                </a:cubicBezTo>
                <a:lnTo>
                  <a:pt x="2028584" y="755362"/>
                </a:lnTo>
                <a:lnTo>
                  <a:pt x="2021901" y="761120"/>
                </a:lnTo>
                <a:cubicBezTo>
                  <a:pt x="1991492" y="761120"/>
                  <a:pt x="1991492" y="761120"/>
                  <a:pt x="1963852" y="761120"/>
                </a:cubicBezTo>
                <a:lnTo>
                  <a:pt x="1949855" y="773322"/>
                </a:lnTo>
                <a:lnTo>
                  <a:pt x="1961040" y="771920"/>
                </a:lnTo>
                <a:cubicBezTo>
                  <a:pt x="1988307" y="798176"/>
                  <a:pt x="2018299" y="798176"/>
                  <a:pt x="2045566" y="824429"/>
                </a:cubicBezTo>
                <a:cubicBezTo>
                  <a:pt x="2072833" y="850685"/>
                  <a:pt x="2100100" y="850685"/>
                  <a:pt x="2127367" y="850685"/>
                </a:cubicBezTo>
                <a:cubicBezTo>
                  <a:pt x="2154633" y="876941"/>
                  <a:pt x="2181900" y="850685"/>
                  <a:pt x="2181900" y="798176"/>
                </a:cubicBezTo>
                <a:cubicBezTo>
                  <a:pt x="2209167" y="798176"/>
                  <a:pt x="2209167" y="771920"/>
                  <a:pt x="2239220" y="771920"/>
                </a:cubicBezTo>
                <a:cubicBezTo>
                  <a:pt x="2266490" y="771920"/>
                  <a:pt x="2266490" y="771920"/>
                  <a:pt x="2293760" y="771920"/>
                </a:cubicBezTo>
                <a:cubicBezTo>
                  <a:pt x="2307397" y="798173"/>
                  <a:pt x="2327849" y="804739"/>
                  <a:pt x="2351710" y="804739"/>
                </a:cubicBezTo>
                <a:lnTo>
                  <a:pt x="2424724" y="798625"/>
                </a:lnTo>
                <a:lnTo>
                  <a:pt x="2439200" y="786650"/>
                </a:lnTo>
                <a:cubicBezTo>
                  <a:pt x="2469481" y="786650"/>
                  <a:pt x="2497011" y="786650"/>
                  <a:pt x="2524542" y="786650"/>
                </a:cubicBezTo>
                <a:lnTo>
                  <a:pt x="2552072" y="786650"/>
                </a:lnTo>
                <a:cubicBezTo>
                  <a:pt x="2552072" y="773191"/>
                  <a:pt x="2558954" y="766458"/>
                  <a:pt x="2569278" y="766458"/>
                </a:cubicBezTo>
                <a:lnTo>
                  <a:pt x="2594787" y="780063"/>
                </a:lnTo>
                <a:lnTo>
                  <a:pt x="2704701" y="742550"/>
                </a:lnTo>
                <a:cubicBezTo>
                  <a:pt x="2756533" y="732661"/>
                  <a:pt x="2811774" y="725639"/>
                  <a:pt x="2866336" y="711600"/>
                </a:cubicBezTo>
                <a:cubicBezTo>
                  <a:pt x="2978186" y="686074"/>
                  <a:pt x="3087306" y="711600"/>
                  <a:pt x="3171876" y="686074"/>
                </a:cubicBezTo>
                <a:cubicBezTo>
                  <a:pt x="3199156" y="686074"/>
                  <a:pt x="3199156" y="686074"/>
                  <a:pt x="3226437" y="711600"/>
                </a:cubicBezTo>
                <a:cubicBezTo>
                  <a:pt x="3253715" y="711600"/>
                  <a:pt x="3253715" y="711600"/>
                  <a:pt x="3280996" y="739678"/>
                </a:cubicBezTo>
                <a:cubicBezTo>
                  <a:pt x="3280996" y="765205"/>
                  <a:pt x="3253715" y="765205"/>
                  <a:pt x="3226437" y="765205"/>
                </a:cubicBezTo>
                <a:cubicBezTo>
                  <a:pt x="3114588" y="790732"/>
                  <a:pt x="3005467" y="790732"/>
                  <a:pt x="2923625" y="790732"/>
                </a:cubicBezTo>
                <a:cubicBezTo>
                  <a:pt x="2811774" y="816258"/>
                  <a:pt x="2702654" y="816258"/>
                  <a:pt x="2590808" y="841785"/>
                </a:cubicBezTo>
                <a:cubicBezTo>
                  <a:pt x="2590808" y="867311"/>
                  <a:pt x="2563524" y="841785"/>
                  <a:pt x="2536246" y="841785"/>
                </a:cubicBezTo>
                <a:lnTo>
                  <a:pt x="2539008" y="839201"/>
                </a:lnTo>
                <a:lnTo>
                  <a:pt x="2524542" y="840486"/>
                </a:lnTo>
                <a:cubicBezTo>
                  <a:pt x="2497011" y="867404"/>
                  <a:pt x="2497011" y="867404"/>
                  <a:pt x="2497011" y="867404"/>
                </a:cubicBezTo>
                <a:cubicBezTo>
                  <a:pt x="2439200" y="894325"/>
                  <a:pt x="2384140" y="921243"/>
                  <a:pt x="2356610" y="950851"/>
                </a:cubicBezTo>
                <a:cubicBezTo>
                  <a:pt x="2246494" y="1004691"/>
                  <a:pt x="2133576" y="1031609"/>
                  <a:pt x="2023474" y="1004691"/>
                </a:cubicBezTo>
                <a:cubicBezTo>
                  <a:pt x="1965670" y="1031609"/>
                  <a:pt x="1910617" y="1004691"/>
                  <a:pt x="1883090" y="1058527"/>
                </a:cubicBezTo>
                <a:cubicBezTo>
                  <a:pt x="1855564" y="1085448"/>
                  <a:pt x="1800514" y="1058527"/>
                  <a:pt x="1800514" y="1085448"/>
                </a:cubicBezTo>
                <a:cubicBezTo>
                  <a:pt x="1770234" y="1085448"/>
                  <a:pt x="1742710" y="1085448"/>
                  <a:pt x="1742710" y="1085448"/>
                </a:cubicBezTo>
                <a:cubicBezTo>
                  <a:pt x="1715184" y="1085448"/>
                  <a:pt x="1715184" y="1085448"/>
                  <a:pt x="1715184" y="1085448"/>
                </a:cubicBezTo>
                <a:cubicBezTo>
                  <a:pt x="1687658" y="1085448"/>
                  <a:pt x="1687658" y="1085448"/>
                  <a:pt x="1687658" y="1085448"/>
                </a:cubicBezTo>
                <a:cubicBezTo>
                  <a:pt x="1687658" y="1112366"/>
                  <a:pt x="1660131" y="1112366"/>
                  <a:pt x="1660131" y="1112366"/>
                </a:cubicBezTo>
                <a:lnTo>
                  <a:pt x="1654049" y="1112366"/>
                </a:lnTo>
                <a:lnTo>
                  <a:pt x="1632604" y="1112366"/>
                </a:lnTo>
                <a:lnTo>
                  <a:pt x="1616185" y="1100893"/>
                </a:lnTo>
                <a:lnTo>
                  <a:pt x="1616185" y="1112366"/>
                </a:lnTo>
                <a:lnTo>
                  <a:pt x="1605046" y="1112366"/>
                </a:lnTo>
                <a:lnTo>
                  <a:pt x="1606078" y="1095082"/>
                </a:lnTo>
                <a:lnTo>
                  <a:pt x="1597911" y="1107808"/>
                </a:lnTo>
                <a:cubicBezTo>
                  <a:pt x="1594523" y="1117893"/>
                  <a:pt x="1594523" y="1124619"/>
                  <a:pt x="1594523" y="1124619"/>
                </a:cubicBezTo>
                <a:cubicBezTo>
                  <a:pt x="1567406" y="1181099"/>
                  <a:pt x="1537580" y="1234892"/>
                  <a:pt x="1483346" y="1207995"/>
                </a:cubicBezTo>
                <a:lnTo>
                  <a:pt x="1443577" y="1198134"/>
                </a:lnTo>
                <a:lnTo>
                  <a:pt x="1441769" y="1198134"/>
                </a:lnTo>
                <a:lnTo>
                  <a:pt x="1402001" y="1207995"/>
                </a:lnTo>
                <a:lnTo>
                  <a:pt x="1395792" y="1206331"/>
                </a:lnTo>
                <a:lnTo>
                  <a:pt x="1385882" y="1202095"/>
                </a:lnTo>
                <a:lnTo>
                  <a:pt x="1383063" y="1200048"/>
                </a:lnTo>
                <a:lnTo>
                  <a:pt x="1378273" y="1194547"/>
                </a:lnTo>
                <a:cubicBezTo>
                  <a:pt x="1374884" y="1187823"/>
                  <a:pt x="1374884" y="1181099"/>
                  <a:pt x="1374884" y="1181099"/>
                </a:cubicBezTo>
                <a:cubicBezTo>
                  <a:pt x="1374884" y="1181099"/>
                  <a:pt x="1374884" y="1181099"/>
                  <a:pt x="1347767" y="1151515"/>
                </a:cubicBezTo>
                <a:lnTo>
                  <a:pt x="1353852" y="1142462"/>
                </a:lnTo>
                <a:lnTo>
                  <a:pt x="1347767" y="1145370"/>
                </a:lnTo>
                <a:cubicBezTo>
                  <a:pt x="1347767" y="1145370"/>
                  <a:pt x="1347767" y="1145370"/>
                  <a:pt x="1318180" y="1145370"/>
                </a:cubicBezTo>
                <a:cubicBezTo>
                  <a:pt x="1318180" y="1173629"/>
                  <a:pt x="1318180" y="1173629"/>
                  <a:pt x="1291287" y="1173629"/>
                </a:cubicBezTo>
                <a:lnTo>
                  <a:pt x="1286475" y="1173629"/>
                </a:lnTo>
                <a:lnTo>
                  <a:pt x="1240027" y="1173629"/>
                </a:lnTo>
                <a:lnTo>
                  <a:pt x="1232173" y="1183216"/>
                </a:lnTo>
                <a:cubicBezTo>
                  <a:pt x="1205056" y="1209853"/>
                  <a:pt x="1150825" y="1236490"/>
                  <a:pt x="1123708" y="1316397"/>
                </a:cubicBezTo>
                <a:cubicBezTo>
                  <a:pt x="1123708" y="1343034"/>
                  <a:pt x="1093882" y="1369671"/>
                  <a:pt x="1039648" y="1316397"/>
                </a:cubicBezTo>
                <a:cubicBezTo>
                  <a:pt x="1012534" y="1316397"/>
                  <a:pt x="985417" y="1289764"/>
                  <a:pt x="958303" y="1289764"/>
                </a:cubicBezTo>
                <a:cubicBezTo>
                  <a:pt x="958303" y="1289764"/>
                  <a:pt x="931186" y="1289764"/>
                  <a:pt x="931186" y="1263127"/>
                </a:cubicBezTo>
                <a:lnTo>
                  <a:pt x="958303" y="1236490"/>
                </a:lnTo>
                <a:cubicBezTo>
                  <a:pt x="1066765" y="1209853"/>
                  <a:pt x="1150825" y="1183216"/>
                  <a:pt x="1259287" y="1127281"/>
                </a:cubicBezTo>
                <a:lnTo>
                  <a:pt x="1258913" y="1130274"/>
                </a:lnTo>
                <a:lnTo>
                  <a:pt x="1264390" y="1119679"/>
                </a:lnTo>
                <a:cubicBezTo>
                  <a:pt x="1264390" y="1119679"/>
                  <a:pt x="1264390" y="1119679"/>
                  <a:pt x="1264390" y="1093986"/>
                </a:cubicBezTo>
                <a:lnTo>
                  <a:pt x="1290560" y="1093986"/>
                </a:lnTo>
                <a:lnTo>
                  <a:pt x="1270849" y="1083057"/>
                </a:lnTo>
                <a:cubicBezTo>
                  <a:pt x="1267447" y="1076448"/>
                  <a:pt x="1267447" y="1069843"/>
                  <a:pt x="1267447" y="1069843"/>
                </a:cubicBezTo>
                <a:cubicBezTo>
                  <a:pt x="1240219" y="1043417"/>
                  <a:pt x="1240219" y="1043417"/>
                  <a:pt x="1240219" y="1043417"/>
                </a:cubicBezTo>
                <a:lnTo>
                  <a:pt x="1241497" y="1032250"/>
                </a:lnTo>
                <a:lnTo>
                  <a:pt x="1232479" y="1038851"/>
                </a:lnTo>
                <a:lnTo>
                  <a:pt x="1205561" y="1038851"/>
                </a:lnTo>
                <a:lnTo>
                  <a:pt x="1198056" y="1033068"/>
                </a:lnTo>
                <a:lnTo>
                  <a:pt x="1198063" y="1033086"/>
                </a:lnTo>
                <a:cubicBezTo>
                  <a:pt x="1117914" y="1033086"/>
                  <a:pt x="1061811" y="1033086"/>
                  <a:pt x="1008381" y="1059512"/>
                </a:cubicBezTo>
                <a:cubicBezTo>
                  <a:pt x="954947" y="1085939"/>
                  <a:pt x="928232" y="1085939"/>
                  <a:pt x="872129" y="1112366"/>
                </a:cubicBezTo>
                <a:lnTo>
                  <a:pt x="845414" y="1112366"/>
                </a:lnTo>
                <a:cubicBezTo>
                  <a:pt x="845414" y="1085939"/>
                  <a:pt x="845414" y="1085939"/>
                  <a:pt x="872129" y="1085939"/>
                </a:cubicBezTo>
                <a:cubicBezTo>
                  <a:pt x="954947" y="1033086"/>
                  <a:pt x="1061811" y="980229"/>
                  <a:pt x="1171344" y="980229"/>
                </a:cubicBezTo>
                <a:lnTo>
                  <a:pt x="1178202" y="988709"/>
                </a:lnTo>
                <a:lnTo>
                  <a:pt x="1178643" y="987011"/>
                </a:lnTo>
                <a:cubicBezTo>
                  <a:pt x="1286315" y="932581"/>
                  <a:pt x="1396681" y="906663"/>
                  <a:pt x="1504353" y="906663"/>
                </a:cubicBezTo>
                <a:cubicBezTo>
                  <a:pt x="1490894" y="906663"/>
                  <a:pt x="1484164" y="913144"/>
                  <a:pt x="1477435" y="919624"/>
                </a:cubicBezTo>
                <a:lnTo>
                  <a:pt x="1462528" y="926798"/>
                </a:lnTo>
                <a:lnTo>
                  <a:pt x="1515217" y="908638"/>
                </a:lnTo>
                <a:cubicBezTo>
                  <a:pt x="1515217" y="908638"/>
                  <a:pt x="1515217" y="882208"/>
                  <a:pt x="1542445" y="882208"/>
                </a:cubicBezTo>
                <a:lnTo>
                  <a:pt x="1547142" y="886354"/>
                </a:lnTo>
                <a:lnTo>
                  <a:pt x="1546584" y="876941"/>
                </a:lnTo>
                <a:cubicBezTo>
                  <a:pt x="1631110" y="824429"/>
                  <a:pt x="1712910" y="798176"/>
                  <a:pt x="1824707" y="771920"/>
                </a:cubicBezTo>
                <a:lnTo>
                  <a:pt x="1831230" y="773027"/>
                </a:lnTo>
                <a:lnTo>
                  <a:pt x="1825632" y="761120"/>
                </a:lnTo>
                <a:cubicBezTo>
                  <a:pt x="1936207" y="733892"/>
                  <a:pt x="2077189" y="676714"/>
                  <a:pt x="2215462" y="622259"/>
                </a:cubicBezTo>
                <a:cubicBezTo>
                  <a:pt x="2245875" y="622259"/>
                  <a:pt x="2273522" y="595028"/>
                  <a:pt x="2301170" y="595028"/>
                </a:cubicBezTo>
                <a:lnTo>
                  <a:pt x="2328817" y="595028"/>
                </a:lnTo>
                <a:cubicBezTo>
                  <a:pt x="2384112" y="567801"/>
                  <a:pt x="2439407" y="540573"/>
                  <a:pt x="2469820" y="513345"/>
                </a:cubicBezTo>
                <a:cubicBezTo>
                  <a:pt x="2525115" y="513345"/>
                  <a:pt x="2580410" y="513345"/>
                  <a:pt x="2608054" y="483395"/>
                </a:cubicBezTo>
                <a:cubicBezTo>
                  <a:pt x="2749056" y="456164"/>
                  <a:pt x="2859646" y="401709"/>
                  <a:pt x="3000649" y="401709"/>
                </a:cubicBezTo>
                <a:cubicBezTo>
                  <a:pt x="3169295" y="374482"/>
                  <a:pt x="3307533" y="320026"/>
                  <a:pt x="3448532" y="292799"/>
                </a:cubicBezTo>
                <a:lnTo>
                  <a:pt x="3547663" y="282906"/>
                </a:lnTo>
                <a:lnTo>
                  <a:pt x="3455421" y="279906"/>
                </a:lnTo>
                <a:cubicBezTo>
                  <a:pt x="3619634" y="250838"/>
                  <a:pt x="3786572" y="224411"/>
                  <a:pt x="3953514" y="197984"/>
                </a:cubicBezTo>
                <a:cubicBezTo>
                  <a:pt x="4090350" y="171554"/>
                  <a:pt x="4202556" y="171554"/>
                  <a:pt x="4312025" y="171554"/>
                </a:cubicBezTo>
                <a:lnTo>
                  <a:pt x="4324900" y="190686"/>
                </a:lnTo>
                <a:lnTo>
                  <a:pt x="4328472" y="171148"/>
                </a:lnTo>
                <a:cubicBezTo>
                  <a:pt x="4469636" y="144800"/>
                  <a:pt x="4580354" y="118451"/>
                  <a:pt x="4721516" y="118451"/>
                </a:cubicBezTo>
                <a:cubicBezTo>
                  <a:pt x="4862683" y="92099"/>
                  <a:pt x="4973397" y="92099"/>
                  <a:pt x="5114563" y="92099"/>
                </a:cubicBezTo>
                <a:cubicBezTo>
                  <a:pt x="5225307" y="92099"/>
                  <a:pt x="5338797" y="92099"/>
                  <a:pt x="5449522" y="92099"/>
                </a:cubicBezTo>
                <a:cubicBezTo>
                  <a:pt x="5618368" y="65750"/>
                  <a:pt x="5787235" y="65750"/>
                  <a:pt x="5983533" y="65750"/>
                </a:cubicBezTo>
                <a:cubicBezTo>
                  <a:pt x="6149610" y="36765"/>
                  <a:pt x="6346256" y="36765"/>
                  <a:pt x="6542739" y="36765"/>
                </a:cubicBezTo>
                <a:lnTo>
                  <a:pt x="6570461" y="36765"/>
                </a:lnTo>
                <a:cubicBezTo>
                  <a:pt x="6570461" y="65750"/>
                  <a:pt x="6542739" y="65750"/>
                  <a:pt x="6542739" y="65750"/>
                </a:cubicBezTo>
                <a:cubicBezTo>
                  <a:pt x="6515027" y="65750"/>
                  <a:pt x="6515027" y="65750"/>
                  <a:pt x="6515027" y="65750"/>
                </a:cubicBezTo>
                <a:cubicBezTo>
                  <a:pt x="6515027" y="92099"/>
                  <a:pt x="6542739" y="92099"/>
                  <a:pt x="6570461" y="92099"/>
                </a:cubicBezTo>
                <a:lnTo>
                  <a:pt x="6594151" y="92099"/>
                </a:lnTo>
                <a:lnTo>
                  <a:pt x="6628457" y="84722"/>
                </a:lnTo>
                <a:cubicBezTo>
                  <a:pt x="6741645" y="84722"/>
                  <a:pt x="6852057" y="84722"/>
                  <a:pt x="6935038" y="84722"/>
                </a:cubicBezTo>
                <a:cubicBezTo>
                  <a:pt x="7075814" y="84722"/>
                  <a:pt x="7216678" y="84722"/>
                  <a:pt x="7354818" y="84722"/>
                </a:cubicBezTo>
                <a:cubicBezTo>
                  <a:pt x="7440459" y="84722"/>
                  <a:pt x="7523341" y="84722"/>
                  <a:pt x="7606222" y="84722"/>
                </a:cubicBezTo>
                <a:lnTo>
                  <a:pt x="7625638" y="84722"/>
                </a:lnTo>
                <a:lnTo>
                  <a:pt x="7621300" y="84309"/>
                </a:lnTo>
                <a:cubicBezTo>
                  <a:pt x="7674940" y="60971"/>
                  <a:pt x="7751563" y="84309"/>
                  <a:pt x="7802648" y="84309"/>
                </a:cubicBezTo>
                <a:lnTo>
                  <a:pt x="7798409" y="84722"/>
                </a:lnTo>
                <a:lnTo>
                  <a:pt x="7802375" y="84722"/>
                </a:lnTo>
                <a:cubicBezTo>
                  <a:pt x="7860391" y="84722"/>
                  <a:pt x="7888021" y="84722"/>
                  <a:pt x="7915647" y="84722"/>
                </a:cubicBezTo>
                <a:lnTo>
                  <a:pt x="7978337" y="84722"/>
                </a:lnTo>
                <a:lnTo>
                  <a:pt x="7926768" y="81391"/>
                </a:lnTo>
                <a:cubicBezTo>
                  <a:pt x="7899309" y="55135"/>
                  <a:pt x="7871843" y="55135"/>
                  <a:pt x="7841633" y="55135"/>
                </a:cubicBezTo>
                <a:cubicBezTo>
                  <a:pt x="7704314" y="55135"/>
                  <a:pt x="7591713" y="26256"/>
                  <a:pt x="7481860" y="55135"/>
                </a:cubicBezTo>
                <a:cubicBezTo>
                  <a:pt x="7396726" y="55135"/>
                  <a:pt x="7314339" y="55135"/>
                  <a:pt x="7231944" y="55135"/>
                </a:cubicBezTo>
                <a:cubicBezTo>
                  <a:pt x="7231944" y="55135"/>
                  <a:pt x="7231944" y="26256"/>
                  <a:pt x="7204478" y="26256"/>
                </a:cubicBezTo>
                <a:cubicBezTo>
                  <a:pt x="7204478" y="0"/>
                  <a:pt x="7231944" y="0"/>
                  <a:pt x="7231944" y="0"/>
                </a:cubicBezTo>
                <a:close/>
              </a:path>
            </a:pathLst>
          </a:custGeom>
          <a:solidFill>
            <a:schemeClr val="bg1">
              <a:lumMod val="95000"/>
            </a:schemeClr>
          </a:solidFill>
        </p:spPr>
        <p:txBody>
          <a:bodyPr wrap="square">
            <a:noAutofit/>
          </a:bodyPr>
          <a:lstStyle>
            <a:lvl1pPr>
              <a:defRPr sz="1158"/>
            </a:lvl1pPr>
          </a:lstStyle>
          <a:p>
            <a:endParaRPr lang="en-US"/>
          </a:p>
        </p:txBody>
      </p:sp>
    </p:spTree>
    <p:extLst>
      <p:ext uri="{BB962C8B-B14F-4D97-AF65-F5344CB8AC3E}">
        <p14:creationId xmlns:p14="http://schemas.microsoft.com/office/powerpoint/2010/main" val="36840978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Logos">
    <p:spTree>
      <p:nvGrpSpPr>
        <p:cNvPr id="1" name=""/>
        <p:cNvGrpSpPr/>
        <p:nvPr/>
      </p:nvGrpSpPr>
      <p:grpSpPr>
        <a:xfrm>
          <a:off x="0" y="0"/>
          <a:ext cx="0" cy="0"/>
          <a:chOff x="0" y="0"/>
          <a:chExt cx="0" cy="0"/>
        </a:xfrm>
      </p:grpSpPr>
      <p:sp>
        <p:nvSpPr>
          <p:cNvPr id="6" name="Picture Placeholder 17"/>
          <p:cNvSpPr>
            <a:spLocks noGrp="1"/>
          </p:cNvSpPr>
          <p:nvPr>
            <p:ph type="pic" sz="quarter" idx="18"/>
          </p:nvPr>
        </p:nvSpPr>
        <p:spPr>
          <a:xfrm>
            <a:off x="5646598" y="2744323"/>
            <a:ext cx="2124874" cy="2873884"/>
          </a:xfrm>
          <a:solidFill>
            <a:schemeClr val="bg1">
              <a:lumMod val="95000"/>
            </a:schemeClr>
          </a:solidFill>
        </p:spPr>
        <p:txBody>
          <a:bodyPr>
            <a:normAutofit/>
          </a:bodyPr>
          <a:lstStyle>
            <a:lvl1pPr marL="0" indent="0">
              <a:buNone/>
              <a:defRPr sz="827">
                <a:solidFill>
                  <a:schemeClr val="tx1"/>
                </a:solidFill>
              </a:defRPr>
            </a:lvl1pPr>
          </a:lstStyle>
          <a:p>
            <a:endParaRPr lang="en-US"/>
          </a:p>
        </p:txBody>
      </p:sp>
    </p:spTree>
    <p:extLst>
      <p:ext uri="{BB962C8B-B14F-4D97-AF65-F5344CB8AC3E}">
        <p14:creationId xmlns:p14="http://schemas.microsoft.com/office/powerpoint/2010/main" val="24472304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Logos">
    <p:spTree>
      <p:nvGrpSpPr>
        <p:cNvPr id="1" name=""/>
        <p:cNvGrpSpPr/>
        <p:nvPr/>
      </p:nvGrpSpPr>
      <p:grpSpPr>
        <a:xfrm>
          <a:off x="0" y="0"/>
          <a:ext cx="0" cy="0"/>
          <a:chOff x="0" y="0"/>
          <a:chExt cx="0" cy="0"/>
        </a:xfrm>
      </p:grpSpPr>
      <p:sp>
        <p:nvSpPr>
          <p:cNvPr id="5" name="Picture Placeholder 17"/>
          <p:cNvSpPr>
            <a:spLocks noGrp="1"/>
          </p:cNvSpPr>
          <p:nvPr>
            <p:ph type="pic" sz="quarter" idx="19"/>
          </p:nvPr>
        </p:nvSpPr>
        <p:spPr>
          <a:xfrm>
            <a:off x="9614637" y="2026833"/>
            <a:ext cx="2582024" cy="3452032"/>
          </a:xfrm>
          <a:solidFill>
            <a:schemeClr val="bg1">
              <a:lumMod val="95000"/>
            </a:schemeClr>
          </a:solidFill>
        </p:spPr>
        <p:txBody>
          <a:bodyPr>
            <a:normAutofit/>
          </a:bodyPr>
          <a:lstStyle>
            <a:lvl1pPr marL="0" indent="0">
              <a:buNone/>
              <a:defRPr sz="827">
                <a:solidFill>
                  <a:schemeClr val="tx1"/>
                </a:solidFill>
              </a:defRPr>
            </a:lvl1pPr>
          </a:lstStyle>
          <a:p>
            <a:endParaRPr lang="en-US"/>
          </a:p>
        </p:txBody>
      </p:sp>
      <p:sp>
        <p:nvSpPr>
          <p:cNvPr id="8" name="Picture Placeholder 17"/>
          <p:cNvSpPr>
            <a:spLocks noGrp="1"/>
          </p:cNvSpPr>
          <p:nvPr>
            <p:ph type="pic" sz="quarter" idx="18"/>
          </p:nvPr>
        </p:nvSpPr>
        <p:spPr>
          <a:xfrm>
            <a:off x="7373661" y="2023308"/>
            <a:ext cx="2582024" cy="3455557"/>
          </a:xfrm>
          <a:solidFill>
            <a:schemeClr val="bg1">
              <a:lumMod val="95000"/>
            </a:schemeClr>
          </a:solidFill>
        </p:spPr>
        <p:txBody>
          <a:bodyPr>
            <a:normAutofit/>
          </a:bodyPr>
          <a:lstStyle>
            <a:lvl1pPr marL="0" indent="0">
              <a:buNone/>
              <a:defRPr sz="827">
                <a:solidFill>
                  <a:schemeClr val="tx1"/>
                </a:solidFill>
              </a:defRPr>
            </a:lvl1pPr>
          </a:lstStyle>
          <a:p>
            <a:endParaRPr lang="en-US"/>
          </a:p>
        </p:txBody>
      </p:sp>
    </p:spTree>
    <p:extLst>
      <p:ext uri="{BB962C8B-B14F-4D97-AF65-F5344CB8AC3E}">
        <p14:creationId xmlns:p14="http://schemas.microsoft.com/office/powerpoint/2010/main" val="7240910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Logo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3A2254-032B-45AB-B393-1883E6B44B5A}"/>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D63A2254-032B-45AB-B393-1883E6B44B5A}"/>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17"/>
          <p:cNvSpPr>
            <a:spLocks noGrp="1"/>
          </p:cNvSpPr>
          <p:nvPr>
            <p:ph type="pic" sz="quarter" idx="19"/>
          </p:nvPr>
        </p:nvSpPr>
        <p:spPr>
          <a:xfrm>
            <a:off x="3543970" y="2030357"/>
            <a:ext cx="2582024" cy="3452032"/>
          </a:xfrm>
          <a:solidFill>
            <a:schemeClr val="bg1">
              <a:lumMod val="95000"/>
            </a:schemeClr>
          </a:solidFill>
        </p:spPr>
        <p:txBody>
          <a:bodyPr>
            <a:normAutofit/>
          </a:bodyPr>
          <a:lstStyle>
            <a:lvl1pPr marL="0" indent="0">
              <a:buNone/>
              <a:defRPr sz="827">
                <a:solidFill>
                  <a:schemeClr val="tx1"/>
                </a:solidFill>
              </a:defRPr>
            </a:lvl1pPr>
          </a:lstStyle>
          <a:p>
            <a:endParaRPr lang="en-US"/>
          </a:p>
        </p:txBody>
      </p:sp>
      <p:sp>
        <p:nvSpPr>
          <p:cNvPr id="12" name="Picture Placeholder 17"/>
          <p:cNvSpPr>
            <a:spLocks noGrp="1"/>
          </p:cNvSpPr>
          <p:nvPr>
            <p:ph type="pic" sz="quarter" idx="18"/>
          </p:nvPr>
        </p:nvSpPr>
        <p:spPr>
          <a:xfrm>
            <a:off x="1302994" y="2026832"/>
            <a:ext cx="2582024" cy="3455557"/>
          </a:xfrm>
          <a:solidFill>
            <a:schemeClr val="bg1">
              <a:lumMod val="95000"/>
            </a:schemeClr>
          </a:solidFill>
        </p:spPr>
        <p:txBody>
          <a:bodyPr>
            <a:normAutofit/>
          </a:bodyPr>
          <a:lstStyle>
            <a:lvl1pPr marL="0" indent="0">
              <a:buNone/>
              <a:defRPr sz="827">
                <a:solidFill>
                  <a:schemeClr val="tx1"/>
                </a:solidFill>
              </a:defRPr>
            </a:lvl1pPr>
          </a:lstStyle>
          <a:p>
            <a:endParaRPr lang="en-US"/>
          </a:p>
        </p:txBody>
      </p:sp>
    </p:spTree>
    <p:extLst>
      <p:ext uri="{BB962C8B-B14F-4D97-AF65-F5344CB8AC3E}">
        <p14:creationId xmlns:p14="http://schemas.microsoft.com/office/powerpoint/2010/main" val="8464426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Portfolio Four">
    <p:spTree>
      <p:nvGrpSpPr>
        <p:cNvPr id="1" name=""/>
        <p:cNvGrpSpPr/>
        <p:nvPr/>
      </p:nvGrpSpPr>
      <p:grpSpPr>
        <a:xfrm>
          <a:off x="0" y="0"/>
          <a:ext cx="0" cy="0"/>
          <a:chOff x="0" y="0"/>
          <a:chExt cx="0" cy="0"/>
        </a:xfrm>
      </p:grpSpPr>
      <p:sp>
        <p:nvSpPr>
          <p:cNvPr id="10" name="Picture Placeholder 2"/>
          <p:cNvSpPr>
            <a:spLocks noGrp="1"/>
          </p:cNvSpPr>
          <p:nvPr>
            <p:ph type="pic" sz="quarter" idx="15"/>
          </p:nvPr>
        </p:nvSpPr>
        <p:spPr>
          <a:xfrm>
            <a:off x="2066863" y="2669411"/>
            <a:ext cx="1841267" cy="2453521"/>
          </a:xfrm>
          <a:solidFill>
            <a:schemeClr val="bg1">
              <a:lumMod val="95000"/>
            </a:schemeClr>
          </a:solidFill>
        </p:spPr>
        <p:txBody>
          <a:bodyPr>
            <a:normAutofit/>
          </a:bodyPr>
          <a:lstStyle>
            <a:lvl1pPr>
              <a:defRPr sz="1158"/>
            </a:lvl1pPr>
          </a:lstStyle>
          <a:p>
            <a:endParaRPr lang="en-US"/>
          </a:p>
        </p:txBody>
      </p:sp>
      <p:sp>
        <p:nvSpPr>
          <p:cNvPr id="11" name="Picture Placeholder 2"/>
          <p:cNvSpPr>
            <a:spLocks noGrp="1"/>
          </p:cNvSpPr>
          <p:nvPr>
            <p:ph type="pic" sz="quarter" idx="16"/>
          </p:nvPr>
        </p:nvSpPr>
        <p:spPr>
          <a:xfrm>
            <a:off x="5769968" y="2669411"/>
            <a:ext cx="1841267" cy="2453521"/>
          </a:xfrm>
          <a:solidFill>
            <a:schemeClr val="bg1">
              <a:lumMod val="95000"/>
            </a:schemeClr>
          </a:solidFill>
        </p:spPr>
        <p:txBody>
          <a:bodyPr>
            <a:normAutofit/>
          </a:bodyPr>
          <a:lstStyle>
            <a:lvl1pPr>
              <a:defRPr sz="1158"/>
            </a:lvl1pPr>
          </a:lstStyle>
          <a:p>
            <a:endParaRPr lang="en-US"/>
          </a:p>
        </p:txBody>
      </p:sp>
      <p:sp>
        <p:nvSpPr>
          <p:cNvPr id="12" name="Picture Placeholder 2"/>
          <p:cNvSpPr>
            <a:spLocks noGrp="1"/>
          </p:cNvSpPr>
          <p:nvPr>
            <p:ph type="pic" sz="quarter" idx="17"/>
          </p:nvPr>
        </p:nvSpPr>
        <p:spPr>
          <a:xfrm>
            <a:off x="9474317" y="2669411"/>
            <a:ext cx="1841267" cy="2453521"/>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191250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1 line + square on lef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36B61932-937A-D74F-BB21-13EEB60E3EE3}"/>
              </a:ext>
            </a:extLst>
          </p:cNvPr>
          <p:cNvSpPr>
            <a:spLocks noGrp="1"/>
          </p:cNvSpPr>
          <p:nvPr>
            <p:ph type="body" sz="quarter" idx="14" hasCustomPrompt="1"/>
          </p:nvPr>
        </p:nvSpPr>
        <p:spPr>
          <a:xfrm>
            <a:off x="598881" y="835088"/>
            <a:ext cx="11881818" cy="923330"/>
          </a:xfrm>
          <a:prstGeom prst="rect">
            <a:avLst/>
          </a:prstGeom>
        </p:spPr>
        <p:txBody>
          <a:bodyPr/>
          <a:lstStyle>
            <a:lvl1pP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5" name="Text Placeholder 4">
            <a:extLst>
              <a:ext uri="{FF2B5EF4-FFF2-40B4-BE49-F238E27FC236}">
                <a16:creationId xmlns:a16="http://schemas.microsoft.com/office/drawing/2014/main" id="{E2328486-014B-AF42-BCF6-C90E599630C4}"/>
              </a:ext>
            </a:extLst>
          </p:cNvPr>
          <p:cNvSpPr>
            <a:spLocks noGrp="1"/>
          </p:cNvSpPr>
          <p:nvPr>
            <p:ph type="body" sz="quarter" idx="18" hasCustomPrompt="1"/>
          </p:nvPr>
        </p:nvSpPr>
        <p:spPr>
          <a:xfrm>
            <a:off x="598488"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14" name="Text Placeholder 4">
            <a:extLst>
              <a:ext uri="{FF2B5EF4-FFF2-40B4-BE49-F238E27FC236}">
                <a16:creationId xmlns:a16="http://schemas.microsoft.com/office/drawing/2014/main" id="{90447282-D7AE-E243-9237-B548EE0D333D}"/>
              </a:ext>
            </a:extLst>
          </p:cNvPr>
          <p:cNvSpPr>
            <a:spLocks noGrp="1"/>
          </p:cNvSpPr>
          <p:nvPr>
            <p:ph type="body" sz="quarter" idx="19" hasCustomPrompt="1"/>
          </p:nvPr>
        </p:nvSpPr>
        <p:spPr>
          <a:xfrm>
            <a:off x="4650664"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15" name="Text Placeholder 4">
            <a:extLst>
              <a:ext uri="{FF2B5EF4-FFF2-40B4-BE49-F238E27FC236}">
                <a16:creationId xmlns:a16="http://schemas.microsoft.com/office/drawing/2014/main" id="{A4F97880-8FDE-C24B-A061-DC5EC07C9A36}"/>
              </a:ext>
            </a:extLst>
          </p:cNvPr>
          <p:cNvSpPr>
            <a:spLocks noGrp="1"/>
          </p:cNvSpPr>
          <p:nvPr>
            <p:ph type="body" sz="quarter" idx="20" hasCustomPrompt="1"/>
          </p:nvPr>
        </p:nvSpPr>
        <p:spPr>
          <a:xfrm>
            <a:off x="8702652" y="259715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5" name="Text Placeholder 4">
            <a:extLst>
              <a:ext uri="{FF2B5EF4-FFF2-40B4-BE49-F238E27FC236}">
                <a16:creationId xmlns:a16="http://schemas.microsoft.com/office/drawing/2014/main" id="{62301C60-2709-F04A-A9B3-A31C3AC06B6E}"/>
              </a:ext>
            </a:extLst>
          </p:cNvPr>
          <p:cNvSpPr>
            <a:spLocks noGrp="1"/>
          </p:cNvSpPr>
          <p:nvPr>
            <p:ph type="body" sz="quarter" idx="24" hasCustomPrompt="1"/>
          </p:nvPr>
        </p:nvSpPr>
        <p:spPr>
          <a:xfrm>
            <a:off x="598285"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6" name="Text Placeholder 4">
            <a:extLst>
              <a:ext uri="{FF2B5EF4-FFF2-40B4-BE49-F238E27FC236}">
                <a16:creationId xmlns:a16="http://schemas.microsoft.com/office/drawing/2014/main" id="{F30E22FA-D435-ED46-A79A-4E4CB7683430}"/>
              </a:ext>
            </a:extLst>
          </p:cNvPr>
          <p:cNvSpPr>
            <a:spLocks noGrp="1"/>
          </p:cNvSpPr>
          <p:nvPr>
            <p:ph type="body" sz="quarter" idx="25" hasCustomPrompt="1"/>
          </p:nvPr>
        </p:nvSpPr>
        <p:spPr>
          <a:xfrm>
            <a:off x="4650461"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27" name="Text Placeholder 4">
            <a:extLst>
              <a:ext uri="{FF2B5EF4-FFF2-40B4-BE49-F238E27FC236}">
                <a16:creationId xmlns:a16="http://schemas.microsoft.com/office/drawing/2014/main" id="{5164005C-D1C7-1244-AB04-588168A53E77}"/>
              </a:ext>
            </a:extLst>
          </p:cNvPr>
          <p:cNvSpPr>
            <a:spLocks noGrp="1"/>
          </p:cNvSpPr>
          <p:nvPr>
            <p:ph type="body" sz="quarter" idx="26" hasCustomPrompt="1"/>
          </p:nvPr>
        </p:nvSpPr>
        <p:spPr>
          <a:xfrm>
            <a:off x="8702449" y="424904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1" name="Text Placeholder 4">
            <a:extLst>
              <a:ext uri="{FF2B5EF4-FFF2-40B4-BE49-F238E27FC236}">
                <a16:creationId xmlns:a16="http://schemas.microsoft.com/office/drawing/2014/main" id="{688E290D-44E1-1A4A-BF51-C85F24ECAAE1}"/>
              </a:ext>
            </a:extLst>
          </p:cNvPr>
          <p:cNvSpPr>
            <a:spLocks noGrp="1"/>
          </p:cNvSpPr>
          <p:nvPr>
            <p:ph type="body" sz="quarter" idx="30" hasCustomPrompt="1"/>
          </p:nvPr>
        </p:nvSpPr>
        <p:spPr>
          <a:xfrm>
            <a:off x="598285"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2" name="Text Placeholder 4">
            <a:extLst>
              <a:ext uri="{FF2B5EF4-FFF2-40B4-BE49-F238E27FC236}">
                <a16:creationId xmlns:a16="http://schemas.microsoft.com/office/drawing/2014/main" id="{C1EDC695-027A-E448-B48A-5F7114596452}"/>
              </a:ext>
            </a:extLst>
          </p:cNvPr>
          <p:cNvSpPr>
            <a:spLocks noGrp="1"/>
          </p:cNvSpPr>
          <p:nvPr>
            <p:ph type="body" sz="quarter" idx="31" hasCustomPrompt="1"/>
          </p:nvPr>
        </p:nvSpPr>
        <p:spPr>
          <a:xfrm>
            <a:off x="4650461"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3" name="Text Placeholder 4">
            <a:extLst>
              <a:ext uri="{FF2B5EF4-FFF2-40B4-BE49-F238E27FC236}">
                <a16:creationId xmlns:a16="http://schemas.microsoft.com/office/drawing/2014/main" id="{B3A6708A-A895-B14D-8776-2DFC58326117}"/>
              </a:ext>
            </a:extLst>
          </p:cNvPr>
          <p:cNvSpPr>
            <a:spLocks noGrp="1"/>
          </p:cNvSpPr>
          <p:nvPr>
            <p:ph type="body" sz="quarter" idx="32" hasCustomPrompt="1"/>
          </p:nvPr>
        </p:nvSpPr>
        <p:spPr>
          <a:xfrm>
            <a:off x="8702449" y="5878490"/>
            <a:ext cx="3778250" cy="804418"/>
          </a:xfrm>
          <a:prstGeom prst="rect">
            <a:avLst/>
          </a:prstGeom>
        </p:spPr>
        <p:txBody>
          <a:bodyPr/>
          <a:lstStyle>
            <a:lvl1pPr>
              <a:defRPr sz="1200">
                <a:solidFill>
                  <a:schemeClr val="tx1"/>
                </a:solidFill>
              </a:defRPr>
            </a:lvl1pPr>
          </a:lstStyle>
          <a:p>
            <a:pPr lvl="0"/>
            <a:r>
              <a:rPr lang="en-US"/>
              <a:t>Insert body text here</a:t>
            </a:r>
          </a:p>
        </p:txBody>
      </p:sp>
      <p:sp>
        <p:nvSpPr>
          <p:cNvPr id="35" name="Text Placeholder 34">
            <a:extLst>
              <a:ext uri="{FF2B5EF4-FFF2-40B4-BE49-F238E27FC236}">
                <a16:creationId xmlns:a16="http://schemas.microsoft.com/office/drawing/2014/main" id="{AE9032EA-0E73-5947-AA72-C407B5545574}"/>
              </a:ext>
            </a:extLst>
          </p:cNvPr>
          <p:cNvSpPr>
            <a:spLocks noGrp="1"/>
          </p:cNvSpPr>
          <p:nvPr>
            <p:ph type="body" sz="quarter" idx="33" hasCustomPrompt="1"/>
          </p:nvPr>
        </p:nvSpPr>
        <p:spPr>
          <a:xfrm>
            <a:off x="598285"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7" name="Text Placeholder 34">
            <a:extLst>
              <a:ext uri="{FF2B5EF4-FFF2-40B4-BE49-F238E27FC236}">
                <a16:creationId xmlns:a16="http://schemas.microsoft.com/office/drawing/2014/main" id="{B2DD048A-2C0C-C442-8692-643C9F3BC8C7}"/>
              </a:ext>
            </a:extLst>
          </p:cNvPr>
          <p:cNvSpPr>
            <a:spLocks noGrp="1"/>
          </p:cNvSpPr>
          <p:nvPr>
            <p:ph type="body" sz="quarter" idx="34" hasCustomPrompt="1"/>
          </p:nvPr>
        </p:nvSpPr>
        <p:spPr>
          <a:xfrm>
            <a:off x="4650461"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8" name="Text Placeholder 34">
            <a:extLst>
              <a:ext uri="{FF2B5EF4-FFF2-40B4-BE49-F238E27FC236}">
                <a16:creationId xmlns:a16="http://schemas.microsoft.com/office/drawing/2014/main" id="{B592F973-9EFE-C543-A1FE-8CD2342F13BD}"/>
              </a:ext>
            </a:extLst>
          </p:cNvPr>
          <p:cNvSpPr>
            <a:spLocks noGrp="1"/>
          </p:cNvSpPr>
          <p:nvPr>
            <p:ph type="body" sz="quarter" idx="35" hasCustomPrompt="1"/>
          </p:nvPr>
        </p:nvSpPr>
        <p:spPr>
          <a:xfrm>
            <a:off x="8702449" y="200185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39" name="Text Placeholder 34">
            <a:extLst>
              <a:ext uri="{FF2B5EF4-FFF2-40B4-BE49-F238E27FC236}">
                <a16:creationId xmlns:a16="http://schemas.microsoft.com/office/drawing/2014/main" id="{6B5069F5-D1DD-E14F-8D9E-2BEE7E736B33}"/>
              </a:ext>
            </a:extLst>
          </p:cNvPr>
          <p:cNvSpPr>
            <a:spLocks noGrp="1"/>
          </p:cNvSpPr>
          <p:nvPr>
            <p:ph type="body" sz="quarter" idx="36" hasCustomPrompt="1"/>
          </p:nvPr>
        </p:nvSpPr>
        <p:spPr>
          <a:xfrm>
            <a:off x="598285"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0" name="Text Placeholder 34">
            <a:extLst>
              <a:ext uri="{FF2B5EF4-FFF2-40B4-BE49-F238E27FC236}">
                <a16:creationId xmlns:a16="http://schemas.microsoft.com/office/drawing/2014/main" id="{BC78C847-B777-9440-844F-89816896D872}"/>
              </a:ext>
            </a:extLst>
          </p:cNvPr>
          <p:cNvSpPr>
            <a:spLocks noGrp="1"/>
          </p:cNvSpPr>
          <p:nvPr>
            <p:ph type="body" sz="quarter" idx="37" hasCustomPrompt="1"/>
          </p:nvPr>
        </p:nvSpPr>
        <p:spPr>
          <a:xfrm>
            <a:off x="4650367"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1" name="Text Placeholder 34">
            <a:extLst>
              <a:ext uri="{FF2B5EF4-FFF2-40B4-BE49-F238E27FC236}">
                <a16:creationId xmlns:a16="http://schemas.microsoft.com/office/drawing/2014/main" id="{9AFB8256-8920-C244-9AC9-B5A66F4457C9}"/>
              </a:ext>
            </a:extLst>
          </p:cNvPr>
          <p:cNvSpPr>
            <a:spLocks noGrp="1"/>
          </p:cNvSpPr>
          <p:nvPr>
            <p:ph type="body" sz="quarter" idx="38" hasCustomPrompt="1"/>
          </p:nvPr>
        </p:nvSpPr>
        <p:spPr>
          <a:xfrm>
            <a:off x="8702449" y="365374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2" name="Text Placeholder 34">
            <a:extLst>
              <a:ext uri="{FF2B5EF4-FFF2-40B4-BE49-F238E27FC236}">
                <a16:creationId xmlns:a16="http://schemas.microsoft.com/office/drawing/2014/main" id="{1B17FAFC-AD51-CC4C-B314-81A11E74F193}"/>
              </a:ext>
            </a:extLst>
          </p:cNvPr>
          <p:cNvSpPr>
            <a:spLocks noGrp="1"/>
          </p:cNvSpPr>
          <p:nvPr>
            <p:ph type="body" sz="quarter" idx="39" hasCustomPrompt="1"/>
          </p:nvPr>
        </p:nvSpPr>
        <p:spPr>
          <a:xfrm>
            <a:off x="598285"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3" name="Text Placeholder 34">
            <a:extLst>
              <a:ext uri="{FF2B5EF4-FFF2-40B4-BE49-F238E27FC236}">
                <a16:creationId xmlns:a16="http://schemas.microsoft.com/office/drawing/2014/main" id="{FC5DC37F-DF25-C646-9C7D-D0455901A01C}"/>
              </a:ext>
            </a:extLst>
          </p:cNvPr>
          <p:cNvSpPr>
            <a:spLocks noGrp="1"/>
          </p:cNvSpPr>
          <p:nvPr>
            <p:ph type="body" sz="quarter" idx="40" hasCustomPrompt="1"/>
          </p:nvPr>
        </p:nvSpPr>
        <p:spPr>
          <a:xfrm>
            <a:off x="4650367"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
        <p:nvSpPr>
          <p:cNvPr id="44" name="Text Placeholder 34">
            <a:extLst>
              <a:ext uri="{FF2B5EF4-FFF2-40B4-BE49-F238E27FC236}">
                <a16:creationId xmlns:a16="http://schemas.microsoft.com/office/drawing/2014/main" id="{EED8F8C7-57FC-CF4B-A7E6-565078D97435}"/>
              </a:ext>
            </a:extLst>
          </p:cNvPr>
          <p:cNvSpPr>
            <a:spLocks noGrp="1"/>
          </p:cNvSpPr>
          <p:nvPr>
            <p:ph type="body" sz="quarter" idx="41" hasCustomPrompt="1"/>
          </p:nvPr>
        </p:nvSpPr>
        <p:spPr>
          <a:xfrm>
            <a:off x="8702449" y="5296890"/>
            <a:ext cx="3778250" cy="414337"/>
          </a:xfrm>
          <a:prstGeom prst="round1Rect">
            <a:avLst/>
          </a:prstGeom>
          <a:solidFill>
            <a:schemeClr val="accent1"/>
          </a:solidFill>
        </p:spPr>
        <p:txBody>
          <a:bodyPr/>
          <a:lstStyle>
            <a:lvl1pPr>
              <a:defRPr sz="2000">
                <a:solidFill>
                  <a:schemeClr val="bg2"/>
                </a:solidFill>
                <a:latin typeface="Palatino" pitchFamily="2" charset="77"/>
                <a:ea typeface="Palatino" pitchFamily="2" charset="77"/>
              </a:defRPr>
            </a:lvl1pPr>
            <a:lvl2pPr>
              <a:defRPr sz="2000">
                <a:solidFill>
                  <a:schemeClr val="bg2"/>
                </a:solidFill>
                <a:latin typeface="Palatino" pitchFamily="2" charset="77"/>
                <a:ea typeface="Palatino" pitchFamily="2" charset="77"/>
              </a:defRPr>
            </a:lvl2pPr>
            <a:lvl3pPr>
              <a:defRPr sz="2000">
                <a:solidFill>
                  <a:schemeClr val="bg2"/>
                </a:solidFill>
                <a:latin typeface="Palatino" pitchFamily="2" charset="77"/>
                <a:ea typeface="Palatino" pitchFamily="2" charset="77"/>
              </a:defRPr>
            </a:lvl3pPr>
            <a:lvl4pPr>
              <a:defRPr sz="2000">
                <a:solidFill>
                  <a:schemeClr val="bg2"/>
                </a:solidFill>
                <a:latin typeface="Palatino" pitchFamily="2" charset="77"/>
                <a:ea typeface="Palatino" pitchFamily="2" charset="77"/>
              </a:defRPr>
            </a:lvl4pPr>
            <a:lvl5pPr>
              <a:defRPr sz="2000">
                <a:solidFill>
                  <a:schemeClr val="bg2"/>
                </a:solidFill>
                <a:latin typeface="Palatino" pitchFamily="2" charset="77"/>
                <a:ea typeface="Palatino" pitchFamily="2" charset="77"/>
              </a:defRPr>
            </a:lvl5pPr>
          </a:lstStyle>
          <a:p>
            <a:pPr lvl="0"/>
            <a:r>
              <a:rPr lang="en-US"/>
              <a:t>Heading</a:t>
            </a:r>
          </a:p>
        </p:txBody>
      </p:sp>
    </p:spTree>
    <p:extLst>
      <p:ext uri="{BB962C8B-B14F-4D97-AF65-F5344CB8AC3E}">
        <p14:creationId xmlns:p14="http://schemas.microsoft.com/office/powerpoint/2010/main" val="36657766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Placeholder Slide">
    <p:spTree>
      <p:nvGrpSpPr>
        <p:cNvPr id="1" name=""/>
        <p:cNvGrpSpPr/>
        <p:nvPr/>
      </p:nvGrpSpPr>
      <p:grpSpPr>
        <a:xfrm>
          <a:off x="0" y="0"/>
          <a:ext cx="0" cy="0"/>
          <a:chOff x="0" y="0"/>
          <a:chExt cx="0" cy="0"/>
        </a:xfrm>
      </p:grpSpPr>
      <p:sp>
        <p:nvSpPr>
          <p:cNvPr id="7" name="Picture Placeholder 8"/>
          <p:cNvSpPr>
            <a:spLocks noGrp="1"/>
          </p:cNvSpPr>
          <p:nvPr>
            <p:ph type="pic" sz="quarter" idx="12"/>
          </p:nvPr>
        </p:nvSpPr>
        <p:spPr>
          <a:xfrm>
            <a:off x="4369753" y="3412979"/>
            <a:ext cx="4690004" cy="4128265"/>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7902383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_Placeholder Slide">
    <p:spTree>
      <p:nvGrpSpPr>
        <p:cNvPr id="1" name=""/>
        <p:cNvGrpSpPr/>
        <p:nvPr/>
      </p:nvGrpSpPr>
      <p:grpSpPr>
        <a:xfrm>
          <a:off x="0" y="0"/>
          <a:ext cx="0" cy="0"/>
          <a:chOff x="0" y="0"/>
          <a:chExt cx="0" cy="0"/>
        </a:xfrm>
      </p:grpSpPr>
      <p:sp>
        <p:nvSpPr>
          <p:cNvPr id="6" name="Picture Placeholder 8"/>
          <p:cNvSpPr>
            <a:spLocks noGrp="1"/>
          </p:cNvSpPr>
          <p:nvPr>
            <p:ph type="pic" sz="quarter" idx="12"/>
          </p:nvPr>
        </p:nvSpPr>
        <p:spPr>
          <a:xfrm>
            <a:off x="5634264" y="2757725"/>
            <a:ext cx="2130396" cy="2836290"/>
          </a:xfrm>
          <a:prstGeom prst="rect">
            <a:avLst/>
          </a:prstGeom>
          <a:solidFill>
            <a:schemeClr val="bg1">
              <a:lumMod val="95000"/>
            </a:schemeClr>
          </a:solidFill>
        </p:spPr>
        <p:txBody>
          <a:bodyPr>
            <a:normAutofit/>
          </a:bodyPr>
          <a:lstStyle>
            <a:lvl1pPr>
              <a:defRPr sz="1158"/>
            </a:lvl1pPr>
          </a:lstStyle>
          <a:p>
            <a:endParaRPr lang="en-US"/>
          </a:p>
        </p:txBody>
      </p:sp>
      <p:sp>
        <p:nvSpPr>
          <p:cNvPr id="9" name="Picture Placeholder 8"/>
          <p:cNvSpPr>
            <a:spLocks noGrp="1"/>
          </p:cNvSpPr>
          <p:nvPr>
            <p:ph type="pic" sz="quarter" idx="13"/>
          </p:nvPr>
        </p:nvSpPr>
        <p:spPr>
          <a:xfrm>
            <a:off x="8347995" y="2738609"/>
            <a:ext cx="2161292" cy="2883436"/>
          </a:xfrm>
          <a:prstGeom prst="rect">
            <a:avLst/>
          </a:prstGeom>
          <a:solidFill>
            <a:schemeClr val="bg1">
              <a:lumMod val="95000"/>
            </a:schemeClr>
          </a:solidFill>
        </p:spPr>
        <p:txBody>
          <a:bodyPr>
            <a:normAutofit/>
          </a:bodyPr>
          <a:lstStyle>
            <a:lvl1pPr>
              <a:defRPr sz="1158"/>
            </a:lvl1pPr>
          </a:lstStyle>
          <a:p>
            <a:endParaRPr lang="en-US"/>
          </a:p>
        </p:txBody>
      </p:sp>
      <p:sp>
        <p:nvSpPr>
          <p:cNvPr id="10" name="Picture Placeholder 8"/>
          <p:cNvSpPr>
            <a:spLocks noGrp="1"/>
          </p:cNvSpPr>
          <p:nvPr>
            <p:ph type="pic" sz="quarter" idx="14"/>
          </p:nvPr>
        </p:nvSpPr>
        <p:spPr>
          <a:xfrm>
            <a:off x="2931002" y="2738609"/>
            <a:ext cx="2161292" cy="2883436"/>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2971039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6_Placeholder Slide">
    <p:spTree>
      <p:nvGrpSpPr>
        <p:cNvPr id="1" name=""/>
        <p:cNvGrpSpPr/>
        <p:nvPr/>
      </p:nvGrpSpPr>
      <p:grpSpPr>
        <a:xfrm>
          <a:off x="0" y="0"/>
          <a:ext cx="0" cy="0"/>
          <a:chOff x="0" y="0"/>
          <a:chExt cx="0" cy="0"/>
        </a:xfrm>
      </p:grpSpPr>
      <p:sp>
        <p:nvSpPr>
          <p:cNvPr id="4" name="Picture Placeholder 8"/>
          <p:cNvSpPr>
            <a:spLocks noGrp="1"/>
          </p:cNvSpPr>
          <p:nvPr>
            <p:ph type="pic" sz="quarter" idx="14"/>
          </p:nvPr>
        </p:nvSpPr>
        <p:spPr>
          <a:xfrm>
            <a:off x="1371290" y="1789673"/>
            <a:ext cx="3896861" cy="3878426"/>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0644410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_Placehold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C04B20-1119-4D5E-B35A-62F9B8DC23F8}"/>
              </a:ext>
            </a:extLst>
          </p:cNvPr>
          <p:cNvGraphicFramePr>
            <a:graphicFrameLocks noChangeAspect="1"/>
          </p:cNvGraphicFramePr>
          <p:nvPr userDrawn="1">
            <p:custDataLst>
              <p:tags r:id="rId1"/>
            </p:custData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C8C04B20-1119-4D5E-B35A-62F9B8DC23F8}"/>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8"/>
          <p:cNvSpPr>
            <a:spLocks noGrp="1"/>
          </p:cNvSpPr>
          <p:nvPr>
            <p:ph type="pic" sz="quarter" idx="14"/>
          </p:nvPr>
        </p:nvSpPr>
        <p:spPr>
          <a:xfrm>
            <a:off x="7764242" y="1781991"/>
            <a:ext cx="3917706" cy="3946938"/>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7345636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Responsive Design">
    <p:spTree>
      <p:nvGrpSpPr>
        <p:cNvPr id="1" name=""/>
        <p:cNvGrpSpPr/>
        <p:nvPr/>
      </p:nvGrpSpPr>
      <p:grpSpPr>
        <a:xfrm>
          <a:off x="0" y="0"/>
          <a:ext cx="0" cy="0"/>
          <a:chOff x="0" y="0"/>
          <a:chExt cx="0" cy="0"/>
        </a:xfrm>
      </p:grpSpPr>
      <p:sp>
        <p:nvSpPr>
          <p:cNvPr id="11" name="Picture Placeholder 2"/>
          <p:cNvSpPr>
            <a:spLocks noGrp="1" noChangeAspect="1"/>
          </p:cNvSpPr>
          <p:nvPr>
            <p:ph type="pic" sz="quarter" idx="27"/>
          </p:nvPr>
        </p:nvSpPr>
        <p:spPr>
          <a:xfrm>
            <a:off x="2474609" y="4613712"/>
            <a:ext cx="243597" cy="228982"/>
          </a:xfrm>
          <a:solidFill>
            <a:schemeClr val="bg1">
              <a:lumMod val="95000"/>
            </a:schemeClr>
          </a:solidFill>
        </p:spPr>
        <p:txBody>
          <a:bodyPr anchor="t">
            <a:normAutofit/>
          </a:bodyPr>
          <a:lstStyle>
            <a:lvl1pPr marL="0" indent="0" algn="ctr">
              <a:lnSpc>
                <a:spcPct val="50000"/>
              </a:lnSpc>
              <a:buNone/>
              <a:defRPr sz="100">
                <a:latin typeface="Calibri Light"/>
                <a:cs typeface="Calibri Light"/>
              </a:defRPr>
            </a:lvl1pPr>
          </a:lstStyle>
          <a:p>
            <a:endParaRPr lang="id-ID"/>
          </a:p>
        </p:txBody>
      </p:sp>
      <p:sp>
        <p:nvSpPr>
          <p:cNvPr id="9" name="Picture Placeholder 2"/>
          <p:cNvSpPr>
            <a:spLocks noGrp="1" noChangeAspect="1"/>
          </p:cNvSpPr>
          <p:nvPr>
            <p:ph type="pic" sz="quarter" idx="25"/>
          </p:nvPr>
        </p:nvSpPr>
        <p:spPr>
          <a:xfrm>
            <a:off x="4651538" y="2649396"/>
            <a:ext cx="3683798" cy="1547053"/>
          </a:xfrm>
          <a:solidFill>
            <a:schemeClr val="bg1">
              <a:lumMod val="95000"/>
            </a:schemeClr>
          </a:solidFill>
        </p:spPr>
        <p:txBody>
          <a:bodyPr anchor="t">
            <a:normAutofit/>
          </a:bodyPr>
          <a:lstStyle>
            <a:lvl1pPr marL="0" indent="0" algn="ctr">
              <a:buNone/>
              <a:defRPr sz="910">
                <a:latin typeface="Calibri Light"/>
                <a:cs typeface="Calibri Light"/>
              </a:defRPr>
            </a:lvl1pPr>
          </a:lstStyle>
          <a:p>
            <a:endParaRPr lang="id-ID"/>
          </a:p>
        </p:txBody>
      </p:sp>
      <p:sp>
        <p:nvSpPr>
          <p:cNvPr id="17" name="Picture Placeholder 2"/>
          <p:cNvSpPr>
            <a:spLocks noGrp="1" noChangeAspect="1"/>
          </p:cNvSpPr>
          <p:nvPr>
            <p:ph type="pic" sz="quarter" idx="22" hasCustomPrompt="1"/>
          </p:nvPr>
        </p:nvSpPr>
        <p:spPr>
          <a:xfrm>
            <a:off x="2922992" y="4130356"/>
            <a:ext cx="559030" cy="751297"/>
          </a:xfrm>
          <a:solidFill>
            <a:schemeClr val="bg1">
              <a:lumMod val="95000"/>
            </a:schemeClr>
          </a:solidFill>
        </p:spPr>
        <p:txBody>
          <a:bodyPr anchor="t">
            <a:normAutofit/>
          </a:bodyPr>
          <a:lstStyle>
            <a:lvl1pPr marL="0" indent="0" algn="l">
              <a:lnSpc>
                <a:spcPct val="50000"/>
              </a:lnSpc>
              <a:buNone/>
              <a:defRPr sz="289">
                <a:latin typeface="Calibri Light"/>
                <a:cs typeface="Calibri Light"/>
              </a:defRPr>
            </a:lvl1pPr>
          </a:lstStyle>
          <a:p>
            <a:r>
              <a:rPr lang="id-ID"/>
              <a:t>Picture</a:t>
            </a:r>
          </a:p>
        </p:txBody>
      </p:sp>
      <p:sp>
        <p:nvSpPr>
          <p:cNvPr id="10" name="Picture Placeholder 2"/>
          <p:cNvSpPr>
            <a:spLocks noGrp="1" noChangeAspect="1"/>
          </p:cNvSpPr>
          <p:nvPr>
            <p:ph type="pic" sz="quarter" idx="26"/>
          </p:nvPr>
        </p:nvSpPr>
        <p:spPr>
          <a:xfrm>
            <a:off x="7819991" y="3735765"/>
            <a:ext cx="2324039" cy="1106929"/>
          </a:xfrm>
          <a:solidFill>
            <a:schemeClr val="bg1">
              <a:lumMod val="95000"/>
            </a:schemeClr>
          </a:solidFill>
        </p:spPr>
        <p:txBody>
          <a:bodyPr anchor="t">
            <a:normAutofit/>
          </a:bodyPr>
          <a:lstStyle>
            <a:lvl1pPr marL="0" indent="0" algn="ctr">
              <a:buNone/>
              <a:defRPr sz="827">
                <a:latin typeface="Calibri Light"/>
                <a:cs typeface="Calibri Light"/>
              </a:defRPr>
            </a:lvl1pPr>
          </a:lstStyle>
          <a:p>
            <a:endParaRPr lang="id-ID"/>
          </a:p>
        </p:txBody>
      </p:sp>
      <p:sp>
        <p:nvSpPr>
          <p:cNvPr id="8" name="Picture Placeholder 2"/>
          <p:cNvSpPr>
            <a:spLocks noGrp="1" noChangeAspect="1"/>
          </p:cNvSpPr>
          <p:nvPr>
            <p:ph type="pic" sz="quarter" idx="24"/>
          </p:nvPr>
        </p:nvSpPr>
        <p:spPr>
          <a:xfrm>
            <a:off x="3663191" y="3641730"/>
            <a:ext cx="1243140" cy="1225884"/>
          </a:xfrm>
          <a:solidFill>
            <a:schemeClr val="bg1">
              <a:lumMod val="95000"/>
            </a:schemeClr>
          </a:solidFill>
        </p:spPr>
        <p:txBody>
          <a:bodyPr anchor="t">
            <a:normAutofit/>
          </a:bodyPr>
          <a:lstStyle>
            <a:lvl1pPr marL="0" indent="0" algn="ctr">
              <a:buNone/>
              <a:defRPr sz="827">
                <a:latin typeface="Calibri Light"/>
                <a:cs typeface="Calibri Light"/>
              </a:defRPr>
            </a:lvl1pPr>
          </a:lstStyle>
          <a:p>
            <a:endParaRPr lang="id-ID"/>
          </a:p>
        </p:txBody>
      </p:sp>
    </p:spTree>
    <p:extLst>
      <p:ext uri="{BB962C8B-B14F-4D97-AF65-F5344CB8AC3E}">
        <p14:creationId xmlns:p14="http://schemas.microsoft.com/office/powerpoint/2010/main" val="12773865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2_Blank">
    <p:spTree>
      <p:nvGrpSpPr>
        <p:cNvPr id="1" name=""/>
        <p:cNvGrpSpPr/>
        <p:nvPr/>
      </p:nvGrpSpPr>
      <p:grpSpPr>
        <a:xfrm>
          <a:off x="0" y="0"/>
          <a:ext cx="0" cy="0"/>
          <a:chOff x="0" y="0"/>
          <a:chExt cx="0" cy="0"/>
        </a:xfrm>
      </p:grpSpPr>
      <p:sp>
        <p:nvSpPr>
          <p:cNvPr id="6" name="Picture Placeholder 17"/>
          <p:cNvSpPr>
            <a:spLocks noGrp="1"/>
          </p:cNvSpPr>
          <p:nvPr>
            <p:ph type="pic" sz="quarter" idx="14"/>
          </p:nvPr>
        </p:nvSpPr>
        <p:spPr>
          <a:xfrm>
            <a:off x="1515704" y="3121825"/>
            <a:ext cx="4429131" cy="1888072"/>
          </a:xfrm>
          <a:solidFill>
            <a:schemeClr val="bg1">
              <a:lumMod val="95000"/>
            </a:schemeClr>
          </a:solidFill>
        </p:spPr>
        <p:txBody>
          <a:bodyPr rtlCol="0">
            <a:normAutofit/>
          </a:bodyPr>
          <a:lstStyle>
            <a:lvl1pPr marL="0" indent="0" algn="l">
              <a:buNone/>
              <a:defRPr sz="579" b="0" i="0">
                <a:solidFill>
                  <a:schemeClr val="bg1">
                    <a:lumMod val="75000"/>
                  </a:schemeClr>
                </a:solidFill>
                <a:latin typeface="Montserrat Light" charset="0"/>
                <a:ea typeface="Montserrat Light" charset="0"/>
                <a:cs typeface="Montserrat Light" charset="0"/>
              </a:defRPr>
            </a:lvl1pPr>
          </a:lstStyle>
          <a:p>
            <a:pPr lvl="0"/>
            <a:endParaRPr lang="en-US" noProof="0"/>
          </a:p>
        </p:txBody>
      </p:sp>
      <p:sp>
        <p:nvSpPr>
          <p:cNvPr id="7" name="Picture Placeholder 17"/>
          <p:cNvSpPr>
            <a:spLocks noGrp="1"/>
          </p:cNvSpPr>
          <p:nvPr>
            <p:ph type="pic" sz="quarter" idx="16"/>
          </p:nvPr>
        </p:nvSpPr>
        <p:spPr>
          <a:xfrm>
            <a:off x="7422899" y="3121825"/>
            <a:ext cx="4446202" cy="1888072"/>
          </a:xfrm>
          <a:solidFill>
            <a:schemeClr val="bg1">
              <a:lumMod val="95000"/>
            </a:schemeClr>
          </a:solidFill>
        </p:spPr>
        <p:txBody>
          <a:bodyPr rtlCol="0">
            <a:normAutofit/>
          </a:bodyPr>
          <a:lstStyle>
            <a:lvl1pPr marL="0" indent="0" algn="l">
              <a:buNone/>
              <a:defRPr sz="579" b="0" i="0">
                <a:solidFill>
                  <a:schemeClr val="bg1">
                    <a:lumMod val="75000"/>
                  </a:schemeClr>
                </a:solidFill>
                <a:latin typeface="Montserrat Light" charset="0"/>
                <a:ea typeface="Montserrat Light" charset="0"/>
                <a:cs typeface="Montserrat Light" charset="0"/>
              </a:defRPr>
            </a:lvl1pPr>
          </a:lstStyle>
          <a:p>
            <a:pPr lvl="0"/>
            <a:endParaRPr lang="en-US" noProof="0"/>
          </a:p>
        </p:txBody>
      </p:sp>
    </p:spTree>
    <p:extLst>
      <p:ext uri="{BB962C8B-B14F-4D97-AF65-F5344CB8AC3E}">
        <p14:creationId xmlns:p14="http://schemas.microsoft.com/office/powerpoint/2010/main" val="40715607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ablet-mockup">
    <p:spTree>
      <p:nvGrpSpPr>
        <p:cNvPr id="1" name=""/>
        <p:cNvGrpSpPr/>
        <p:nvPr/>
      </p:nvGrpSpPr>
      <p:grpSpPr>
        <a:xfrm>
          <a:off x="0" y="0"/>
          <a:ext cx="0" cy="0"/>
          <a:chOff x="0" y="0"/>
          <a:chExt cx="0" cy="0"/>
        </a:xfrm>
      </p:grpSpPr>
      <p:sp>
        <p:nvSpPr>
          <p:cNvPr id="26" name="Picture Placeholder 9"/>
          <p:cNvSpPr>
            <a:spLocks noGrp="1" noChangeAspect="1"/>
          </p:cNvSpPr>
          <p:nvPr>
            <p:ph type="pic" sz="quarter" idx="10"/>
          </p:nvPr>
        </p:nvSpPr>
        <p:spPr>
          <a:xfrm>
            <a:off x="2382283" y="3354212"/>
            <a:ext cx="2238204" cy="2230595"/>
          </a:xfrm>
          <a:solidFill>
            <a:schemeClr val="bg1">
              <a:lumMod val="95000"/>
            </a:schemeClr>
          </a:solidFill>
        </p:spPr>
        <p:txBody>
          <a:bodyPr>
            <a:normAutofit/>
          </a:bodyPr>
          <a:lstStyle>
            <a:lvl1pPr marL="0" indent="0">
              <a:buNone/>
              <a:defRPr sz="910">
                <a:solidFill>
                  <a:schemeClr val="tx1">
                    <a:lumMod val="50000"/>
                    <a:lumOff val="50000"/>
                  </a:schemeClr>
                </a:solidFill>
              </a:defRPr>
            </a:lvl1pPr>
          </a:lstStyle>
          <a:p>
            <a:endParaRPr lang="en-US"/>
          </a:p>
        </p:txBody>
      </p:sp>
      <p:sp>
        <p:nvSpPr>
          <p:cNvPr id="69" name="Picture Placeholder 9"/>
          <p:cNvSpPr>
            <a:spLocks noGrp="1" noChangeAspect="1"/>
          </p:cNvSpPr>
          <p:nvPr>
            <p:ph type="pic" sz="quarter" idx="11"/>
          </p:nvPr>
        </p:nvSpPr>
        <p:spPr>
          <a:xfrm>
            <a:off x="5596162" y="3354212"/>
            <a:ext cx="2238204" cy="2230595"/>
          </a:xfrm>
          <a:solidFill>
            <a:schemeClr val="bg1">
              <a:lumMod val="95000"/>
            </a:schemeClr>
          </a:solidFill>
        </p:spPr>
        <p:txBody>
          <a:bodyPr>
            <a:normAutofit/>
          </a:bodyPr>
          <a:lstStyle>
            <a:lvl1pPr marL="0" indent="0">
              <a:buNone/>
              <a:defRPr sz="827">
                <a:solidFill>
                  <a:schemeClr val="tx1">
                    <a:lumMod val="50000"/>
                    <a:lumOff val="50000"/>
                  </a:schemeClr>
                </a:solidFill>
              </a:defRPr>
            </a:lvl1pPr>
          </a:lstStyle>
          <a:p>
            <a:endParaRPr lang="en-US"/>
          </a:p>
        </p:txBody>
      </p:sp>
      <p:sp>
        <p:nvSpPr>
          <p:cNvPr id="70" name="Picture Placeholder 9"/>
          <p:cNvSpPr>
            <a:spLocks noGrp="1" noChangeAspect="1"/>
          </p:cNvSpPr>
          <p:nvPr>
            <p:ph type="pic" sz="quarter" idx="12"/>
          </p:nvPr>
        </p:nvSpPr>
        <p:spPr>
          <a:xfrm>
            <a:off x="8643833" y="3356433"/>
            <a:ext cx="2238204" cy="2230595"/>
          </a:xfrm>
          <a:solidFill>
            <a:schemeClr val="bg1">
              <a:lumMod val="95000"/>
            </a:schemeClr>
          </a:solidFill>
        </p:spPr>
        <p:txBody>
          <a:bodyPr>
            <a:normAutofit/>
          </a:bodyPr>
          <a:lstStyle>
            <a:lvl1pPr marL="0" indent="0">
              <a:buNone/>
              <a:defRPr sz="910">
                <a:solidFill>
                  <a:schemeClr val="tx1">
                    <a:lumMod val="50000"/>
                    <a:lumOff val="50000"/>
                  </a:schemeClr>
                </a:solidFill>
                <a:latin typeface="Lato Light" charset="0"/>
                <a:cs typeface="Lato Light" charset="0"/>
              </a:defRPr>
            </a:lvl1pPr>
          </a:lstStyle>
          <a:p>
            <a:endParaRPr lang="en-US"/>
          </a:p>
        </p:txBody>
      </p:sp>
    </p:spTree>
    <p:extLst>
      <p:ext uri="{BB962C8B-B14F-4D97-AF65-F5344CB8AC3E}">
        <p14:creationId xmlns:p14="http://schemas.microsoft.com/office/powerpoint/2010/main" val="10731598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Macbook Air">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4325279" y="3006732"/>
            <a:ext cx="4787886" cy="2222439"/>
          </a:xfrm>
          <a:solidFill>
            <a:schemeClr val="bg1">
              <a:lumMod val="95000"/>
            </a:schemeClr>
          </a:solidFill>
        </p:spPr>
      </p:sp>
    </p:spTree>
    <p:extLst>
      <p:ext uri="{BB962C8B-B14F-4D97-AF65-F5344CB8AC3E}">
        <p14:creationId xmlns:p14="http://schemas.microsoft.com/office/powerpoint/2010/main" val="2222755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Macbook Mockup">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036825" y="3282599"/>
            <a:ext cx="5138731" cy="2406524"/>
          </a:xfrm>
          <a:solidFill>
            <a:schemeClr val="bg1">
              <a:lumMod val="95000"/>
            </a:schemeClr>
          </a:solidFill>
        </p:spPr>
        <p:txBody>
          <a:bodyPr>
            <a:normAutofit/>
          </a:bodyPr>
          <a:lstStyle>
            <a:lvl1pPr>
              <a:defRPr sz="827"/>
            </a:lvl1pPr>
          </a:lstStyle>
          <a:p>
            <a:endParaRPr lang="en-US"/>
          </a:p>
        </p:txBody>
      </p:sp>
    </p:spTree>
    <p:extLst>
      <p:ext uri="{BB962C8B-B14F-4D97-AF65-F5344CB8AC3E}">
        <p14:creationId xmlns:p14="http://schemas.microsoft.com/office/powerpoint/2010/main" val="42459632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Behind the Scenes">
    <p:spTree>
      <p:nvGrpSpPr>
        <p:cNvPr id="1" name=""/>
        <p:cNvGrpSpPr/>
        <p:nvPr/>
      </p:nvGrpSpPr>
      <p:grpSpPr>
        <a:xfrm>
          <a:off x="0" y="0"/>
          <a:ext cx="0" cy="0"/>
          <a:chOff x="0" y="0"/>
          <a:chExt cx="0" cy="0"/>
        </a:xfrm>
      </p:grpSpPr>
      <p:sp>
        <p:nvSpPr>
          <p:cNvPr id="4" name="Picture Placeholder 17"/>
          <p:cNvSpPr>
            <a:spLocks noGrp="1"/>
          </p:cNvSpPr>
          <p:nvPr>
            <p:ph type="pic" sz="quarter" idx="14"/>
          </p:nvPr>
        </p:nvSpPr>
        <p:spPr>
          <a:xfrm>
            <a:off x="4111509" y="3268839"/>
            <a:ext cx="5152619" cy="2411177"/>
          </a:xfrm>
          <a:solidFill>
            <a:schemeClr val="bg1">
              <a:lumMod val="95000"/>
            </a:schemeClr>
          </a:solidFill>
        </p:spPr>
        <p:txBody>
          <a:bodyPr>
            <a:normAutofit/>
          </a:bodyPr>
          <a:lstStyle>
            <a:lvl1pPr marL="0" indent="0">
              <a:buNone/>
              <a:defRPr sz="1158">
                <a:solidFill>
                  <a:schemeClr val="tx1"/>
                </a:solidFill>
              </a:defRPr>
            </a:lvl1pPr>
          </a:lstStyle>
          <a:p>
            <a:endParaRPr lang="en-US"/>
          </a:p>
        </p:txBody>
      </p:sp>
    </p:spTree>
    <p:extLst>
      <p:ext uri="{BB962C8B-B14F-4D97-AF65-F5344CB8AC3E}">
        <p14:creationId xmlns:p14="http://schemas.microsoft.com/office/powerpoint/2010/main" val="724040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D212749-C25E-5240-B79A-9B8BD5915BF1}"/>
              </a:ext>
            </a:extLst>
          </p:cNvPr>
          <p:cNvSpPr>
            <a:spLocks noGrp="1"/>
          </p:cNvSpPr>
          <p:nvPr>
            <p:ph type="pic" sz="quarter" idx="10"/>
          </p:nvPr>
        </p:nvSpPr>
        <p:spPr>
          <a:xfrm>
            <a:off x="782269" y="613425"/>
            <a:ext cx="11880000" cy="2160587"/>
          </a:xfrm>
          <a:prstGeom prst="round1Rect">
            <a:avLst/>
          </a:prstGeom>
        </p:spPr>
        <p:txBody>
          <a:bodyPr anchor="t" anchorCtr="1"/>
          <a:lstStyle>
            <a:lvl1pPr algn="ctr">
              <a:defRPr/>
            </a:lvl1pPr>
          </a:lstStyle>
          <a:p>
            <a:endParaRPr lang="en-US"/>
          </a:p>
        </p:txBody>
      </p:sp>
      <p:sp>
        <p:nvSpPr>
          <p:cNvPr id="6" name="Text Placeholder 2">
            <a:extLst>
              <a:ext uri="{FF2B5EF4-FFF2-40B4-BE49-F238E27FC236}">
                <a16:creationId xmlns:a16="http://schemas.microsoft.com/office/drawing/2014/main" id="{B29C0793-6B54-FE46-BB88-EF527E092A1B}"/>
              </a:ext>
            </a:extLst>
          </p:cNvPr>
          <p:cNvSpPr>
            <a:spLocks noGrp="1"/>
          </p:cNvSpPr>
          <p:nvPr>
            <p:ph type="body" sz="quarter" idx="14" hasCustomPrompt="1"/>
          </p:nvPr>
        </p:nvSpPr>
        <p:spPr>
          <a:xfrm>
            <a:off x="782269" y="3212528"/>
            <a:ext cx="11881818" cy="923330"/>
          </a:xfrm>
          <a:prstGeom prst="rect">
            <a:avLst/>
          </a:prstGeom>
        </p:spPr>
        <p:txBody>
          <a:bodyPr/>
          <a:lstStyle>
            <a:lvl1pPr algn="ctr">
              <a:defRPr sz="3000">
                <a:solidFill>
                  <a:schemeClr val="accent1"/>
                </a:solidFill>
                <a:latin typeface="Palatino" pitchFamily="2" charset="77"/>
                <a:ea typeface="Palatino" pitchFamily="2" charset="77"/>
              </a:defRPr>
            </a:lvl1pPr>
          </a:lstStyle>
          <a:p>
            <a:r>
              <a:rPr lang="en-GB">
                <a:solidFill>
                  <a:schemeClr val="accent1"/>
                </a:solidFill>
              </a:rPr>
              <a:t>Title line one</a:t>
            </a:r>
            <a:br>
              <a:rPr lang="en-GB">
                <a:solidFill>
                  <a:srgbClr val="9B4F96"/>
                </a:solidFill>
              </a:rPr>
            </a:br>
            <a:r>
              <a:rPr lang="en-GB">
                <a:solidFill>
                  <a:schemeClr val="tx2"/>
                </a:solidFill>
              </a:rPr>
              <a:t>Title line two</a:t>
            </a:r>
            <a:endParaRPr lang="en-GB">
              <a:solidFill>
                <a:schemeClr val="accent2"/>
              </a:solidFill>
            </a:endParaRPr>
          </a:p>
        </p:txBody>
      </p:sp>
      <p:sp>
        <p:nvSpPr>
          <p:cNvPr id="7" name="Text Placeholder 9">
            <a:extLst>
              <a:ext uri="{FF2B5EF4-FFF2-40B4-BE49-F238E27FC236}">
                <a16:creationId xmlns:a16="http://schemas.microsoft.com/office/drawing/2014/main" id="{E5D110D0-74F1-294D-8F96-392EEE18D2EC}"/>
              </a:ext>
            </a:extLst>
          </p:cNvPr>
          <p:cNvSpPr>
            <a:spLocks noGrp="1"/>
          </p:cNvSpPr>
          <p:nvPr>
            <p:ph type="body" sz="quarter" idx="16" hasCustomPrompt="1"/>
          </p:nvPr>
        </p:nvSpPr>
        <p:spPr>
          <a:xfrm>
            <a:off x="782269" y="4340733"/>
            <a:ext cx="11880000" cy="2108835"/>
          </a:xfrm>
          <a:prstGeom prst="rect">
            <a:avLst/>
          </a:prstGeom>
        </p:spPr>
        <p:txBody>
          <a:bodyPr/>
          <a:lstStyle>
            <a:lvl1pPr algn="ct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a:t>Insert body text her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7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6743282" y="3"/>
            <a:ext cx="6701257"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8877141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8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 y="3"/>
            <a:ext cx="9332622"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3947278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9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4111916" y="3"/>
            <a:ext cx="9332622"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9014863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0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6BA4CB-0B9C-4370-B9FF-D1EA9433FCD5}"/>
              </a:ext>
            </a:extLst>
          </p:cNvPr>
          <p:cNvGraphicFramePr>
            <a:graphicFrameLocks noChangeAspect="1"/>
          </p:cNvGraphicFramePr>
          <p:nvPr userDrawn="1">
            <p:custDataLst>
              <p:tags r:id="rId1"/>
            </p:custDataLst>
            <p:extLst>
              <p:ext uri="{D42A27DB-BD31-4B8C-83A1-F6EECF244321}">
                <p14:modId xmlns:p14="http://schemas.microsoft.com/office/powerpoint/2010/main" val="3987967534"/>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756BA4CB-0B9C-4370-B9FF-D1EA9433FCD5}"/>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4" name="Picture Placeholder 2"/>
          <p:cNvSpPr>
            <a:spLocks noGrp="1"/>
          </p:cNvSpPr>
          <p:nvPr>
            <p:ph type="pic" sz="quarter" idx="26"/>
          </p:nvPr>
        </p:nvSpPr>
        <p:spPr>
          <a:xfrm>
            <a:off x="7858329" y="3"/>
            <a:ext cx="3139691"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89096221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1_Placehol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C6408C-AB03-4949-8721-E6955BD1E872}"/>
              </a:ext>
            </a:extLst>
          </p:cNvPr>
          <p:cNvGraphicFramePr>
            <a:graphicFrameLocks noChangeAspect="1"/>
          </p:cNvGraphicFramePr>
          <p:nvPr userDrawn="1">
            <p:custDataLst>
              <p:tags r:id="rId1"/>
            </p:custDataLst>
            <p:extLst>
              <p:ext uri="{D42A27DB-BD31-4B8C-83A1-F6EECF244321}">
                <p14:modId xmlns:p14="http://schemas.microsoft.com/office/powerpoint/2010/main" val="3821536035"/>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98C6408C-AB03-4949-8721-E6955BD1E872}"/>
                          </a:ext>
                        </a:extLst>
                      </p:cNvPr>
                      <p:cNvPicPr/>
                      <p:nvPr/>
                    </p:nvPicPr>
                    <p:blipFill>
                      <a:blip r:embed="rId4"/>
                      <a:stretch>
                        <a:fillRect/>
                      </a:stretch>
                    </p:blipFill>
                    <p:spPr>
                      <a:xfrm>
                        <a:off x="1168" y="876"/>
                        <a:ext cx="1167" cy="875"/>
                      </a:xfrm>
                      <a:prstGeom prst="rect">
                        <a:avLst/>
                      </a:prstGeom>
                    </p:spPr>
                  </p:pic>
                </p:oleObj>
              </mc:Fallback>
            </mc:AlternateContent>
          </a:graphicData>
        </a:graphic>
      </p:graphicFrame>
      <p:sp>
        <p:nvSpPr>
          <p:cNvPr id="5" name="Picture Placeholder 2"/>
          <p:cNvSpPr>
            <a:spLocks noGrp="1"/>
          </p:cNvSpPr>
          <p:nvPr>
            <p:ph type="pic" sz="quarter" idx="26"/>
          </p:nvPr>
        </p:nvSpPr>
        <p:spPr>
          <a:xfrm>
            <a:off x="2445962" y="3"/>
            <a:ext cx="3139691" cy="7562849"/>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88847177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2" y="2762087"/>
            <a:ext cx="13444539" cy="4075465"/>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19138914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Placeholder">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2" y="1145052"/>
            <a:ext cx="13444539" cy="3234070"/>
          </a:xfr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35904157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2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6214708" y="3"/>
            <a:ext cx="5218424" cy="7562849"/>
          </a:xfrm>
          <a:prstGeom prst="parallelogram">
            <a:avLst>
              <a:gd name="adj" fmla="val 54870"/>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21190357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3_Placeholder">
    <p:spTree>
      <p:nvGrpSpPr>
        <p:cNvPr id="1" name=""/>
        <p:cNvGrpSpPr/>
        <p:nvPr/>
      </p:nvGrpSpPr>
      <p:grpSpPr>
        <a:xfrm>
          <a:off x="0" y="0"/>
          <a:ext cx="0" cy="0"/>
          <a:chOff x="0" y="0"/>
          <a:chExt cx="0" cy="0"/>
        </a:xfrm>
      </p:grpSpPr>
      <p:sp>
        <p:nvSpPr>
          <p:cNvPr id="5" name="Picture Placeholder 2"/>
          <p:cNvSpPr>
            <a:spLocks noGrp="1"/>
          </p:cNvSpPr>
          <p:nvPr>
            <p:ph type="pic" sz="quarter" idx="26"/>
          </p:nvPr>
        </p:nvSpPr>
        <p:spPr>
          <a:xfrm>
            <a:off x="1612562" y="3"/>
            <a:ext cx="5218424" cy="7562849"/>
          </a:xfrm>
          <a:prstGeom prst="parallelogram">
            <a:avLst>
              <a:gd name="adj" fmla="val 54870"/>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9194376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4_Placeholder">
    <p:spTree>
      <p:nvGrpSpPr>
        <p:cNvPr id="1" name=""/>
        <p:cNvGrpSpPr/>
        <p:nvPr/>
      </p:nvGrpSpPr>
      <p:grpSpPr>
        <a:xfrm>
          <a:off x="0" y="0"/>
          <a:ext cx="0" cy="0"/>
          <a:chOff x="0" y="0"/>
          <a:chExt cx="0" cy="0"/>
        </a:xfrm>
      </p:grpSpPr>
      <p:sp>
        <p:nvSpPr>
          <p:cNvPr id="4" name="Picture Placeholder 2"/>
          <p:cNvSpPr>
            <a:spLocks noGrp="1"/>
          </p:cNvSpPr>
          <p:nvPr>
            <p:ph type="pic" sz="quarter" idx="26"/>
          </p:nvPr>
        </p:nvSpPr>
        <p:spPr>
          <a:xfrm>
            <a:off x="7586453" y="3"/>
            <a:ext cx="5858086" cy="7562849"/>
          </a:xfrm>
          <a:prstGeom prst="rect">
            <a:avLst/>
          </a:prstGeom>
          <a:solidFill>
            <a:schemeClr val="bg1">
              <a:lumMod val="95000"/>
            </a:schemeClr>
          </a:solidFill>
        </p:spPr>
        <p:txBody>
          <a:bodyPr>
            <a:normAutofit/>
          </a:bodyPr>
          <a:lstStyle>
            <a:lvl1pPr>
              <a:defRPr sz="1158"/>
            </a:lvl1pPr>
          </a:lstStyle>
          <a:p>
            <a:endParaRPr lang="en-US"/>
          </a:p>
        </p:txBody>
      </p:sp>
    </p:spTree>
    <p:extLst>
      <p:ext uri="{BB962C8B-B14F-4D97-AF65-F5344CB8AC3E}">
        <p14:creationId xmlns:p14="http://schemas.microsoft.com/office/powerpoint/2010/main" val="426694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117" Type="http://schemas.openxmlformats.org/officeDocument/2006/relationships/slideLayout" Target="../slideLayouts/slideLayout130.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12" Type="http://schemas.openxmlformats.org/officeDocument/2006/relationships/slideLayout" Target="../slideLayouts/slideLayout125.xml"/><Relationship Id="rId16" Type="http://schemas.openxmlformats.org/officeDocument/2006/relationships/slideLayout" Target="../slideLayouts/slideLayout29.xml"/><Relationship Id="rId107" Type="http://schemas.openxmlformats.org/officeDocument/2006/relationships/slideLayout" Target="../slideLayouts/slideLayout120.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123" Type="http://schemas.openxmlformats.org/officeDocument/2006/relationships/tags" Target="../tags/tag1.xml"/><Relationship Id="rId5" Type="http://schemas.openxmlformats.org/officeDocument/2006/relationships/slideLayout" Target="../slideLayouts/slideLayout18.xml"/><Relationship Id="rId90" Type="http://schemas.openxmlformats.org/officeDocument/2006/relationships/slideLayout" Target="../slideLayouts/slideLayout103.xml"/><Relationship Id="rId95" Type="http://schemas.openxmlformats.org/officeDocument/2006/relationships/slideLayout" Target="../slideLayouts/slideLayout108.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113" Type="http://schemas.openxmlformats.org/officeDocument/2006/relationships/slideLayout" Target="../slideLayouts/slideLayout126.xml"/><Relationship Id="rId118" Type="http://schemas.openxmlformats.org/officeDocument/2006/relationships/slideLayout" Target="../slideLayouts/slideLayout131.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59" Type="http://schemas.openxmlformats.org/officeDocument/2006/relationships/slideLayout" Target="../slideLayouts/slideLayout72.xml"/><Relationship Id="rId103" Type="http://schemas.openxmlformats.org/officeDocument/2006/relationships/slideLayout" Target="../slideLayouts/slideLayout116.xml"/><Relationship Id="rId108" Type="http://schemas.openxmlformats.org/officeDocument/2006/relationships/slideLayout" Target="../slideLayouts/slideLayout121.xml"/><Relationship Id="rId124" Type="http://schemas.openxmlformats.org/officeDocument/2006/relationships/oleObject" Target="../embeddings/oleObject1.bin"/><Relationship Id="rId54" Type="http://schemas.openxmlformats.org/officeDocument/2006/relationships/slideLayout" Target="../slideLayouts/slideLayout67.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91" Type="http://schemas.openxmlformats.org/officeDocument/2006/relationships/slideLayout" Target="../slideLayouts/slideLayout104.xml"/><Relationship Id="rId96" Type="http://schemas.openxmlformats.org/officeDocument/2006/relationships/slideLayout" Target="../slideLayouts/slideLayout10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49" Type="http://schemas.openxmlformats.org/officeDocument/2006/relationships/slideLayout" Target="../slideLayouts/slideLayout62.xml"/><Relationship Id="rId114" Type="http://schemas.openxmlformats.org/officeDocument/2006/relationships/slideLayout" Target="../slideLayouts/slideLayout127.xml"/><Relationship Id="rId119" Type="http://schemas.openxmlformats.org/officeDocument/2006/relationships/slideLayout" Target="../slideLayouts/slideLayout132.xml"/><Relationship Id="rId44" Type="http://schemas.openxmlformats.org/officeDocument/2006/relationships/slideLayout" Target="../slideLayouts/slideLayout57.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109" Type="http://schemas.openxmlformats.org/officeDocument/2006/relationships/slideLayout" Target="../slideLayouts/slideLayout12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97" Type="http://schemas.openxmlformats.org/officeDocument/2006/relationships/slideLayout" Target="../slideLayouts/slideLayout110.xml"/><Relationship Id="rId104" Type="http://schemas.openxmlformats.org/officeDocument/2006/relationships/slideLayout" Target="../slideLayouts/slideLayout117.xml"/><Relationship Id="rId120" Type="http://schemas.openxmlformats.org/officeDocument/2006/relationships/slideLayout" Target="../slideLayouts/slideLayout133.xml"/><Relationship Id="rId125" Type="http://schemas.openxmlformats.org/officeDocument/2006/relationships/image" Target="../media/image3.emf"/><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110" Type="http://schemas.openxmlformats.org/officeDocument/2006/relationships/slideLayout" Target="../slideLayouts/slideLayout123.xml"/><Relationship Id="rId115" Type="http://schemas.openxmlformats.org/officeDocument/2006/relationships/slideLayout" Target="../slideLayouts/slideLayout128.xml"/><Relationship Id="rId61" Type="http://schemas.openxmlformats.org/officeDocument/2006/relationships/slideLayout" Target="../slideLayouts/slideLayout74.xml"/><Relationship Id="rId82" Type="http://schemas.openxmlformats.org/officeDocument/2006/relationships/slideLayout" Target="../slideLayouts/slideLayout95.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56" Type="http://schemas.openxmlformats.org/officeDocument/2006/relationships/slideLayout" Target="../slideLayouts/slideLayout69.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105" Type="http://schemas.openxmlformats.org/officeDocument/2006/relationships/slideLayout" Target="../slideLayouts/slideLayout118.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93" Type="http://schemas.openxmlformats.org/officeDocument/2006/relationships/slideLayout" Target="../slideLayouts/slideLayout106.xml"/><Relationship Id="rId98" Type="http://schemas.openxmlformats.org/officeDocument/2006/relationships/slideLayout" Target="../slideLayouts/slideLayout111.xml"/><Relationship Id="rId121" Type="http://schemas.openxmlformats.org/officeDocument/2006/relationships/slideLayout" Target="../slideLayouts/slideLayout134.xml"/><Relationship Id="rId3" Type="http://schemas.openxmlformats.org/officeDocument/2006/relationships/slideLayout" Target="../slideLayouts/slideLayout16.xml"/><Relationship Id="rId25" Type="http://schemas.openxmlformats.org/officeDocument/2006/relationships/slideLayout" Target="../slideLayouts/slideLayout38.xml"/><Relationship Id="rId46" Type="http://schemas.openxmlformats.org/officeDocument/2006/relationships/slideLayout" Target="../slideLayouts/slideLayout59.xml"/><Relationship Id="rId67" Type="http://schemas.openxmlformats.org/officeDocument/2006/relationships/slideLayout" Target="../slideLayouts/slideLayout80.xml"/><Relationship Id="rId116" Type="http://schemas.openxmlformats.org/officeDocument/2006/relationships/slideLayout" Target="../slideLayouts/slideLayout12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62" Type="http://schemas.openxmlformats.org/officeDocument/2006/relationships/slideLayout" Target="../slideLayouts/slideLayout75.xml"/><Relationship Id="rId83" Type="http://schemas.openxmlformats.org/officeDocument/2006/relationships/slideLayout" Target="../slideLayouts/slideLayout96.xml"/><Relationship Id="rId88" Type="http://schemas.openxmlformats.org/officeDocument/2006/relationships/slideLayout" Target="../slideLayouts/slideLayout101.xml"/><Relationship Id="rId111" Type="http://schemas.openxmlformats.org/officeDocument/2006/relationships/slideLayout" Target="../slideLayouts/slideLayout124.xml"/><Relationship Id="rId15" Type="http://schemas.openxmlformats.org/officeDocument/2006/relationships/slideLayout" Target="../slideLayouts/slideLayout28.xml"/><Relationship Id="rId36" Type="http://schemas.openxmlformats.org/officeDocument/2006/relationships/slideLayout" Target="../slideLayouts/slideLayout49.xml"/><Relationship Id="rId57" Type="http://schemas.openxmlformats.org/officeDocument/2006/relationships/slideLayout" Target="../slideLayouts/slideLayout70.xml"/><Relationship Id="rId106" Type="http://schemas.openxmlformats.org/officeDocument/2006/relationships/slideLayout" Target="../slideLayouts/slideLayout119.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52" Type="http://schemas.openxmlformats.org/officeDocument/2006/relationships/slideLayout" Target="../slideLayouts/slideLayout65.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94" Type="http://schemas.openxmlformats.org/officeDocument/2006/relationships/slideLayout" Target="../slideLayouts/slideLayout107.xml"/><Relationship Id="rId99" Type="http://schemas.openxmlformats.org/officeDocument/2006/relationships/slideLayout" Target="../slideLayouts/slideLayout112.xml"/><Relationship Id="rId101" Type="http://schemas.openxmlformats.org/officeDocument/2006/relationships/slideLayout" Target="../slideLayouts/slideLayout114.xml"/><Relationship Id="rId122"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80" r:id="rId2"/>
    <p:sldLayoutId id="2147483682" r:id="rId3"/>
    <p:sldLayoutId id="2147483693" r:id="rId4"/>
    <p:sldLayoutId id="2147483692" r:id="rId5"/>
    <p:sldLayoutId id="2147483690" r:id="rId6"/>
    <p:sldLayoutId id="2147483696" r:id="rId7"/>
    <p:sldLayoutId id="2147483694" r:id="rId8"/>
    <p:sldLayoutId id="2147483665" r:id="rId9"/>
    <p:sldLayoutId id="2147483685" r:id="rId10"/>
    <p:sldLayoutId id="2147483687" r:id="rId11"/>
    <p:sldLayoutId id="2147483697" r:id="rId12"/>
    <p:sldLayoutId id="2147483699" r:id="rId13"/>
  </p:sldLayoutIdLst>
  <p:txStyles>
    <p:titleStyle>
      <a:lvl1pPr>
        <a:defRPr>
          <a:latin typeface="Palatino Linotype"/>
          <a:ea typeface="+mj-ea"/>
          <a:cs typeface="Palatino Linotype"/>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CFEF15-9166-45C8-AD89-9A1892A1D642}"/>
              </a:ext>
            </a:extLst>
          </p:cNvPr>
          <p:cNvGraphicFramePr>
            <a:graphicFrameLocks noChangeAspect="1"/>
          </p:cNvGraphicFramePr>
          <p:nvPr userDrawn="1">
            <p:custDataLst>
              <p:tags r:id="rId123"/>
            </p:custDataLst>
            <p:extLst>
              <p:ext uri="{D42A27DB-BD31-4B8C-83A1-F6EECF244321}">
                <p14:modId xmlns:p14="http://schemas.microsoft.com/office/powerpoint/2010/main" val="2997156449"/>
              </p:ext>
            </p:extLst>
          </p:nvPr>
        </p:nvGraphicFramePr>
        <p:xfrm>
          <a:off x="1168" y="876"/>
          <a:ext cx="1167" cy="875"/>
        </p:xfrm>
        <a:graphic>
          <a:graphicData uri="http://schemas.openxmlformats.org/presentationml/2006/ole">
            <mc:AlternateContent xmlns:mc="http://schemas.openxmlformats.org/markup-compatibility/2006">
              <mc:Choice xmlns:v="urn:schemas-microsoft-com:vml" Requires="v">
                <p:oleObj name="think-cell Slide" r:id="rId124" imgW="347" imgH="348" progId="TCLayout.ActiveDocument.1">
                  <p:embed/>
                </p:oleObj>
              </mc:Choice>
              <mc:Fallback>
                <p:oleObj name="think-cell Slide" r:id="rId124" imgW="347" imgH="348" progId="TCLayout.ActiveDocument.1">
                  <p:embed/>
                  <p:pic>
                    <p:nvPicPr>
                      <p:cNvPr id="9" name="Object 8" hidden="1">
                        <a:extLst>
                          <a:ext uri="{FF2B5EF4-FFF2-40B4-BE49-F238E27FC236}">
                            <a16:creationId xmlns:a16="http://schemas.microsoft.com/office/drawing/2014/main" id="{40CFEF15-9166-45C8-AD89-9A1892A1D642}"/>
                          </a:ext>
                        </a:extLst>
                      </p:cNvPr>
                      <p:cNvPicPr/>
                      <p:nvPr/>
                    </p:nvPicPr>
                    <p:blipFill>
                      <a:blip r:embed="rId125"/>
                      <a:stretch>
                        <a:fillRect/>
                      </a:stretch>
                    </p:blipFill>
                    <p:spPr>
                      <a:xfrm>
                        <a:off x="1168" y="876"/>
                        <a:ext cx="1167" cy="875"/>
                      </a:xfrm>
                      <a:prstGeom prst="rect">
                        <a:avLst/>
                      </a:prstGeom>
                    </p:spPr>
                  </p:pic>
                </p:oleObj>
              </mc:Fallback>
            </mc:AlternateContent>
          </a:graphicData>
        </a:graphic>
      </p:graphicFrame>
      <p:sp>
        <p:nvSpPr>
          <p:cNvPr id="2" name="Title Placeholder 1"/>
          <p:cNvSpPr>
            <a:spLocks noGrp="1"/>
          </p:cNvSpPr>
          <p:nvPr>
            <p:ph type="title"/>
          </p:nvPr>
        </p:nvSpPr>
        <p:spPr>
          <a:xfrm>
            <a:off x="924312" y="402654"/>
            <a:ext cx="11595914" cy="14618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924312" y="2013259"/>
            <a:ext cx="11595914" cy="479855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24312" y="7009643"/>
            <a:ext cx="3025021" cy="402652"/>
          </a:xfrm>
          <a:prstGeom prst="rect">
            <a:avLst/>
          </a:prstGeom>
        </p:spPr>
        <p:txBody>
          <a:bodyPr vert="horz" lIns="91440" tIns="45720" rIns="91440" bIns="45720" rtlCol="0" anchor="ctr"/>
          <a:lstStyle>
            <a:lvl1pPr algn="l">
              <a:defRPr sz="1323">
                <a:solidFill>
                  <a:schemeClr val="tx1">
                    <a:tint val="75000"/>
                  </a:schemeClr>
                </a:solidFill>
              </a:defRPr>
            </a:lvl1pPr>
          </a:lstStyle>
          <a:p>
            <a:fld id="{C764DE79-268F-4C1A-8933-263129D2AF90}" type="datetimeFigureOut">
              <a:rPr lang="en-US"/>
              <a:t>8/18/2021</a:t>
            </a:fld>
            <a:endParaRPr lang="en-US"/>
          </a:p>
        </p:txBody>
      </p:sp>
      <p:sp>
        <p:nvSpPr>
          <p:cNvPr id="5" name="Footer Placeholder 4"/>
          <p:cNvSpPr>
            <a:spLocks noGrp="1"/>
          </p:cNvSpPr>
          <p:nvPr>
            <p:ph type="ftr" sz="quarter" idx="3"/>
          </p:nvPr>
        </p:nvSpPr>
        <p:spPr>
          <a:xfrm>
            <a:off x="4453503" y="7009643"/>
            <a:ext cx="4537532" cy="402652"/>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495205" y="7009643"/>
            <a:ext cx="3025021" cy="402652"/>
          </a:xfrm>
          <a:prstGeom prst="rect">
            <a:avLst/>
          </a:prstGeom>
        </p:spPr>
        <p:txBody>
          <a:bodyPr vert="horz" lIns="91440" tIns="45720" rIns="91440" bIns="45720" rtlCol="0" anchor="ctr"/>
          <a:lstStyle>
            <a:lvl1pPr algn="r">
              <a:defRPr sz="1323">
                <a:solidFill>
                  <a:schemeClr val="tx1">
                    <a:tint val="75000"/>
                  </a:schemeClr>
                </a:solidFill>
              </a:defRPr>
            </a:lvl1pPr>
          </a:lstStyle>
          <a:p>
            <a:fld id="{48F63A3B-78C7-47BE-AE5E-E10140E04643}" type="slidenum">
              <a:rPr lang="en-US"/>
              <a:t>‹#›</a:t>
            </a:fld>
            <a:endParaRPr lang="en-US"/>
          </a:p>
        </p:txBody>
      </p:sp>
      <p:sp>
        <p:nvSpPr>
          <p:cNvPr id="7" name="Hexagon 6"/>
          <p:cNvSpPr/>
          <p:nvPr userDrawn="1"/>
        </p:nvSpPr>
        <p:spPr>
          <a:xfrm rot="16200000">
            <a:off x="12268009" y="347420"/>
            <a:ext cx="238482" cy="28905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24" tIns="18912" rIns="37824" bIns="18912" numCol="1" spcCol="0" rtlCol="0" fromWordArt="0" anchor="ctr" anchorCtr="0" forceAA="0" compatLnSpc="1">
            <a:prstTxWarp prst="textNoShape">
              <a:avLst/>
            </a:prstTxWarp>
            <a:noAutofit/>
          </a:bodyPr>
          <a:lstStyle/>
          <a:p>
            <a:pPr algn="ctr"/>
            <a:endParaRPr lang="en-US" sz="1489"/>
          </a:p>
        </p:txBody>
      </p:sp>
      <p:sp>
        <p:nvSpPr>
          <p:cNvPr id="8" name="TextBox 7"/>
          <p:cNvSpPr txBox="1"/>
          <p:nvPr userDrawn="1"/>
        </p:nvSpPr>
        <p:spPr>
          <a:xfrm>
            <a:off x="12331144" y="434674"/>
            <a:ext cx="112211" cy="114519"/>
          </a:xfrm>
          <a:prstGeom prst="rect">
            <a:avLst/>
          </a:prstGeom>
          <a:noFill/>
        </p:spPr>
        <p:txBody>
          <a:bodyPr wrap="none" lIns="0" tIns="0" rIns="0" bIns="0" rtlCol="0">
            <a:spAutoFit/>
          </a:bodyPr>
          <a:lstStyle/>
          <a:p>
            <a:pPr algn="ctr"/>
            <a:fld id="{260E2A6B-A809-4840-BF14-8648BC0BDF87}" type="slidenum">
              <a:rPr lang="id-ID" sz="744" b="0" i="0" smtClean="0">
                <a:solidFill>
                  <a:schemeClr val="bg2"/>
                </a:solidFill>
                <a:latin typeface="Montserrat Light" charset="0"/>
                <a:ea typeface="Montserrat Light" charset="0"/>
                <a:cs typeface="Montserrat Light" charset="0"/>
              </a:rPr>
              <a:pPr algn="ctr"/>
              <a:t>‹#›</a:t>
            </a:fld>
            <a:endParaRPr lang="id-ID" sz="744" b="0" i="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167661360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 id="2147483755" r:id="rId53"/>
    <p:sldLayoutId id="2147483756" r:id="rId54"/>
    <p:sldLayoutId id="2147483757" r:id="rId55"/>
    <p:sldLayoutId id="2147483758" r:id="rId56"/>
    <p:sldLayoutId id="2147483759" r:id="rId57"/>
    <p:sldLayoutId id="2147483760" r:id="rId58"/>
    <p:sldLayoutId id="2147483761" r:id="rId59"/>
    <p:sldLayoutId id="2147483762" r:id="rId60"/>
    <p:sldLayoutId id="2147483763" r:id="rId61"/>
    <p:sldLayoutId id="2147483764" r:id="rId62"/>
    <p:sldLayoutId id="2147483765" r:id="rId63"/>
    <p:sldLayoutId id="2147483766" r:id="rId64"/>
    <p:sldLayoutId id="2147483767" r:id="rId65"/>
    <p:sldLayoutId id="2147483768" r:id="rId66"/>
    <p:sldLayoutId id="2147483769" r:id="rId67"/>
    <p:sldLayoutId id="2147483770" r:id="rId68"/>
    <p:sldLayoutId id="2147483771" r:id="rId69"/>
    <p:sldLayoutId id="2147483772" r:id="rId70"/>
    <p:sldLayoutId id="2147483773" r:id="rId71"/>
    <p:sldLayoutId id="2147483774" r:id="rId72"/>
    <p:sldLayoutId id="2147483775" r:id="rId73"/>
    <p:sldLayoutId id="2147483776" r:id="rId74"/>
    <p:sldLayoutId id="2147483777" r:id="rId75"/>
    <p:sldLayoutId id="2147483778" r:id="rId76"/>
    <p:sldLayoutId id="2147483779" r:id="rId77"/>
    <p:sldLayoutId id="2147483780" r:id="rId78"/>
    <p:sldLayoutId id="2147483781" r:id="rId79"/>
    <p:sldLayoutId id="2147483782" r:id="rId80"/>
    <p:sldLayoutId id="2147483783" r:id="rId81"/>
    <p:sldLayoutId id="2147483784" r:id="rId82"/>
    <p:sldLayoutId id="2147483785" r:id="rId83"/>
    <p:sldLayoutId id="2147483786" r:id="rId84"/>
    <p:sldLayoutId id="2147483787" r:id="rId85"/>
    <p:sldLayoutId id="2147483788" r:id="rId86"/>
    <p:sldLayoutId id="2147483789" r:id="rId87"/>
    <p:sldLayoutId id="2147483790" r:id="rId88"/>
    <p:sldLayoutId id="2147483791" r:id="rId89"/>
    <p:sldLayoutId id="2147483792" r:id="rId90"/>
    <p:sldLayoutId id="2147483793" r:id="rId91"/>
    <p:sldLayoutId id="2147483794" r:id="rId92"/>
    <p:sldLayoutId id="2147483795" r:id="rId93"/>
    <p:sldLayoutId id="2147483796" r:id="rId94"/>
    <p:sldLayoutId id="2147483797" r:id="rId95"/>
    <p:sldLayoutId id="2147483798" r:id="rId96"/>
    <p:sldLayoutId id="2147483799" r:id="rId97"/>
    <p:sldLayoutId id="2147483800" r:id="rId98"/>
    <p:sldLayoutId id="2147483801" r:id="rId99"/>
    <p:sldLayoutId id="2147483802" r:id="rId100"/>
    <p:sldLayoutId id="2147483803" r:id="rId101"/>
    <p:sldLayoutId id="2147483804" r:id="rId102"/>
    <p:sldLayoutId id="2147483805" r:id="rId103"/>
    <p:sldLayoutId id="2147483806" r:id="rId104"/>
    <p:sldLayoutId id="2147483807" r:id="rId105"/>
    <p:sldLayoutId id="2147483808" r:id="rId106"/>
    <p:sldLayoutId id="2147483809" r:id="rId107"/>
    <p:sldLayoutId id="2147483810" r:id="rId108"/>
    <p:sldLayoutId id="2147483811" r:id="rId109"/>
    <p:sldLayoutId id="2147483812" r:id="rId110"/>
    <p:sldLayoutId id="2147483813" r:id="rId111"/>
    <p:sldLayoutId id="2147483814" r:id="rId112"/>
    <p:sldLayoutId id="2147483815" r:id="rId113"/>
    <p:sldLayoutId id="2147483816" r:id="rId114"/>
    <p:sldLayoutId id="2147483817" r:id="rId115"/>
    <p:sldLayoutId id="2147483818" r:id="rId116"/>
    <p:sldLayoutId id="2147483819" r:id="rId117"/>
    <p:sldLayoutId id="2147483820" r:id="rId118"/>
    <p:sldLayoutId id="2147483821" r:id="rId119"/>
    <p:sldLayoutId id="2147483822" r:id="rId120"/>
    <p:sldLayoutId id="2147483823" r:id="rId121"/>
  </p:sldLayoutIdLst>
  <p:hf hdr="0" ftr="0" dt="0"/>
  <p:txStyles>
    <p:titleStyle>
      <a:lvl1pPr algn="l" defTabSz="1008400" rtl="0" eaLnBrk="1" latinLnBrk="0" hangingPunct="1">
        <a:lnSpc>
          <a:spcPct val="90000"/>
        </a:lnSpc>
        <a:spcBef>
          <a:spcPct val="0"/>
        </a:spcBef>
        <a:buNone/>
        <a:defRPr sz="3970" kern="1200">
          <a:solidFill>
            <a:schemeClr val="tx1"/>
          </a:solidFill>
          <a:latin typeface="+mj-lt"/>
          <a:ea typeface="+mj-ea"/>
          <a:cs typeface="+mj-cs"/>
        </a:defRPr>
      </a:lvl1pPr>
    </p:titleStyle>
    <p:bodyStyle>
      <a:lvl1pPr marL="0" indent="0" algn="l" defTabSz="1008400" rtl="0" eaLnBrk="1" latinLnBrk="0" hangingPunct="1">
        <a:lnSpc>
          <a:spcPct val="90000"/>
        </a:lnSpc>
        <a:spcBef>
          <a:spcPts val="1103"/>
        </a:spcBef>
        <a:buFont typeface="Arial" panose="020B0604020202020204" pitchFamily="34" charset="0"/>
        <a:buNone/>
        <a:defRPr sz="2426" kern="1200">
          <a:solidFill>
            <a:schemeClr val="tx1"/>
          </a:solidFill>
          <a:latin typeface="+mn-lt"/>
          <a:ea typeface="+mn-ea"/>
          <a:cs typeface="+mn-cs"/>
        </a:defRPr>
      </a:lvl1pPr>
      <a:lvl2pPr marL="504200" indent="0" algn="l" defTabSz="1008400" rtl="0" eaLnBrk="1" latinLnBrk="0" hangingPunct="1">
        <a:lnSpc>
          <a:spcPct val="90000"/>
        </a:lnSpc>
        <a:spcBef>
          <a:spcPts val="551"/>
        </a:spcBef>
        <a:buFont typeface="Arial" panose="020B0604020202020204" pitchFamily="34" charset="0"/>
        <a:buNone/>
        <a:defRPr sz="1985" kern="1200">
          <a:solidFill>
            <a:schemeClr val="tx1"/>
          </a:solidFill>
          <a:latin typeface="+mn-lt"/>
          <a:ea typeface="+mn-ea"/>
          <a:cs typeface="+mn-cs"/>
        </a:defRPr>
      </a:lvl2pPr>
      <a:lvl3pPr marL="1008400" indent="0" algn="l" defTabSz="1008400" rtl="0" eaLnBrk="1" latinLnBrk="0" hangingPunct="1">
        <a:lnSpc>
          <a:spcPct val="90000"/>
        </a:lnSpc>
        <a:spcBef>
          <a:spcPts val="551"/>
        </a:spcBef>
        <a:buFont typeface="Arial" panose="020B0604020202020204" pitchFamily="34" charset="0"/>
        <a:buNone/>
        <a:defRPr sz="1544" kern="1200">
          <a:solidFill>
            <a:schemeClr val="tx1"/>
          </a:solidFill>
          <a:latin typeface="+mn-lt"/>
          <a:ea typeface="+mn-ea"/>
          <a:cs typeface="+mn-cs"/>
        </a:defRPr>
      </a:lvl3pPr>
      <a:lvl4pPr marL="1512600" indent="0" algn="l" defTabSz="1008400" rtl="0" eaLnBrk="1" latinLnBrk="0" hangingPunct="1">
        <a:lnSpc>
          <a:spcPct val="90000"/>
        </a:lnSpc>
        <a:spcBef>
          <a:spcPts val="551"/>
        </a:spcBef>
        <a:buFont typeface="Arial" panose="020B0604020202020204" pitchFamily="34" charset="0"/>
        <a:buNone/>
        <a:defRPr sz="1323" kern="1200">
          <a:solidFill>
            <a:schemeClr val="tx1"/>
          </a:solidFill>
          <a:latin typeface="+mn-lt"/>
          <a:ea typeface="+mn-ea"/>
          <a:cs typeface="+mn-cs"/>
        </a:defRPr>
      </a:lvl4pPr>
      <a:lvl5pPr marL="2016801" indent="0" algn="l" defTabSz="1008400" rtl="0" eaLnBrk="1" latinLnBrk="0" hangingPunct="1">
        <a:lnSpc>
          <a:spcPct val="90000"/>
        </a:lnSpc>
        <a:spcBef>
          <a:spcPts val="551"/>
        </a:spcBef>
        <a:buFont typeface="Arial" panose="020B0604020202020204" pitchFamily="34" charset="0"/>
        <a:buNone/>
        <a:defRPr sz="1323" kern="1200">
          <a:solidFill>
            <a:schemeClr val="tx1"/>
          </a:solidFill>
          <a:latin typeface="+mn-lt"/>
          <a:ea typeface="+mn-ea"/>
          <a:cs typeface="+mn-cs"/>
        </a:defRPr>
      </a:lvl5pPr>
      <a:lvl6pPr marL="27731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6pPr>
      <a:lvl7pPr marL="32773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7pPr>
      <a:lvl8pPr marL="37815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8pPr>
      <a:lvl9pPr marL="4285701" indent="-252100" algn="l" defTabSz="1008400" rtl="0" eaLnBrk="1" latinLnBrk="0" hangingPunct="1">
        <a:lnSpc>
          <a:spcPct val="90000"/>
        </a:lnSpc>
        <a:spcBef>
          <a:spcPts val="551"/>
        </a:spcBef>
        <a:buFont typeface="Arial" panose="020B0604020202020204" pitchFamily="34" charset="0"/>
        <a:buChar char="•"/>
        <a:defRPr sz="1985" kern="1200">
          <a:solidFill>
            <a:schemeClr val="tx1"/>
          </a:solidFill>
          <a:latin typeface="+mn-lt"/>
          <a:ea typeface="+mn-ea"/>
          <a:cs typeface="+mn-cs"/>
        </a:defRPr>
      </a:lvl9pPr>
    </p:bodyStyle>
    <p:otherStyle>
      <a:defPPr>
        <a:defRPr lang="en-US"/>
      </a:defPPr>
      <a:lvl1pPr marL="0" algn="l" defTabSz="1008400" rtl="0" eaLnBrk="1" latinLnBrk="0" hangingPunct="1">
        <a:defRPr sz="1985" kern="1200">
          <a:solidFill>
            <a:schemeClr val="tx1"/>
          </a:solidFill>
          <a:latin typeface="+mn-lt"/>
          <a:ea typeface="+mn-ea"/>
          <a:cs typeface="+mn-cs"/>
        </a:defRPr>
      </a:lvl1pPr>
      <a:lvl2pPr marL="504200" algn="l" defTabSz="1008400" rtl="0" eaLnBrk="1" latinLnBrk="0" hangingPunct="1">
        <a:defRPr sz="1985" kern="1200">
          <a:solidFill>
            <a:schemeClr val="tx1"/>
          </a:solidFill>
          <a:latin typeface="+mn-lt"/>
          <a:ea typeface="+mn-ea"/>
          <a:cs typeface="+mn-cs"/>
        </a:defRPr>
      </a:lvl2pPr>
      <a:lvl3pPr marL="1008400" algn="l" defTabSz="1008400" rtl="0" eaLnBrk="1" latinLnBrk="0" hangingPunct="1">
        <a:defRPr sz="1985" kern="1200">
          <a:solidFill>
            <a:schemeClr val="tx1"/>
          </a:solidFill>
          <a:latin typeface="+mn-lt"/>
          <a:ea typeface="+mn-ea"/>
          <a:cs typeface="+mn-cs"/>
        </a:defRPr>
      </a:lvl3pPr>
      <a:lvl4pPr marL="1512600" algn="l" defTabSz="1008400" rtl="0" eaLnBrk="1" latinLnBrk="0" hangingPunct="1">
        <a:defRPr sz="1985" kern="1200">
          <a:solidFill>
            <a:schemeClr val="tx1"/>
          </a:solidFill>
          <a:latin typeface="+mn-lt"/>
          <a:ea typeface="+mn-ea"/>
          <a:cs typeface="+mn-cs"/>
        </a:defRPr>
      </a:lvl4pPr>
      <a:lvl5pPr marL="2016801" algn="l" defTabSz="1008400" rtl="0" eaLnBrk="1" latinLnBrk="0" hangingPunct="1">
        <a:defRPr sz="1985" kern="1200">
          <a:solidFill>
            <a:schemeClr val="tx1"/>
          </a:solidFill>
          <a:latin typeface="+mn-lt"/>
          <a:ea typeface="+mn-ea"/>
          <a:cs typeface="+mn-cs"/>
        </a:defRPr>
      </a:lvl5pPr>
      <a:lvl6pPr marL="2521001" algn="l" defTabSz="1008400" rtl="0" eaLnBrk="1" latinLnBrk="0" hangingPunct="1">
        <a:defRPr sz="1985" kern="1200">
          <a:solidFill>
            <a:schemeClr val="tx1"/>
          </a:solidFill>
          <a:latin typeface="+mn-lt"/>
          <a:ea typeface="+mn-ea"/>
          <a:cs typeface="+mn-cs"/>
        </a:defRPr>
      </a:lvl6pPr>
      <a:lvl7pPr marL="3025201" algn="l" defTabSz="1008400" rtl="0" eaLnBrk="1" latinLnBrk="0" hangingPunct="1">
        <a:defRPr sz="1985" kern="1200">
          <a:solidFill>
            <a:schemeClr val="tx1"/>
          </a:solidFill>
          <a:latin typeface="+mn-lt"/>
          <a:ea typeface="+mn-ea"/>
          <a:cs typeface="+mn-cs"/>
        </a:defRPr>
      </a:lvl7pPr>
      <a:lvl8pPr marL="3529401" algn="l" defTabSz="1008400" rtl="0" eaLnBrk="1" latinLnBrk="0" hangingPunct="1">
        <a:defRPr sz="1985" kern="1200">
          <a:solidFill>
            <a:schemeClr val="tx1"/>
          </a:solidFill>
          <a:latin typeface="+mn-lt"/>
          <a:ea typeface="+mn-ea"/>
          <a:cs typeface="+mn-cs"/>
        </a:defRPr>
      </a:lvl8pPr>
      <a:lvl9pPr marL="4033601" algn="l" defTabSz="1008400" rtl="0" eaLnBrk="1" latinLnBrk="0" hangingPunct="1">
        <a:defRPr sz="198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group of people around a cake&#10;&#10;Description automatically generated with medium confidence">
            <a:extLst>
              <a:ext uri="{FF2B5EF4-FFF2-40B4-BE49-F238E27FC236}">
                <a16:creationId xmlns:a16="http://schemas.microsoft.com/office/drawing/2014/main" id="{C7035D4E-848C-4646-BCC6-7211B8FE45A8}"/>
              </a:ext>
            </a:extLst>
          </p:cNvPr>
          <p:cNvPicPr>
            <a:picLocks noGrp="1" noChangeAspect="1"/>
          </p:cNvPicPr>
          <p:nvPr>
            <p:ph type="pic" sz="quarter" idx="10"/>
          </p:nvPr>
        </p:nvPicPr>
        <p:blipFill>
          <a:blip r:embed="rId3">
            <a:duotone>
              <a:prstClr val="black"/>
              <a:srgbClr val="C5AAC7">
                <a:tint val="45000"/>
                <a:satMod val="400000"/>
              </a:srgbClr>
            </a:duotone>
          </a:blip>
          <a:srcRect t="2117" b="2117"/>
          <a:stretch>
            <a:fillRect/>
          </a:stretch>
        </p:blipFill>
        <p:spPr/>
      </p:pic>
      <p:sp>
        <p:nvSpPr>
          <p:cNvPr id="4" name="Round Single Corner Rectangle 4">
            <a:extLst>
              <a:ext uri="{FF2B5EF4-FFF2-40B4-BE49-F238E27FC236}">
                <a16:creationId xmlns:a16="http://schemas.microsoft.com/office/drawing/2014/main" id="{F572D5CC-A2DF-4D33-8B9A-1DB9A4936878}"/>
              </a:ext>
            </a:extLst>
          </p:cNvPr>
          <p:cNvSpPr/>
          <p:nvPr/>
        </p:nvSpPr>
        <p:spPr>
          <a:xfrm>
            <a:off x="0" y="-34115"/>
            <a:ext cx="5334915" cy="4294079"/>
          </a:xfrm>
          <a:prstGeom prst="round1Rect">
            <a:avLst/>
          </a:prstGeom>
          <a:solidFill>
            <a:srgbClr val="7A3E7F">
              <a:alpha val="55000"/>
            </a:srgbClr>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Trebuchet MS" panose="020B0603020202020204"/>
              <a:ea typeface="+mn-ea"/>
              <a:cs typeface="+mn-cs"/>
            </a:endParaRPr>
          </a:p>
        </p:txBody>
      </p:sp>
      <p:pic>
        <p:nvPicPr>
          <p:cNvPr id="5" name="Picture 4" descr="A close up of a sign&#10;&#10;Description generated with high confidence">
            <a:extLst>
              <a:ext uri="{FF2B5EF4-FFF2-40B4-BE49-F238E27FC236}">
                <a16:creationId xmlns:a16="http://schemas.microsoft.com/office/drawing/2014/main" id="{54C30292-1ABB-4DE4-BDA5-775C7F13E7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3290839" cy="1205167"/>
          </a:xfrm>
          <a:prstGeom prst="rect">
            <a:avLst/>
          </a:prstGeom>
        </p:spPr>
      </p:pic>
      <p:sp>
        <p:nvSpPr>
          <p:cNvPr id="6" name="Text Placeholder 2">
            <a:extLst>
              <a:ext uri="{FF2B5EF4-FFF2-40B4-BE49-F238E27FC236}">
                <a16:creationId xmlns:a16="http://schemas.microsoft.com/office/drawing/2014/main" id="{A886E60C-D6B6-476F-8669-CE4A7CE5C1B9}"/>
              </a:ext>
            </a:extLst>
          </p:cNvPr>
          <p:cNvSpPr txBox="1">
            <a:spLocks/>
          </p:cNvSpPr>
          <p:nvPr/>
        </p:nvSpPr>
        <p:spPr>
          <a:xfrm>
            <a:off x="290379" y="1654652"/>
            <a:ext cx="4562975" cy="916543"/>
          </a:xfrm>
          <a:prstGeom prst="rect">
            <a:avLst/>
          </a:prstGeom>
        </p:spPr>
        <p:txBody>
          <a:bodyPr/>
          <a:lstStyle>
            <a:lvl1pPr marL="0">
              <a:defRPr sz="3000">
                <a:solidFill>
                  <a:schemeClr val="bg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0" cap="none" spc="0" normalizeH="0" baseline="0" noProof="0" dirty="0">
                <a:ln>
                  <a:noFill/>
                </a:ln>
                <a:solidFill>
                  <a:sysClr val="window" lastClr="FFFFFF"/>
                </a:solidFill>
                <a:effectLst/>
                <a:uLnTx/>
                <a:uFillTx/>
                <a:latin typeface="Palatino" pitchFamily="2" charset="77"/>
                <a:cs typeface="+mn-cs"/>
              </a:rPr>
              <a:t>Creating a healthy </a:t>
            </a:r>
            <a:r>
              <a:rPr lang="en-US" kern="0" dirty="0">
                <a:solidFill>
                  <a:sysClr val="window" lastClr="FFFFFF"/>
                </a:solidFill>
              </a:rPr>
              <a:t>c</a:t>
            </a:r>
            <a:r>
              <a:rPr kumimoji="0" lang="en-US" sz="3000" b="0" i="0" u="none" strike="noStrike" kern="0" cap="none" spc="0" normalizeH="0" baseline="0" noProof="0" dirty="0" err="1">
                <a:ln>
                  <a:noFill/>
                </a:ln>
                <a:solidFill>
                  <a:sysClr val="window" lastClr="FFFFFF"/>
                </a:solidFill>
                <a:effectLst/>
                <a:uLnTx/>
                <a:uFillTx/>
                <a:latin typeface="Palatino" pitchFamily="2" charset="77"/>
                <a:cs typeface="+mn-cs"/>
              </a:rPr>
              <a:t>ulture</a:t>
            </a:r>
            <a:r>
              <a:rPr kumimoji="0" lang="en-US" sz="3000" b="0" i="0" u="none" strike="noStrike" kern="0" cap="none" spc="0" normalizeH="0" baseline="0" noProof="0" dirty="0">
                <a:ln>
                  <a:noFill/>
                </a:ln>
                <a:solidFill>
                  <a:sysClr val="window" lastClr="FFFFFF"/>
                </a:solidFill>
                <a:effectLst/>
                <a:uLnTx/>
                <a:uFillTx/>
                <a:latin typeface="Palatino" pitchFamily="2" charset="77"/>
                <a:cs typeface="+mn-cs"/>
              </a:rPr>
              <a:t> in a hybrid </a:t>
            </a:r>
            <a:r>
              <a:rPr lang="en-US" kern="0" dirty="0">
                <a:solidFill>
                  <a:sysClr val="window" lastClr="FFFFFF"/>
                </a:solidFill>
              </a:rPr>
              <a:t>working world</a:t>
            </a: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000" b="0" i="0" u="none" strike="noStrike" kern="0" cap="none" spc="0" normalizeH="0" baseline="0" noProof="0" dirty="0">
                <a:ln>
                  <a:noFill/>
                </a:ln>
                <a:solidFill>
                  <a:sysClr val="window" lastClr="FFFFFF"/>
                </a:solidFill>
                <a:effectLst/>
                <a:uLnTx/>
                <a:uFillTx/>
                <a:latin typeface="Palatino" pitchFamily="2" charset="77"/>
                <a:cs typeface="+mn-cs"/>
              </a:rPr>
            </a:br>
            <a:endParaRPr kumimoji="0" lang="en-US" sz="18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p:txBody>
      </p:sp>
      <p:sp>
        <p:nvSpPr>
          <p:cNvPr id="7" name="Text Placeholder 2">
            <a:extLst>
              <a:ext uri="{FF2B5EF4-FFF2-40B4-BE49-F238E27FC236}">
                <a16:creationId xmlns:a16="http://schemas.microsoft.com/office/drawing/2014/main" id="{FAD83048-6B95-4EEF-8085-6155ADA9459F}"/>
              </a:ext>
            </a:extLst>
          </p:cNvPr>
          <p:cNvSpPr txBox="1">
            <a:spLocks/>
          </p:cNvSpPr>
          <p:nvPr/>
        </p:nvSpPr>
        <p:spPr>
          <a:xfrm>
            <a:off x="290379" y="3323153"/>
            <a:ext cx="5118731" cy="916543"/>
          </a:xfrm>
          <a:prstGeom prst="rect">
            <a:avLst/>
          </a:prstGeom>
        </p:spPr>
        <p:txBody>
          <a:bodyPr/>
          <a:lstStyle>
            <a:lvl1pPr marL="0">
              <a:defRPr sz="3000">
                <a:solidFill>
                  <a:schemeClr val="bg1"/>
                </a:solidFill>
                <a:latin typeface="Palatino" pitchFamily="2" charset="77"/>
                <a:ea typeface="Palatino" pitchFamily="2" charset="77"/>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kern="0" dirty="0">
              <a:solidFill>
                <a:sysClr val="window" lastClr="FFFFFF"/>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0" dirty="0">
                <a:solidFill>
                  <a:sysClr val="window" lastClr="FFFFFF"/>
                </a:solidFill>
              </a:rPr>
              <a:t>24 August </a:t>
            </a:r>
            <a:r>
              <a:rPr kumimoji="0" lang="en-US" sz="2000" b="0" i="0" u="none" strike="noStrike" kern="0" cap="none" spc="0" normalizeH="0" baseline="0" noProof="0" dirty="0">
                <a:ln>
                  <a:noFill/>
                </a:ln>
                <a:solidFill>
                  <a:sysClr val="window" lastClr="FFFFFF"/>
                </a:solidFill>
                <a:effectLst/>
                <a:uLnTx/>
                <a:uFillTx/>
                <a:latin typeface="Palatino" pitchFamily="2" charset="77"/>
                <a:cs typeface="+mn-cs"/>
              </a:rPr>
              <a:t>2021</a:t>
            </a:r>
            <a:endParaRPr kumimoji="0" lang="en-US" sz="1200" b="0" i="0" u="none" strike="noStrike" kern="0" cap="none" spc="0" normalizeH="0" baseline="0" noProof="0" dirty="0">
              <a:ln>
                <a:noFill/>
              </a:ln>
              <a:solidFill>
                <a:sysClr val="window" lastClr="FFFFFF"/>
              </a:solidFill>
              <a:effectLst/>
              <a:uLnTx/>
              <a:uFillTx/>
              <a:latin typeface="Palatino" pitchFamily="2" charset="77"/>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0" cap="none" spc="0" normalizeH="0" baseline="0" noProof="0" dirty="0">
              <a:ln>
                <a:noFill/>
              </a:ln>
              <a:solidFill>
                <a:sysClr val="window" lastClr="FFFFFF"/>
              </a:solidFill>
              <a:effectLst/>
              <a:uLnTx/>
              <a:uFillTx/>
              <a:latin typeface="Palatino" pitchFamily="2" charset="77"/>
              <a:cs typeface="+mn-cs"/>
            </a:endParaRPr>
          </a:p>
        </p:txBody>
      </p:sp>
    </p:spTree>
    <p:extLst>
      <p:ext uri="{BB962C8B-B14F-4D97-AF65-F5344CB8AC3E}">
        <p14:creationId xmlns:p14="http://schemas.microsoft.com/office/powerpoint/2010/main" val="292868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8142EE-97E3-8A45-A1F7-DA25DDCBBB9B}"/>
              </a:ext>
            </a:extLst>
          </p:cNvPr>
          <p:cNvSpPr>
            <a:spLocks noGrp="1"/>
          </p:cNvSpPr>
          <p:nvPr>
            <p:ph type="body" sz="quarter" idx="14"/>
          </p:nvPr>
        </p:nvSpPr>
        <p:spPr>
          <a:xfrm>
            <a:off x="4632960" y="2499360"/>
            <a:ext cx="8352041" cy="1867747"/>
          </a:xfrm>
        </p:spPr>
        <p:txBody>
          <a:bodyPr/>
          <a:lstStyle/>
          <a:p>
            <a:pPr algn="l"/>
            <a:r>
              <a:rPr lang="en-US" sz="2400" dirty="0">
                <a:solidFill>
                  <a:srgbClr val="7A3E7F"/>
                </a:solidFill>
                <a:latin typeface="Palatino Linotype" panose="02040502050505030304" pitchFamily="18" charset="0"/>
                <a:cs typeface="Trebuchet MS"/>
              </a:rPr>
              <a:t>“We like to give people the freedom to work where they want, safe in the knowledge that they have the drive and expertise to perform excellently, whether they [are] at their desk or in their kitchen…”</a:t>
            </a:r>
          </a:p>
          <a:p>
            <a:pPr algn="ctr"/>
            <a:endParaRPr lang="en-US" sz="2800" dirty="0">
              <a:solidFill>
                <a:srgbClr val="7A3E7F"/>
              </a:solidFill>
              <a:latin typeface="Palatino Linotype" panose="02040502050505030304" pitchFamily="18" charset="0"/>
              <a:cs typeface="Trebuchet MS"/>
            </a:endParaRPr>
          </a:p>
          <a:p>
            <a:pPr algn="ctr"/>
            <a:r>
              <a:rPr lang="en-US" sz="1800" dirty="0">
                <a:solidFill>
                  <a:schemeClr val="accent1">
                    <a:lumMod val="60000"/>
                    <a:lumOff val="40000"/>
                  </a:schemeClr>
                </a:solidFill>
                <a:latin typeface="Trebuchet MS"/>
                <a:cs typeface="Trebuchet MS"/>
              </a:rPr>
              <a:t>					</a:t>
            </a:r>
            <a:r>
              <a:rPr lang="en-US" sz="1600" dirty="0">
                <a:solidFill>
                  <a:schemeClr val="accent1">
                    <a:lumMod val="60000"/>
                    <a:lumOff val="40000"/>
                  </a:schemeClr>
                </a:solidFill>
                <a:latin typeface="Trebuchet MS"/>
              </a:rPr>
              <a:t>Richard Branson </a:t>
            </a:r>
            <a:endParaRPr lang="en-GB" sz="1600" dirty="0">
              <a:solidFill>
                <a:schemeClr val="accent1">
                  <a:lumMod val="60000"/>
                  <a:lumOff val="40000"/>
                </a:schemeClr>
              </a:solidFill>
              <a:latin typeface="Trebuchet MS"/>
            </a:endParaRPr>
          </a:p>
          <a:p>
            <a:pPr algn="ctr"/>
            <a:endParaRPr lang="en-US" dirty="0"/>
          </a:p>
        </p:txBody>
      </p:sp>
      <p:sp>
        <p:nvSpPr>
          <p:cNvPr id="5" name="Text Placeholder 3">
            <a:extLst>
              <a:ext uri="{FF2B5EF4-FFF2-40B4-BE49-F238E27FC236}">
                <a16:creationId xmlns:a16="http://schemas.microsoft.com/office/drawing/2014/main" id="{BCE4B84A-08D3-446A-A919-FAF25F177F49}"/>
              </a:ext>
            </a:extLst>
          </p:cNvPr>
          <p:cNvSpPr txBox="1">
            <a:spLocks/>
          </p:cNvSpPr>
          <p:nvPr/>
        </p:nvSpPr>
        <p:spPr>
          <a:xfrm>
            <a:off x="11104976" y="7048137"/>
            <a:ext cx="1738769"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dirty="0">
                <a:solidFill>
                  <a:schemeClr val="bg1"/>
                </a:solidFill>
                <a:latin typeface="Trebuchet MS" panose="020B0603020202020204" pitchFamily="34" charset="0"/>
              </a:rPr>
              <a:t>@everywomanUK</a:t>
            </a:r>
            <a:endParaRPr lang="en-US" sz="1800" kern="0" dirty="0">
              <a:solidFill>
                <a:schemeClr val="bg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b="1" kern="0" dirty="0">
              <a:solidFill>
                <a:schemeClr val="accent1"/>
              </a:solidFill>
              <a:latin typeface="Trebuchet MS" panose="020B0603020202020204" pitchFamily="34" charset="0"/>
            </a:endParaRPr>
          </a:p>
        </p:txBody>
      </p:sp>
      <p:pic>
        <p:nvPicPr>
          <p:cNvPr id="6" name="Picture Placeholder 5" descr="A person sitting at a table with a computer and a cup of coffee&#10;&#10;Description automatically generated with low confidence">
            <a:extLst>
              <a:ext uri="{FF2B5EF4-FFF2-40B4-BE49-F238E27FC236}">
                <a16:creationId xmlns:a16="http://schemas.microsoft.com/office/drawing/2014/main" id="{BBE34684-E865-42F0-BB0D-C7B840D6FFD1}"/>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33776" r="33776"/>
          <a:stretch>
            <a:fillRect/>
          </a:stretch>
        </p:blipFill>
        <p:spPr/>
      </p:pic>
    </p:spTree>
    <p:extLst>
      <p:ext uri="{BB962C8B-B14F-4D97-AF65-F5344CB8AC3E}">
        <p14:creationId xmlns:p14="http://schemas.microsoft.com/office/powerpoint/2010/main" val="1607130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C5CEFC-A7EA-7544-8B97-10190D6AE21F}"/>
              </a:ext>
            </a:extLst>
          </p:cNvPr>
          <p:cNvSpPr/>
          <p:nvPr/>
        </p:nvSpPr>
        <p:spPr>
          <a:xfrm>
            <a:off x="5623560" y="259081"/>
            <a:ext cx="6396643" cy="553998"/>
          </a:xfrm>
          <a:prstGeom prst="rect">
            <a:avLst/>
          </a:prstGeom>
        </p:spPr>
        <p:txBody>
          <a:bodyPr wrap="square">
            <a:spAutoFit/>
          </a:bodyPr>
          <a:lstStyle/>
          <a:p>
            <a:r>
              <a:rPr lang="en-GB" sz="3000" dirty="0">
                <a:solidFill>
                  <a:schemeClr val="accent1"/>
                </a:solidFill>
                <a:latin typeface="Palatino" pitchFamily="2" charset="77"/>
              </a:rPr>
              <a:t>What’s needed from leaders</a:t>
            </a:r>
          </a:p>
        </p:txBody>
      </p:sp>
      <p:sp>
        <p:nvSpPr>
          <p:cNvPr id="5" name="Text Placeholder 4">
            <a:extLst>
              <a:ext uri="{FF2B5EF4-FFF2-40B4-BE49-F238E27FC236}">
                <a16:creationId xmlns:a16="http://schemas.microsoft.com/office/drawing/2014/main" id="{049E16DA-1EE2-E745-B2D8-68AA09445A5D}"/>
              </a:ext>
            </a:extLst>
          </p:cNvPr>
          <p:cNvSpPr>
            <a:spLocks noGrp="1"/>
          </p:cNvSpPr>
          <p:nvPr>
            <p:ph type="body" sz="quarter" idx="16"/>
          </p:nvPr>
        </p:nvSpPr>
        <p:spPr>
          <a:xfrm>
            <a:off x="5999004" y="1125042"/>
            <a:ext cx="6251171" cy="5923095"/>
          </a:xfrm>
        </p:spPr>
        <p:txBody>
          <a:bodyPr/>
          <a:lstStyle/>
          <a:p>
            <a:pPr marL="342900" indent="-342900">
              <a:lnSpc>
                <a:spcPct val="150000"/>
              </a:lnSpc>
              <a:buFont typeface="Arial" panose="020B0604020202020204" pitchFamily="34" charset="0"/>
              <a:buChar char="•"/>
            </a:pPr>
            <a:r>
              <a:rPr lang="en-US" sz="2400" dirty="0"/>
              <a:t>Compassion</a:t>
            </a:r>
          </a:p>
          <a:p>
            <a:pPr marL="342900" indent="-342900">
              <a:lnSpc>
                <a:spcPct val="150000"/>
              </a:lnSpc>
              <a:buFont typeface="Arial" panose="020B0604020202020204" pitchFamily="34" charset="0"/>
              <a:buChar char="•"/>
            </a:pPr>
            <a:r>
              <a:rPr lang="en-US" sz="2400" dirty="0"/>
              <a:t>Model expected behaviour</a:t>
            </a:r>
          </a:p>
          <a:p>
            <a:pPr marL="342900" indent="-342900">
              <a:lnSpc>
                <a:spcPct val="150000"/>
              </a:lnSpc>
              <a:buFont typeface="Arial" panose="020B0604020202020204" pitchFamily="34" charset="0"/>
              <a:buChar char="•"/>
            </a:pPr>
            <a:r>
              <a:rPr lang="en-US" sz="2400" dirty="0"/>
              <a:t>Foster open communications</a:t>
            </a:r>
          </a:p>
          <a:p>
            <a:pPr marL="342900" indent="-342900">
              <a:lnSpc>
                <a:spcPct val="150000"/>
              </a:lnSpc>
              <a:buFont typeface="Arial" panose="020B0604020202020204" pitchFamily="34" charset="0"/>
              <a:buChar char="•"/>
            </a:pPr>
            <a:r>
              <a:rPr lang="en-US" sz="2400" dirty="0"/>
              <a:t>Grant genuine flexibility</a:t>
            </a:r>
          </a:p>
          <a:p>
            <a:pPr marL="342900" indent="-342900">
              <a:lnSpc>
                <a:spcPct val="150000"/>
              </a:lnSpc>
              <a:buFont typeface="Arial" panose="020B0604020202020204" pitchFamily="34" charset="0"/>
              <a:buChar char="•"/>
            </a:pPr>
            <a:r>
              <a:rPr lang="en-US" sz="2400" dirty="0"/>
              <a:t>Focus on outcomes not process</a:t>
            </a:r>
          </a:p>
          <a:p>
            <a:pPr marL="342900" indent="-342900">
              <a:lnSpc>
                <a:spcPct val="150000"/>
              </a:lnSpc>
              <a:buFont typeface="Arial" panose="020B0604020202020204" pitchFamily="34" charset="0"/>
              <a:buChar char="•"/>
            </a:pPr>
            <a:r>
              <a:rPr lang="en-US" sz="2400" dirty="0"/>
              <a:t>Create a safe working environment</a:t>
            </a:r>
          </a:p>
          <a:p>
            <a:pPr marL="342900" indent="-342900">
              <a:lnSpc>
                <a:spcPct val="150000"/>
              </a:lnSpc>
              <a:buFont typeface="Arial" panose="020B0604020202020204" pitchFamily="34" charset="0"/>
              <a:buChar char="•"/>
            </a:pPr>
            <a:r>
              <a:rPr lang="en-US" sz="2400" dirty="0"/>
              <a:t>Prioritise wellbeing</a:t>
            </a:r>
          </a:p>
          <a:p>
            <a:pPr marL="342900" indent="-342900">
              <a:lnSpc>
                <a:spcPct val="150000"/>
              </a:lnSpc>
              <a:buFont typeface="Arial" panose="020B0604020202020204" pitchFamily="34" charset="0"/>
              <a:buChar char="•"/>
            </a:pPr>
            <a:r>
              <a:rPr lang="en-US" sz="2400" dirty="0"/>
              <a:t>Create energy</a:t>
            </a:r>
          </a:p>
          <a:p>
            <a:pPr marL="342900" indent="-342900">
              <a:lnSpc>
                <a:spcPct val="150000"/>
              </a:lnSpc>
              <a:buFont typeface="Arial" panose="020B0604020202020204" pitchFamily="34" charset="0"/>
              <a:buChar char="•"/>
            </a:pPr>
            <a:r>
              <a:rPr lang="en-US" sz="2400" dirty="0"/>
              <a:t>Be available</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a:p>
            <a:pPr marL="171450" indent="-171450">
              <a:buFont typeface="Arial" panose="020B0604020202020204" pitchFamily="34" charset="0"/>
              <a:buChar char="•"/>
            </a:pPr>
            <a:endParaRPr lang="en-US" sz="2400" dirty="0"/>
          </a:p>
        </p:txBody>
      </p:sp>
      <p:sp>
        <p:nvSpPr>
          <p:cNvPr id="8" name="Text Placeholder 3">
            <a:extLst>
              <a:ext uri="{FF2B5EF4-FFF2-40B4-BE49-F238E27FC236}">
                <a16:creationId xmlns:a16="http://schemas.microsoft.com/office/drawing/2014/main" id="{7641529F-FBD6-45C6-A665-B01051799069}"/>
              </a:ext>
            </a:extLst>
          </p:cNvPr>
          <p:cNvSpPr txBox="1">
            <a:spLocks/>
          </p:cNvSpPr>
          <p:nvPr/>
        </p:nvSpPr>
        <p:spPr>
          <a:xfrm>
            <a:off x="11104976" y="7048137"/>
            <a:ext cx="1738769"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pic>
        <p:nvPicPr>
          <p:cNvPr id="9" name="Picture Placeholder 8" descr="A person standing in front of a window&#10;&#10;Description automatically generated with low confidence">
            <a:extLst>
              <a:ext uri="{FF2B5EF4-FFF2-40B4-BE49-F238E27FC236}">
                <a16:creationId xmlns:a16="http://schemas.microsoft.com/office/drawing/2014/main" id="{E08EB97B-3498-4694-938A-0F581A4C6380}"/>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30551" r="30551"/>
          <a:stretch>
            <a:fillRect/>
          </a:stretch>
        </p:blipFill>
        <p:spPr/>
      </p:pic>
    </p:spTree>
    <p:extLst>
      <p:ext uri="{BB962C8B-B14F-4D97-AF65-F5344CB8AC3E}">
        <p14:creationId xmlns:p14="http://schemas.microsoft.com/office/powerpoint/2010/main" val="262093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8142EE-97E3-8A45-A1F7-DA25DDCBBB9B}"/>
              </a:ext>
            </a:extLst>
          </p:cNvPr>
          <p:cNvSpPr>
            <a:spLocks noGrp="1"/>
          </p:cNvSpPr>
          <p:nvPr>
            <p:ph type="body" sz="quarter" idx="14"/>
          </p:nvPr>
        </p:nvSpPr>
        <p:spPr>
          <a:xfrm>
            <a:off x="4125711" y="2275551"/>
            <a:ext cx="9165146" cy="2450592"/>
          </a:xfrm>
        </p:spPr>
        <p:txBody>
          <a:bodyPr/>
          <a:lstStyle/>
          <a:p>
            <a:pPr algn="l"/>
            <a:r>
              <a:rPr lang="en-US" sz="2800" dirty="0">
                <a:latin typeface="Palatino Linotype" panose="02040502050505030304" pitchFamily="18" charset="0"/>
                <a:cs typeface="Trebuchet MS"/>
              </a:rPr>
              <a:t>“</a:t>
            </a:r>
            <a:r>
              <a:rPr lang="en-US" sz="2400" dirty="0">
                <a:latin typeface="Palatino Linotype" panose="02040502050505030304" pitchFamily="18" charset="0"/>
                <a:cs typeface="Trebuchet MS"/>
              </a:rPr>
              <a:t>We are seeing acceleration of the trend to democratize the workplace… During these last few months, digital technology has flattened hierarchies, with everyone connected and getting information at the same time, and so many channels for employee input and involvement in decision-making in real time.</a:t>
            </a:r>
            <a:r>
              <a:rPr lang="en-US" sz="2800" dirty="0">
                <a:latin typeface="Palatino Linotype" panose="02040502050505030304" pitchFamily="18" charset="0"/>
                <a:cs typeface="Trebuchet MS"/>
              </a:rPr>
              <a:t>” </a:t>
            </a:r>
            <a:r>
              <a:rPr lang="en-US" sz="3200" dirty="0">
                <a:latin typeface="Palatino Linotype" panose="02040502050505030304" pitchFamily="18" charset="0"/>
                <a:cs typeface="Trebuchet MS"/>
              </a:rPr>
              <a:t>			            				</a:t>
            </a:r>
            <a:r>
              <a:rPr lang="en-US" sz="1600" dirty="0">
                <a:solidFill>
                  <a:schemeClr val="accent1">
                    <a:lumMod val="60000"/>
                    <a:lumOff val="40000"/>
                  </a:schemeClr>
                </a:solidFill>
                <a:latin typeface="Trebuchet MS"/>
              </a:rPr>
              <a:t>Diane </a:t>
            </a:r>
            <a:r>
              <a:rPr lang="en-US" sz="1600" dirty="0" err="1">
                <a:solidFill>
                  <a:schemeClr val="accent1">
                    <a:lumMod val="60000"/>
                    <a:lumOff val="40000"/>
                  </a:schemeClr>
                </a:solidFill>
                <a:latin typeface="Trebuchet MS"/>
              </a:rPr>
              <a:t>Gherson</a:t>
            </a:r>
            <a:endParaRPr lang="en-US" sz="1600" dirty="0">
              <a:solidFill>
                <a:schemeClr val="accent1">
                  <a:lumMod val="60000"/>
                  <a:lumOff val="40000"/>
                </a:schemeClr>
              </a:solidFill>
              <a:latin typeface="Trebuchet MS"/>
            </a:endParaRPr>
          </a:p>
          <a:p>
            <a:pPr algn="ctr"/>
            <a:endParaRPr lang="en-US" dirty="0"/>
          </a:p>
          <a:p>
            <a:pPr algn="ctr"/>
            <a:endParaRPr lang="en-US" dirty="0"/>
          </a:p>
          <a:p>
            <a:pPr algn="ctr"/>
            <a:endParaRPr lang="en-GB" dirty="0"/>
          </a:p>
          <a:p>
            <a:pPr algn="ctr"/>
            <a:endParaRPr lang="en-US" dirty="0"/>
          </a:p>
        </p:txBody>
      </p:sp>
      <p:sp>
        <p:nvSpPr>
          <p:cNvPr id="5" name="Text Placeholder 3">
            <a:extLst>
              <a:ext uri="{FF2B5EF4-FFF2-40B4-BE49-F238E27FC236}">
                <a16:creationId xmlns:a16="http://schemas.microsoft.com/office/drawing/2014/main" id="{D6B1ED26-E2C8-4BE4-914A-215E123881CC}"/>
              </a:ext>
            </a:extLst>
          </p:cNvPr>
          <p:cNvSpPr txBox="1">
            <a:spLocks/>
          </p:cNvSpPr>
          <p:nvPr/>
        </p:nvSpPr>
        <p:spPr>
          <a:xfrm>
            <a:off x="11104976" y="7048137"/>
            <a:ext cx="1738769"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dirty="0">
                <a:solidFill>
                  <a:schemeClr val="bg1"/>
                </a:solidFill>
                <a:latin typeface="Trebuchet MS" panose="020B0603020202020204" pitchFamily="34" charset="0"/>
              </a:rPr>
              <a:t>@everywomanUK</a:t>
            </a:r>
            <a:endParaRPr lang="en-US" sz="1800" kern="0" dirty="0">
              <a:solidFill>
                <a:schemeClr val="bg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b="1" kern="0" dirty="0">
              <a:solidFill>
                <a:schemeClr val="accent1"/>
              </a:solidFill>
              <a:latin typeface="Trebuchet MS" panose="020B0603020202020204" pitchFamily="34" charset="0"/>
            </a:endParaRPr>
          </a:p>
        </p:txBody>
      </p:sp>
      <p:pic>
        <p:nvPicPr>
          <p:cNvPr id="6" name="Picture Placeholder 5" descr="A picture containing missile, rocket&#10;&#10;Description automatically generated">
            <a:extLst>
              <a:ext uri="{FF2B5EF4-FFF2-40B4-BE49-F238E27FC236}">
                <a16:creationId xmlns:a16="http://schemas.microsoft.com/office/drawing/2014/main" id="{A452904E-0F79-439B-8734-D29E80FDA073}"/>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19225" r="19225"/>
          <a:stretch>
            <a:fillRect/>
          </a:stretch>
        </p:blipFill>
        <p:spPr/>
      </p:pic>
    </p:spTree>
    <p:extLst>
      <p:ext uri="{BB962C8B-B14F-4D97-AF65-F5344CB8AC3E}">
        <p14:creationId xmlns:p14="http://schemas.microsoft.com/office/powerpoint/2010/main" val="809420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147C82C-A1C6-4F34-AD7B-0ED3D63C47DB}"/>
              </a:ext>
            </a:extLst>
          </p:cNvPr>
          <p:cNvSpPr>
            <a:spLocks noGrp="1"/>
          </p:cNvSpPr>
          <p:nvPr>
            <p:ph type="body" sz="quarter" idx="14"/>
          </p:nvPr>
        </p:nvSpPr>
        <p:spPr/>
        <p:txBody>
          <a:bodyPr/>
          <a:lstStyle/>
          <a:p>
            <a:r>
              <a:rPr lang="en-GB" kern="1200" dirty="0">
                <a:ea typeface="+mn-ea"/>
              </a:rPr>
              <a:t>How to maintain motivation</a:t>
            </a:r>
          </a:p>
        </p:txBody>
      </p:sp>
      <p:sp>
        <p:nvSpPr>
          <p:cNvPr id="5" name="Text Placeholder 4">
            <a:extLst>
              <a:ext uri="{FF2B5EF4-FFF2-40B4-BE49-F238E27FC236}">
                <a16:creationId xmlns:a16="http://schemas.microsoft.com/office/drawing/2014/main" id="{A166A745-DEBD-9A48-B5D2-3774F662EE4A}"/>
              </a:ext>
            </a:extLst>
          </p:cNvPr>
          <p:cNvSpPr>
            <a:spLocks noGrp="1"/>
          </p:cNvSpPr>
          <p:nvPr>
            <p:ph type="body" sz="quarter" idx="16"/>
          </p:nvPr>
        </p:nvSpPr>
        <p:spPr>
          <a:xfrm>
            <a:off x="785670" y="1926717"/>
            <a:ext cx="11330130" cy="4546600"/>
          </a:xfrm>
        </p:spPr>
        <p:txBody>
          <a:bodyPr/>
          <a:lstStyle/>
          <a:p>
            <a:pPr>
              <a:lnSpc>
                <a:spcPct val="150000"/>
              </a:lnSpc>
            </a:pPr>
            <a:endParaRPr lang="en-US" sz="2000" dirty="0"/>
          </a:p>
          <a:p>
            <a:pPr marL="342900" indent="-342900">
              <a:lnSpc>
                <a:spcPct val="150000"/>
              </a:lnSpc>
              <a:buFont typeface="Arial" panose="020B0604020202020204" pitchFamily="34" charset="0"/>
              <a:buChar char="•"/>
            </a:pPr>
            <a:endParaRPr lang="en-US" sz="2400" dirty="0"/>
          </a:p>
          <a:p>
            <a:pPr marL="228600" indent="-228600">
              <a:buFont typeface="+mj-lt"/>
              <a:buAutoNum type="arabicPeriod"/>
            </a:pPr>
            <a:endParaRPr lang="en-US" sz="2400" dirty="0"/>
          </a:p>
          <a:p>
            <a:endParaRPr lang="en-US" sz="2400" dirty="0"/>
          </a:p>
          <a:p>
            <a:endParaRPr lang="en-US" sz="2400" dirty="0"/>
          </a:p>
          <a:p>
            <a:pPr marL="228600" indent="-228600">
              <a:buFont typeface="+mj-lt"/>
              <a:buAutoNum type="arabicPeriod"/>
            </a:pPr>
            <a:endParaRPr lang="en-US" dirty="0"/>
          </a:p>
        </p:txBody>
      </p:sp>
      <p:sp>
        <p:nvSpPr>
          <p:cNvPr id="7" name="Text Placeholder 3">
            <a:extLst>
              <a:ext uri="{FF2B5EF4-FFF2-40B4-BE49-F238E27FC236}">
                <a16:creationId xmlns:a16="http://schemas.microsoft.com/office/drawing/2014/main" id="{7A6B3DEA-FF86-4711-9380-21EC44A22817}"/>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grpSp>
        <p:nvGrpSpPr>
          <p:cNvPr id="23" name="Group 22">
            <a:extLst>
              <a:ext uri="{FF2B5EF4-FFF2-40B4-BE49-F238E27FC236}">
                <a16:creationId xmlns:a16="http://schemas.microsoft.com/office/drawing/2014/main" id="{8A5AE221-28EB-4E34-B92D-3A4F895A151B}"/>
              </a:ext>
            </a:extLst>
          </p:cNvPr>
          <p:cNvGrpSpPr/>
          <p:nvPr/>
        </p:nvGrpSpPr>
        <p:grpSpPr>
          <a:xfrm>
            <a:off x="4513641" y="2153069"/>
            <a:ext cx="4417256" cy="4320248"/>
            <a:chOff x="2921267" y="2095716"/>
            <a:chExt cx="4417256" cy="4320248"/>
          </a:xfrm>
        </p:grpSpPr>
        <p:grpSp>
          <p:nvGrpSpPr>
            <p:cNvPr id="13" name="Group 12">
              <a:extLst>
                <a:ext uri="{FF2B5EF4-FFF2-40B4-BE49-F238E27FC236}">
                  <a16:creationId xmlns:a16="http://schemas.microsoft.com/office/drawing/2014/main" id="{2F28C361-AE91-4177-9AC1-7B05E89A8436}"/>
                </a:ext>
              </a:extLst>
            </p:cNvPr>
            <p:cNvGrpSpPr/>
            <p:nvPr/>
          </p:nvGrpSpPr>
          <p:grpSpPr>
            <a:xfrm>
              <a:off x="2921267" y="2095716"/>
              <a:ext cx="1104314" cy="1104314"/>
              <a:chOff x="3108960" y="2293034"/>
              <a:chExt cx="1104314" cy="1104314"/>
            </a:xfrm>
          </p:grpSpPr>
          <p:cxnSp>
            <p:nvCxnSpPr>
              <p:cNvPr id="8" name="Straight Connector 7">
                <a:extLst>
                  <a:ext uri="{FF2B5EF4-FFF2-40B4-BE49-F238E27FC236}">
                    <a16:creationId xmlns:a16="http://schemas.microsoft.com/office/drawing/2014/main" id="{1220C1AC-040A-45D6-91D6-D9C3DE38AFC6}"/>
                  </a:ext>
                </a:extLst>
              </p:cNvPr>
              <p:cNvCxnSpPr/>
              <p:nvPr/>
            </p:nvCxnSpPr>
            <p:spPr>
              <a:xfrm>
                <a:off x="3108960" y="2293034"/>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D644489-6EC9-4CC8-A0AF-58C218A3A24B}"/>
                  </a:ext>
                </a:extLst>
              </p:cNvPr>
              <p:cNvCxnSpPr>
                <a:cxnSpLocks/>
              </p:cNvCxnSpPr>
              <p:nvPr/>
            </p:nvCxnSpPr>
            <p:spPr>
              <a:xfrm rot="5400000">
                <a:off x="3661117" y="2829720"/>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774D6174-59B0-4098-AEA0-3658486185F1}"/>
                </a:ext>
              </a:extLst>
            </p:cNvPr>
            <p:cNvGrpSpPr/>
            <p:nvPr/>
          </p:nvGrpSpPr>
          <p:grpSpPr>
            <a:xfrm>
              <a:off x="4025581" y="3168921"/>
              <a:ext cx="1104314" cy="1104314"/>
              <a:chOff x="3108960" y="2293034"/>
              <a:chExt cx="1104314" cy="1104314"/>
            </a:xfrm>
          </p:grpSpPr>
          <p:cxnSp>
            <p:nvCxnSpPr>
              <p:cNvPr id="15" name="Straight Connector 14">
                <a:extLst>
                  <a:ext uri="{FF2B5EF4-FFF2-40B4-BE49-F238E27FC236}">
                    <a16:creationId xmlns:a16="http://schemas.microsoft.com/office/drawing/2014/main" id="{301B6AFE-9470-4C08-A59C-9FD94BF3E108}"/>
                  </a:ext>
                </a:extLst>
              </p:cNvPr>
              <p:cNvCxnSpPr/>
              <p:nvPr/>
            </p:nvCxnSpPr>
            <p:spPr>
              <a:xfrm>
                <a:off x="3108960" y="2293034"/>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94A719-0B0E-4AE7-9D65-CBD65AB36AA7}"/>
                  </a:ext>
                </a:extLst>
              </p:cNvPr>
              <p:cNvCxnSpPr>
                <a:cxnSpLocks/>
              </p:cNvCxnSpPr>
              <p:nvPr/>
            </p:nvCxnSpPr>
            <p:spPr>
              <a:xfrm rot="5400000">
                <a:off x="3661117" y="2829720"/>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2910970-1CA1-460A-9A99-F82AAA09C2B0}"/>
                </a:ext>
              </a:extLst>
            </p:cNvPr>
            <p:cNvGrpSpPr/>
            <p:nvPr/>
          </p:nvGrpSpPr>
          <p:grpSpPr>
            <a:xfrm>
              <a:off x="5129895" y="4238175"/>
              <a:ext cx="1104314" cy="1104314"/>
              <a:chOff x="3108960" y="2293034"/>
              <a:chExt cx="1104314" cy="1104314"/>
            </a:xfrm>
          </p:grpSpPr>
          <p:cxnSp>
            <p:nvCxnSpPr>
              <p:cNvPr id="18" name="Straight Connector 17">
                <a:extLst>
                  <a:ext uri="{FF2B5EF4-FFF2-40B4-BE49-F238E27FC236}">
                    <a16:creationId xmlns:a16="http://schemas.microsoft.com/office/drawing/2014/main" id="{470869B7-55DE-470D-BDE1-AA4D945180ED}"/>
                  </a:ext>
                </a:extLst>
              </p:cNvPr>
              <p:cNvCxnSpPr/>
              <p:nvPr/>
            </p:nvCxnSpPr>
            <p:spPr>
              <a:xfrm>
                <a:off x="3108960" y="2293034"/>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893C9B-6727-4F64-AE93-A19B0CFD770C}"/>
                  </a:ext>
                </a:extLst>
              </p:cNvPr>
              <p:cNvCxnSpPr>
                <a:cxnSpLocks/>
              </p:cNvCxnSpPr>
              <p:nvPr/>
            </p:nvCxnSpPr>
            <p:spPr>
              <a:xfrm rot="5400000">
                <a:off x="3661117" y="2829720"/>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B88F8D25-6E12-49C4-9C53-240E6AF3595D}"/>
                </a:ext>
              </a:extLst>
            </p:cNvPr>
            <p:cNvGrpSpPr/>
            <p:nvPr/>
          </p:nvGrpSpPr>
          <p:grpSpPr>
            <a:xfrm>
              <a:off x="6234209" y="5311650"/>
              <a:ext cx="1104314" cy="1104314"/>
              <a:chOff x="3108960" y="2293034"/>
              <a:chExt cx="1104314" cy="1104314"/>
            </a:xfrm>
          </p:grpSpPr>
          <p:cxnSp>
            <p:nvCxnSpPr>
              <p:cNvPr id="21" name="Straight Connector 20">
                <a:extLst>
                  <a:ext uri="{FF2B5EF4-FFF2-40B4-BE49-F238E27FC236}">
                    <a16:creationId xmlns:a16="http://schemas.microsoft.com/office/drawing/2014/main" id="{2EF293DA-E6ED-4C0A-84F3-A1312A118CDB}"/>
                  </a:ext>
                </a:extLst>
              </p:cNvPr>
              <p:cNvCxnSpPr/>
              <p:nvPr/>
            </p:nvCxnSpPr>
            <p:spPr>
              <a:xfrm>
                <a:off x="3108960" y="2293034"/>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27F91FE-EA04-468F-86EB-E9827A8600E9}"/>
                  </a:ext>
                </a:extLst>
              </p:cNvPr>
              <p:cNvCxnSpPr>
                <a:cxnSpLocks/>
              </p:cNvCxnSpPr>
              <p:nvPr/>
            </p:nvCxnSpPr>
            <p:spPr>
              <a:xfrm rot="5400000">
                <a:off x="3661117" y="2829720"/>
                <a:ext cx="0" cy="1104314"/>
              </a:xfrm>
              <a:prstGeom prst="line">
                <a:avLst/>
              </a:prstGeom>
              <a:ln w="28575"/>
            </p:spPr>
            <p:style>
              <a:lnRef idx="1">
                <a:schemeClr val="accent1"/>
              </a:lnRef>
              <a:fillRef idx="0">
                <a:schemeClr val="accent1"/>
              </a:fillRef>
              <a:effectRef idx="0">
                <a:schemeClr val="accent1"/>
              </a:effectRef>
              <a:fontRef idx="minor">
                <a:schemeClr val="tx1"/>
              </a:fontRef>
            </p:style>
          </p:cxnSp>
        </p:grpSp>
      </p:grpSp>
      <p:sp>
        <p:nvSpPr>
          <p:cNvPr id="25" name="TextBox 24">
            <a:extLst>
              <a:ext uri="{FF2B5EF4-FFF2-40B4-BE49-F238E27FC236}">
                <a16:creationId xmlns:a16="http://schemas.microsoft.com/office/drawing/2014/main" id="{C4106114-7533-4F7F-853D-F7005279E8B0}"/>
              </a:ext>
            </a:extLst>
          </p:cNvPr>
          <p:cNvSpPr txBox="1"/>
          <p:nvPr/>
        </p:nvSpPr>
        <p:spPr>
          <a:xfrm>
            <a:off x="4687260" y="2743538"/>
            <a:ext cx="1675115" cy="369332"/>
          </a:xfrm>
          <a:prstGeom prst="rect">
            <a:avLst/>
          </a:prstGeom>
          <a:noFill/>
        </p:spPr>
        <p:txBody>
          <a:bodyPr wrap="square" rtlCol="0">
            <a:spAutoFit/>
          </a:bodyPr>
          <a:lstStyle/>
          <a:p>
            <a:r>
              <a:rPr lang="en-GB" dirty="0"/>
              <a:t>Vision</a:t>
            </a:r>
          </a:p>
        </p:txBody>
      </p:sp>
      <p:sp>
        <p:nvSpPr>
          <p:cNvPr id="26" name="TextBox 25">
            <a:extLst>
              <a:ext uri="{FF2B5EF4-FFF2-40B4-BE49-F238E27FC236}">
                <a16:creationId xmlns:a16="http://schemas.microsoft.com/office/drawing/2014/main" id="{5C106F9F-A1B5-45C2-AC39-E65F7BF9DA0A}"/>
              </a:ext>
            </a:extLst>
          </p:cNvPr>
          <p:cNvSpPr txBox="1"/>
          <p:nvPr/>
        </p:nvSpPr>
        <p:spPr>
          <a:xfrm>
            <a:off x="5823216" y="3842291"/>
            <a:ext cx="1675115" cy="369332"/>
          </a:xfrm>
          <a:prstGeom prst="rect">
            <a:avLst/>
          </a:prstGeom>
          <a:noFill/>
        </p:spPr>
        <p:txBody>
          <a:bodyPr wrap="square" rtlCol="0">
            <a:spAutoFit/>
          </a:bodyPr>
          <a:lstStyle/>
          <a:p>
            <a:r>
              <a:rPr lang="en-GB" dirty="0"/>
              <a:t>Mission</a:t>
            </a:r>
          </a:p>
        </p:txBody>
      </p:sp>
      <p:sp>
        <p:nvSpPr>
          <p:cNvPr id="27" name="TextBox 26">
            <a:extLst>
              <a:ext uri="{FF2B5EF4-FFF2-40B4-BE49-F238E27FC236}">
                <a16:creationId xmlns:a16="http://schemas.microsoft.com/office/drawing/2014/main" id="{FDB32985-B5FB-4242-B680-BE1CC8A171C5}"/>
              </a:ext>
            </a:extLst>
          </p:cNvPr>
          <p:cNvSpPr txBox="1"/>
          <p:nvPr/>
        </p:nvSpPr>
        <p:spPr>
          <a:xfrm>
            <a:off x="6906362" y="4911544"/>
            <a:ext cx="1675115" cy="369332"/>
          </a:xfrm>
          <a:prstGeom prst="rect">
            <a:avLst/>
          </a:prstGeom>
          <a:noFill/>
        </p:spPr>
        <p:txBody>
          <a:bodyPr wrap="square" rtlCol="0">
            <a:spAutoFit/>
          </a:bodyPr>
          <a:lstStyle/>
          <a:p>
            <a:r>
              <a:rPr lang="en-GB" dirty="0"/>
              <a:t>Goal</a:t>
            </a:r>
          </a:p>
        </p:txBody>
      </p:sp>
      <p:sp>
        <p:nvSpPr>
          <p:cNvPr id="28" name="TextBox 27">
            <a:extLst>
              <a:ext uri="{FF2B5EF4-FFF2-40B4-BE49-F238E27FC236}">
                <a16:creationId xmlns:a16="http://schemas.microsoft.com/office/drawing/2014/main" id="{4FBF88ED-A728-4661-9BAC-36415C307CC5}"/>
              </a:ext>
            </a:extLst>
          </p:cNvPr>
          <p:cNvSpPr txBox="1"/>
          <p:nvPr/>
        </p:nvSpPr>
        <p:spPr>
          <a:xfrm>
            <a:off x="8033657" y="5985018"/>
            <a:ext cx="1675115" cy="369332"/>
          </a:xfrm>
          <a:prstGeom prst="rect">
            <a:avLst/>
          </a:prstGeom>
          <a:noFill/>
        </p:spPr>
        <p:txBody>
          <a:bodyPr wrap="square" rtlCol="0">
            <a:spAutoFit/>
          </a:bodyPr>
          <a:lstStyle/>
          <a:p>
            <a:r>
              <a:rPr lang="en-GB" dirty="0"/>
              <a:t>Your job</a:t>
            </a:r>
          </a:p>
        </p:txBody>
      </p:sp>
      <p:pic>
        <p:nvPicPr>
          <p:cNvPr id="30" name="Graphic 29" descr="City outline">
            <a:extLst>
              <a:ext uri="{FF2B5EF4-FFF2-40B4-BE49-F238E27FC236}">
                <a16:creationId xmlns:a16="http://schemas.microsoft.com/office/drawing/2014/main" id="{995BB8BA-D252-4EEE-A258-2952D8D615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88319" y="1784257"/>
            <a:ext cx="1442017" cy="1442017"/>
          </a:xfrm>
          <a:prstGeom prst="rect">
            <a:avLst/>
          </a:prstGeom>
        </p:spPr>
      </p:pic>
      <p:pic>
        <p:nvPicPr>
          <p:cNvPr id="32" name="Graphic 31" descr="Woman outline">
            <a:extLst>
              <a:ext uri="{FF2B5EF4-FFF2-40B4-BE49-F238E27FC236}">
                <a16:creationId xmlns:a16="http://schemas.microsoft.com/office/drawing/2014/main" id="{B1DFFBD0-75CF-4EA8-85FF-50C357378B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9480" y="6083496"/>
            <a:ext cx="1233257" cy="1233257"/>
          </a:xfrm>
          <a:prstGeom prst="rect">
            <a:avLst/>
          </a:prstGeom>
        </p:spPr>
      </p:pic>
    </p:spTree>
    <p:extLst>
      <p:ext uri="{BB962C8B-B14F-4D97-AF65-F5344CB8AC3E}">
        <p14:creationId xmlns:p14="http://schemas.microsoft.com/office/powerpoint/2010/main" val="869030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a:xfrm>
            <a:off x="782268" y="3089676"/>
            <a:ext cx="11881818" cy="543043"/>
          </a:xfrm>
        </p:spPr>
        <p:txBody>
          <a:bodyPr lIns="0"/>
          <a:lstStyle/>
          <a:p>
            <a:pPr lvl="0" algn="l" defTabSz="414589"/>
            <a:r>
              <a:rPr lang="en-US" sz="3200" dirty="0">
                <a:solidFill>
                  <a:srgbClr val="512654"/>
                </a:solidFill>
                <a:latin typeface="Palatino Linotype" panose="02040502050505030304" pitchFamily="18" charset="0"/>
              </a:rPr>
              <a:t>Poll Three: Tell us more about you</a:t>
            </a:r>
          </a:p>
        </p:txBody>
      </p:sp>
      <p:sp>
        <p:nvSpPr>
          <p:cNvPr id="18" name="Text Placeholder 5">
            <a:extLst>
              <a:ext uri="{FF2B5EF4-FFF2-40B4-BE49-F238E27FC236}">
                <a16:creationId xmlns:a16="http://schemas.microsoft.com/office/drawing/2014/main" id="{9FC29134-A6A3-AD46-9731-CC41B8986AD8}"/>
              </a:ext>
            </a:extLst>
          </p:cNvPr>
          <p:cNvSpPr>
            <a:spLocks noGrp="1"/>
          </p:cNvSpPr>
          <p:nvPr/>
        </p:nvSpPr>
        <p:spPr>
          <a:xfrm>
            <a:off x="782268" y="5295392"/>
            <a:ext cx="4080993" cy="804418"/>
          </a:xfrm>
          <a:prstGeom prst="rect">
            <a:avLst/>
          </a:prstGeom>
        </p:spPr>
        <p:txBody>
          <a:bodyPr/>
          <a:lstStyle>
            <a:lvl1pPr marL="0">
              <a:defRPr sz="120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endParaRPr lang="en-US"/>
          </a:p>
        </p:txBody>
      </p:sp>
      <p:pic>
        <p:nvPicPr>
          <p:cNvPr id="36" name="Picture Placeholder 35">
            <a:extLst>
              <a:ext uri="{FF2B5EF4-FFF2-40B4-BE49-F238E27FC236}">
                <a16:creationId xmlns:a16="http://schemas.microsoft.com/office/drawing/2014/main" id="{602B6111-ACF0-8949-ABBB-EECCD9856347}"/>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17" name="Text Placeholder 3">
            <a:extLst>
              <a:ext uri="{FF2B5EF4-FFF2-40B4-BE49-F238E27FC236}">
                <a16:creationId xmlns:a16="http://schemas.microsoft.com/office/drawing/2014/main" id="{69F44FFC-F5CD-C14F-B985-ADF53DD13E66}"/>
              </a:ext>
            </a:extLst>
          </p:cNvPr>
          <p:cNvSpPr>
            <a:spLocks noGrp="1"/>
          </p:cNvSpPr>
          <p:nvPr>
            <p:ph type="body" sz="quarter" idx="16"/>
          </p:nvPr>
        </p:nvSpPr>
        <p:spPr>
          <a:xfrm>
            <a:off x="782268" y="3838088"/>
            <a:ext cx="11938369" cy="317054"/>
          </a:xfrm>
        </p:spPr>
        <p:txBody>
          <a:bodyPr lIns="0"/>
          <a:lstStyle/>
          <a:p>
            <a:pPr algn="l">
              <a:spcBef>
                <a:spcPts val="450"/>
              </a:spcBef>
            </a:pPr>
            <a:r>
              <a:rPr lang="en-US" sz="2400" dirty="0">
                <a:solidFill>
                  <a:schemeClr val="accent1"/>
                </a:solidFill>
                <a:latin typeface="Trebuchet MS" panose="020B0603020202020204" pitchFamily="34" charset="0"/>
              </a:rPr>
              <a:t>What pitfalls have you experienced?</a:t>
            </a:r>
          </a:p>
          <a:p>
            <a:pPr algn="l">
              <a:spcBef>
                <a:spcPts val="450"/>
              </a:spcBef>
            </a:pPr>
            <a:endParaRPr lang="en-US" sz="2400" dirty="0">
              <a:solidFill>
                <a:schemeClr val="accent1"/>
              </a:solidFill>
              <a:latin typeface="Trebuchet MS" panose="020B0603020202020204" pitchFamily="34" charset="0"/>
            </a:endParaRPr>
          </a:p>
          <a:p>
            <a:pPr algn="l">
              <a:spcBef>
                <a:spcPts val="450"/>
              </a:spcBef>
            </a:pPr>
            <a:r>
              <a:rPr lang="en-US" sz="2400" b="1" dirty="0">
                <a:solidFill>
                  <a:schemeClr val="accent1"/>
                </a:solidFill>
                <a:latin typeface="Trebuchet MS" panose="020B0603020202020204" pitchFamily="34" charset="0"/>
              </a:rPr>
              <a:t>:</a:t>
            </a:r>
          </a:p>
        </p:txBody>
      </p:sp>
      <p:sp>
        <p:nvSpPr>
          <p:cNvPr id="6" name="Text Placeholder 20">
            <a:extLst>
              <a:ext uri="{FF2B5EF4-FFF2-40B4-BE49-F238E27FC236}">
                <a16:creationId xmlns:a16="http://schemas.microsoft.com/office/drawing/2014/main" id="{813447E7-9D86-6E4E-981B-8751D36CE975}"/>
              </a:ext>
            </a:extLst>
          </p:cNvPr>
          <p:cNvSpPr>
            <a:spLocks noGrp="1"/>
          </p:cNvSpPr>
          <p:nvPr/>
        </p:nvSpPr>
        <p:spPr>
          <a:xfrm>
            <a:off x="782268" y="4633131"/>
            <a:ext cx="11036731"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A - 		I work much longer hours</a:t>
            </a:r>
          </a:p>
          <a:p>
            <a:endParaRPr lang="en-US" dirty="0"/>
          </a:p>
        </p:txBody>
      </p:sp>
      <p:sp>
        <p:nvSpPr>
          <p:cNvPr id="10" name="Text Placeholder 20">
            <a:extLst>
              <a:ext uri="{FF2B5EF4-FFF2-40B4-BE49-F238E27FC236}">
                <a16:creationId xmlns:a16="http://schemas.microsoft.com/office/drawing/2014/main" id="{9D6CEEFA-E368-B74B-B216-6A4A9FAAE831}"/>
              </a:ext>
            </a:extLst>
          </p:cNvPr>
          <p:cNvSpPr>
            <a:spLocks noGrp="1"/>
          </p:cNvSpPr>
          <p:nvPr/>
        </p:nvSpPr>
        <p:spPr>
          <a:xfrm>
            <a:off x="768822" y="5130672"/>
            <a:ext cx="11050178"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B - 		There seem to be two teams - in-groups and out-groups</a:t>
            </a:r>
          </a:p>
        </p:txBody>
      </p:sp>
      <p:sp>
        <p:nvSpPr>
          <p:cNvPr id="11" name="Text Placeholder 20">
            <a:extLst>
              <a:ext uri="{FF2B5EF4-FFF2-40B4-BE49-F238E27FC236}">
                <a16:creationId xmlns:a16="http://schemas.microsoft.com/office/drawing/2014/main" id="{CC285947-568E-B743-A7D1-A23A0EB35FED}"/>
              </a:ext>
            </a:extLst>
          </p:cNvPr>
          <p:cNvSpPr>
            <a:spLocks noGrp="1"/>
          </p:cNvSpPr>
          <p:nvPr/>
        </p:nvSpPr>
        <p:spPr>
          <a:xfrm>
            <a:off x="782268" y="5628213"/>
            <a:ext cx="11050179" cy="423672"/>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C - 		I miss the casual conversations which lead to improvements and solutions </a:t>
            </a:r>
          </a:p>
        </p:txBody>
      </p:sp>
      <p:sp>
        <p:nvSpPr>
          <p:cNvPr id="4" name="TextBox 3">
            <a:extLst>
              <a:ext uri="{FF2B5EF4-FFF2-40B4-BE49-F238E27FC236}">
                <a16:creationId xmlns:a16="http://schemas.microsoft.com/office/drawing/2014/main" id="{A4D212AD-0C1B-4046-AA43-06FB77A506C2}"/>
              </a:ext>
            </a:extLst>
          </p:cNvPr>
          <p:cNvSpPr txBox="1"/>
          <p:nvPr/>
        </p:nvSpPr>
        <p:spPr>
          <a:xfrm>
            <a:off x="768819" y="6135089"/>
            <a:ext cx="11050179" cy="400110"/>
          </a:xfrm>
          <a:prstGeom prst="rect">
            <a:avLst/>
          </a:prstGeom>
          <a:solidFill>
            <a:srgbClr val="7A3E7F"/>
          </a:solidFill>
        </p:spPr>
        <p:txBody>
          <a:bodyPr wrap="square" rtlCol="0">
            <a:spAutoFit/>
          </a:bodyPr>
          <a:lstStyle/>
          <a:p>
            <a:r>
              <a:rPr lang="en-US" dirty="0"/>
              <a:t> </a:t>
            </a:r>
            <a:r>
              <a:rPr lang="en-US" dirty="0">
                <a:solidFill>
                  <a:schemeClr val="bg1"/>
                </a:solidFill>
              </a:rPr>
              <a:t>D -		</a:t>
            </a:r>
            <a:r>
              <a:rPr lang="en-US" sz="2000" dirty="0">
                <a:solidFill>
                  <a:schemeClr val="bg1"/>
                </a:solidFill>
              </a:rPr>
              <a:t>It’s harder to get my voice heard</a:t>
            </a:r>
            <a:endParaRPr lang="en-US" sz="2000" dirty="0"/>
          </a:p>
        </p:txBody>
      </p:sp>
      <p:sp>
        <p:nvSpPr>
          <p:cNvPr id="12" name="Text Placeholder 3">
            <a:extLst>
              <a:ext uri="{FF2B5EF4-FFF2-40B4-BE49-F238E27FC236}">
                <a16:creationId xmlns:a16="http://schemas.microsoft.com/office/drawing/2014/main" id="{10797D2F-13D2-485F-950C-434D1EE243BA}"/>
              </a:ext>
            </a:extLst>
          </p:cNvPr>
          <p:cNvSpPr txBox="1">
            <a:spLocks/>
          </p:cNvSpPr>
          <p:nvPr/>
        </p:nvSpPr>
        <p:spPr>
          <a:xfrm>
            <a:off x="399520" y="7041103"/>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spTree>
    <p:extLst>
      <p:ext uri="{BB962C8B-B14F-4D97-AF65-F5344CB8AC3E}">
        <p14:creationId xmlns:p14="http://schemas.microsoft.com/office/powerpoint/2010/main" val="344110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8AD7D6-E6E7-4C19-8F90-E7BF0C331429}"/>
              </a:ext>
            </a:extLst>
          </p:cNvPr>
          <p:cNvSpPr>
            <a:spLocks noGrp="1"/>
          </p:cNvSpPr>
          <p:nvPr>
            <p:ph type="body" sz="quarter" idx="14"/>
          </p:nvPr>
        </p:nvSpPr>
        <p:spPr/>
        <p:txBody>
          <a:bodyPr/>
          <a:lstStyle/>
          <a:p>
            <a:r>
              <a:rPr lang="en-GB" dirty="0"/>
              <a:t>How to avoid the pitfalls</a:t>
            </a:r>
          </a:p>
        </p:txBody>
      </p:sp>
      <p:sp>
        <p:nvSpPr>
          <p:cNvPr id="3" name="Text Placeholder 2">
            <a:extLst>
              <a:ext uri="{FF2B5EF4-FFF2-40B4-BE49-F238E27FC236}">
                <a16:creationId xmlns:a16="http://schemas.microsoft.com/office/drawing/2014/main" id="{46377A09-5215-49EE-A025-2C1191F3B295}"/>
              </a:ext>
            </a:extLst>
          </p:cNvPr>
          <p:cNvSpPr>
            <a:spLocks noGrp="1"/>
          </p:cNvSpPr>
          <p:nvPr>
            <p:ph type="body" sz="quarter" idx="16"/>
          </p:nvPr>
        </p:nvSpPr>
        <p:spPr/>
        <p:txBody>
          <a:bodyPr/>
          <a:lstStyle/>
          <a:p>
            <a:pPr marL="171450" indent="-171450">
              <a:lnSpc>
                <a:spcPct val="150000"/>
              </a:lnSpc>
              <a:buFont typeface="Arial" panose="020B0604020202020204" pitchFamily="34" charset="0"/>
              <a:buChar char="•"/>
            </a:pPr>
            <a:r>
              <a:rPr lang="en-US" sz="2400" dirty="0"/>
              <a:t>Remote-first focus</a:t>
            </a:r>
          </a:p>
          <a:p>
            <a:pPr marL="171450" indent="-171450">
              <a:lnSpc>
                <a:spcPct val="150000"/>
              </a:lnSpc>
              <a:buFont typeface="Arial" panose="020B0604020202020204" pitchFamily="34" charset="0"/>
              <a:buChar char="•"/>
            </a:pPr>
            <a:r>
              <a:rPr lang="en-US" sz="2400" dirty="0"/>
              <a:t>Encourage and respect boundaries</a:t>
            </a:r>
          </a:p>
          <a:p>
            <a:pPr marL="171450" indent="-171450">
              <a:lnSpc>
                <a:spcPct val="150000"/>
              </a:lnSpc>
              <a:buFont typeface="Arial" panose="020B0604020202020204" pitchFamily="34" charset="0"/>
              <a:buChar char="•"/>
            </a:pPr>
            <a:r>
              <a:rPr lang="en-US" sz="2400" dirty="0"/>
              <a:t>Foster creativity</a:t>
            </a:r>
          </a:p>
          <a:p>
            <a:pPr marL="171450" indent="-171450">
              <a:lnSpc>
                <a:spcPct val="150000"/>
              </a:lnSpc>
              <a:buFont typeface="Arial" panose="020B0604020202020204" pitchFamily="34" charset="0"/>
              <a:buChar char="•"/>
            </a:pPr>
            <a:r>
              <a:rPr lang="en-US" sz="2400" dirty="0"/>
              <a:t>Make information available to all</a:t>
            </a:r>
          </a:p>
          <a:p>
            <a:pPr marL="171450" indent="-171450">
              <a:lnSpc>
                <a:spcPct val="150000"/>
              </a:lnSpc>
              <a:buFont typeface="Arial" panose="020B0604020202020204" pitchFamily="34" charset="0"/>
              <a:buChar char="•"/>
            </a:pPr>
            <a:r>
              <a:rPr lang="en-US" sz="2400" dirty="0"/>
              <a:t>Equip everyone to work effectively</a:t>
            </a:r>
          </a:p>
          <a:p>
            <a:pPr marL="171450" indent="-171450">
              <a:lnSpc>
                <a:spcPct val="150000"/>
              </a:lnSpc>
              <a:buFont typeface="Arial" panose="020B0604020202020204" pitchFamily="34" charset="0"/>
              <a:buChar char="•"/>
            </a:pPr>
            <a:r>
              <a:rPr lang="en-US" sz="2400" dirty="0"/>
              <a:t>Ensure fairness of career and development opportunities</a:t>
            </a:r>
          </a:p>
          <a:p>
            <a:pPr marL="171450" indent="-171450">
              <a:lnSpc>
                <a:spcPct val="150000"/>
              </a:lnSpc>
              <a:buFont typeface="Arial" panose="020B0604020202020204" pitchFamily="34" charset="0"/>
              <a:buChar char="•"/>
            </a:pPr>
            <a:r>
              <a:rPr lang="en-US" sz="2400" dirty="0"/>
              <a:t>Judge work by results</a:t>
            </a:r>
          </a:p>
          <a:p>
            <a:endParaRPr lang="en-GB" dirty="0"/>
          </a:p>
        </p:txBody>
      </p:sp>
      <p:sp>
        <p:nvSpPr>
          <p:cNvPr id="5" name="Text Placeholder 3">
            <a:extLst>
              <a:ext uri="{FF2B5EF4-FFF2-40B4-BE49-F238E27FC236}">
                <a16:creationId xmlns:a16="http://schemas.microsoft.com/office/drawing/2014/main" id="{AEFA8EFA-F62F-408C-A1DF-6FEF43F1634B}"/>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dirty="0">
                <a:solidFill>
                  <a:schemeClr val="accent1"/>
                </a:solidFill>
                <a:latin typeface="Trebuchet MS" panose="020B0603020202020204" pitchFamily="34" charset="0"/>
              </a:rPr>
              <a:t>@everywomanUK</a:t>
            </a:r>
            <a:endParaRPr lang="en-US" sz="18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b="1" kern="0" dirty="0">
              <a:solidFill>
                <a:schemeClr val="accent1"/>
              </a:solidFill>
              <a:latin typeface="Trebuchet MS" panose="020B0603020202020204" pitchFamily="34" charset="0"/>
            </a:endParaRPr>
          </a:p>
        </p:txBody>
      </p:sp>
      <p:pic>
        <p:nvPicPr>
          <p:cNvPr id="9" name="Picture Placeholder 8" descr="A picture containing snow&#10;&#10;Description automatically generated">
            <a:extLst>
              <a:ext uri="{FF2B5EF4-FFF2-40B4-BE49-F238E27FC236}">
                <a16:creationId xmlns:a16="http://schemas.microsoft.com/office/drawing/2014/main" id="{6E19756B-8B33-4E32-9B8F-7537A2AAE72A}"/>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36019" t="143" r="17695" b="-143"/>
          <a:stretch/>
        </p:blipFill>
        <p:spPr>
          <a:xfrm>
            <a:off x="8212950" y="-28722"/>
            <a:ext cx="5279456" cy="7602408"/>
          </a:xfrm>
        </p:spPr>
      </p:pic>
    </p:spTree>
    <p:extLst>
      <p:ext uri="{BB962C8B-B14F-4D97-AF65-F5344CB8AC3E}">
        <p14:creationId xmlns:p14="http://schemas.microsoft.com/office/powerpoint/2010/main" val="1200722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96C2F2-4F35-4B4E-B9B9-70BAEDE70145}"/>
              </a:ext>
            </a:extLst>
          </p:cNvPr>
          <p:cNvSpPr>
            <a:spLocks noGrp="1"/>
          </p:cNvSpPr>
          <p:nvPr>
            <p:ph type="body" sz="quarter" idx="14"/>
          </p:nvPr>
        </p:nvSpPr>
        <p:spPr/>
        <p:txBody>
          <a:bodyPr/>
          <a:lstStyle/>
          <a:p>
            <a:pPr algn="l"/>
            <a:r>
              <a:rPr lang="en-GB" dirty="0"/>
              <a:t>Recreate social interaction…</a:t>
            </a:r>
            <a:r>
              <a:rPr lang="en-GB" sz="3200" dirty="0"/>
              <a:t>put the team in charge!</a:t>
            </a:r>
          </a:p>
          <a:p>
            <a:endParaRPr lang="en-GB" dirty="0"/>
          </a:p>
        </p:txBody>
      </p:sp>
      <p:sp>
        <p:nvSpPr>
          <p:cNvPr id="3" name="Text Placeholder 2">
            <a:extLst>
              <a:ext uri="{FF2B5EF4-FFF2-40B4-BE49-F238E27FC236}">
                <a16:creationId xmlns:a16="http://schemas.microsoft.com/office/drawing/2014/main" id="{19B9259F-937F-404F-B59B-ED187E4ACFEE}"/>
              </a:ext>
            </a:extLst>
          </p:cNvPr>
          <p:cNvSpPr>
            <a:spLocks noGrp="1"/>
          </p:cNvSpPr>
          <p:nvPr>
            <p:ph type="body" sz="quarter" idx="16"/>
          </p:nvPr>
        </p:nvSpPr>
        <p:spPr/>
        <p:txBody>
          <a:bodyPr/>
          <a:lstStyle/>
          <a:p>
            <a:pPr marL="342900" lvl="0" indent="-342900">
              <a:lnSpc>
                <a:spcPct val="150000"/>
              </a:lnSpc>
              <a:buFont typeface="Arial" panose="020B0604020202020204" pitchFamily="34" charset="0"/>
              <a:buChar char="•"/>
            </a:pPr>
            <a:r>
              <a:rPr lang="en-GB" sz="2400" dirty="0"/>
              <a:t>Informal chat to start each meeting</a:t>
            </a:r>
          </a:p>
          <a:p>
            <a:pPr marL="342900" lvl="0" indent="-342900">
              <a:lnSpc>
                <a:spcPct val="150000"/>
              </a:lnSpc>
              <a:buFont typeface="Arial" panose="020B0604020202020204" pitchFamily="34" charset="0"/>
              <a:buChar char="•"/>
            </a:pPr>
            <a:r>
              <a:rPr lang="en-GB" sz="2400" dirty="0"/>
              <a:t>Coffee chats</a:t>
            </a:r>
          </a:p>
          <a:p>
            <a:pPr marL="342900" lvl="0" indent="-342900">
              <a:lnSpc>
                <a:spcPct val="150000"/>
              </a:lnSpc>
              <a:buFont typeface="Arial" panose="020B0604020202020204" pitchFamily="34" charset="0"/>
              <a:buChar char="•"/>
            </a:pPr>
            <a:r>
              <a:rPr lang="en-GB" sz="2400" dirty="0"/>
              <a:t>Speaker lunches</a:t>
            </a:r>
          </a:p>
          <a:p>
            <a:pPr marL="342900" lvl="0" indent="-342900">
              <a:lnSpc>
                <a:spcPct val="150000"/>
              </a:lnSpc>
              <a:buFont typeface="Arial" panose="020B0604020202020204" pitchFamily="34" charset="0"/>
              <a:buChar char="•"/>
            </a:pPr>
            <a:r>
              <a:rPr lang="en-GB" sz="2400" dirty="0"/>
              <a:t>Friday chillout</a:t>
            </a:r>
          </a:p>
          <a:p>
            <a:pPr marL="342900" lvl="0" indent="-342900">
              <a:lnSpc>
                <a:spcPct val="150000"/>
              </a:lnSpc>
              <a:buFont typeface="Arial" panose="020B0604020202020204" pitchFamily="34" charset="0"/>
              <a:buChar char="•"/>
            </a:pPr>
            <a:r>
              <a:rPr lang="en-GB" sz="2400" dirty="0"/>
              <a:t>Business book club</a:t>
            </a:r>
          </a:p>
          <a:p>
            <a:pPr marL="342900" lvl="0" indent="-342900">
              <a:lnSpc>
                <a:spcPct val="150000"/>
              </a:lnSpc>
              <a:buFont typeface="Arial" panose="020B0604020202020204" pitchFamily="34" charset="0"/>
              <a:buChar char="•"/>
            </a:pPr>
            <a:r>
              <a:rPr lang="en-GB" sz="2400" dirty="0"/>
              <a:t>Virtual charity event</a:t>
            </a:r>
          </a:p>
          <a:p>
            <a:pPr marL="342900" lvl="0" indent="-342900">
              <a:lnSpc>
                <a:spcPct val="150000"/>
              </a:lnSpc>
              <a:buFont typeface="Arial" panose="020B0604020202020204" pitchFamily="34" charset="0"/>
              <a:buChar char="•"/>
            </a:pPr>
            <a:r>
              <a:rPr lang="en-GB" sz="2400" dirty="0"/>
              <a:t>Virtual entertainment</a:t>
            </a:r>
          </a:p>
          <a:p>
            <a:pPr marL="342900" lvl="0" indent="-342900">
              <a:lnSpc>
                <a:spcPct val="150000"/>
              </a:lnSpc>
              <a:buFont typeface="Arial" panose="020B0604020202020204" pitchFamily="34" charset="0"/>
              <a:buChar char="•"/>
            </a:pPr>
            <a:r>
              <a:rPr lang="en-GB" sz="2400" dirty="0"/>
              <a:t>Celebrate birthdays</a:t>
            </a:r>
          </a:p>
          <a:p>
            <a:endParaRPr lang="en-GB" dirty="0"/>
          </a:p>
        </p:txBody>
      </p:sp>
      <p:sp>
        <p:nvSpPr>
          <p:cNvPr id="5" name="Text Placeholder 3">
            <a:extLst>
              <a:ext uri="{FF2B5EF4-FFF2-40B4-BE49-F238E27FC236}">
                <a16:creationId xmlns:a16="http://schemas.microsoft.com/office/drawing/2014/main" id="{B26D61EE-9935-48A2-A126-859D9AC29DA4}"/>
              </a:ext>
            </a:extLst>
          </p:cNvPr>
          <p:cNvSpPr txBox="1">
            <a:spLocks/>
          </p:cNvSpPr>
          <p:nvPr/>
        </p:nvSpPr>
        <p:spPr>
          <a:xfrm>
            <a:off x="11104976" y="7048137"/>
            <a:ext cx="1738769"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dirty="0">
                <a:solidFill>
                  <a:schemeClr val="accent1"/>
                </a:solidFill>
                <a:latin typeface="Trebuchet MS" panose="020B0603020202020204" pitchFamily="34" charset="0"/>
              </a:rPr>
              <a:t>@everywomanUK</a:t>
            </a:r>
            <a:endParaRPr lang="en-US" sz="18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b="1" kern="0" dirty="0">
              <a:solidFill>
                <a:schemeClr val="accent1"/>
              </a:solidFill>
              <a:latin typeface="Trebuchet MS" panose="020B0603020202020204" pitchFamily="34" charset="0"/>
            </a:endParaRPr>
          </a:p>
        </p:txBody>
      </p:sp>
      <p:pic>
        <p:nvPicPr>
          <p:cNvPr id="7" name="Picture Placeholder 6" descr="A person using a computer&#10;&#10;Description automatically generated with low confidence">
            <a:extLst>
              <a:ext uri="{FF2B5EF4-FFF2-40B4-BE49-F238E27FC236}">
                <a16:creationId xmlns:a16="http://schemas.microsoft.com/office/drawing/2014/main" id="{F75F965E-EDE1-4B29-8943-3F90305B566A}"/>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26949" r="26949"/>
          <a:stretch>
            <a:fillRect/>
          </a:stretch>
        </p:blipFill>
        <p:spPr/>
      </p:pic>
    </p:spTree>
    <p:extLst>
      <p:ext uri="{BB962C8B-B14F-4D97-AF65-F5344CB8AC3E}">
        <p14:creationId xmlns:p14="http://schemas.microsoft.com/office/powerpoint/2010/main" val="7522528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8142EE-97E3-8A45-A1F7-DA25DDCBBB9B}"/>
              </a:ext>
            </a:extLst>
          </p:cNvPr>
          <p:cNvSpPr>
            <a:spLocks noGrp="1"/>
          </p:cNvSpPr>
          <p:nvPr>
            <p:ph type="body" sz="quarter" idx="14"/>
          </p:nvPr>
        </p:nvSpPr>
        <p:spPr>
          <a:xfrm>
            <a:off x="4448907" y="2266307"/>
            <a:ext cx="8458721" cy="2431627"/>
          </a:xfrm>
        </p:spPr>
        <p:txBody>
          <a:bodyPr/>
          <a:lstStyle/>
          <a:p>
            <a:r>
              <a:rPr lang="en-GB" sz="2400" dirty="0">
                <a:latin typeface="Palatino Linotype" panose="02040502050505030304" pitchFamily="18" charset="0"/>
              </a:rPr>
              <a:t>“Telecommuting, one of many forms of work-life flexibility, should no longer be viewed as a nice-to-have, optional perk mostly used by working moms. These common stereotypes don’t match reality — allowing employees to work remotely is a core business strategy today… We need to de-parent, de-gender, and de-age the perception of the flexible worker.” </a:t>
            </a:r>
            <a:endParaRPr lang="en-US" sz="2800" dirty="0">
              <a:latin typeface="Palatino Linotype" panose="02040502050505030304" pitchFamily="18" charset="0"/>
            </a:endParaRPr>
          </a:p>
          <a:p>
            <a:pPr algn="ctr"/>
            <a:r>
              <a:rPr lang="en-US" sz="1600" dirty="0">
                <a:solidFill>
                  <a:schemeClr val="accent1">
                    <a:lumMod val="60000"/>
                    <a:lumOff val="40000"/>
                  </a:schemeClr>
                </a:solidFill>
                <a:latin typeface="Trebuchet MS"/>
                <a:cs typeface="Trebuchet MS"/>
              </a:rPr>
              <a:t>					</a:t>
            </a:r>
          </a:p>
          <a:p>
            <a:pPr algn="ctr"/>
            <a:r>
              <a:rPr lang="en-US" sz="1600" dirty="0">
                <a:solidFill>
                  <a:schemeClr val="accent1">
                    <a:lumMod val="60000"/>
                    <a:lumOff val="40000"/>
                  </a:schemeClr>
                </a:solidFill>
                <a:latin typeface="Trebuchet MS"/>
                <a:cs typeface="Trebuchet MS"/>
              </a:rPr>
              <a:t>						Cali Williams Yost</a:t>
            </a:r>
            <a:endParaRPr lang="en-US" sz="2800" dirty="0"/>
          </a:p>
          <a:p>
            <a:pPr algn="ctr"/>
            <a:endParaRPr lang="en-GB" dirty="0"/>
          </a:p>
          <a:p>
            <a:pPr algn="ctr"/>
            <a:endParaRPr lang="en-US" dirty="0"/>
          </a:p>
        </p:txBody>
      </p:sp>
      <p:sp>
        <p:nvSpPr>
          <p:cNvPr id="5" name="Text Placeholder 3">
            <a:extLst>
              <a:ext uri="{FF2B5EF4-FFF2-40B4-BE49-F238E27FC236}">
                <a16:creationId xmlns:a16="http://schemas.microsoft.com/office/drawing/2014/main" id="{13A00F99-080D-4646-81CC-50F5B14ED7BD}"/>
              </a:ext>
            </a:extLst>
          </p:cNvPr>
          <p:cNvSpPr txBox="1">
            <a:spLocks/>
          </p:cNvSpPr>
          <p:nvPr/>
        </p:nvSpPr>
        <p:spPr>
          <a:xfrm>
            <a:off x="11104976" y="7048137"/>
            <a:ext cx="1738769"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dirty="0">
                <a:solidFill>
                  <a:schemeClr val="bg1"/>
                </a:solidFill>
                <a:latin typeface="Trebuchet MS" panose="020B0603020202020204" pitchFamily="34" charset="0"/>
              </a:rPr>
              <a:t>@everywomanUK</a:t>
            </a:r>
            <a:endParaRPr lang="en-US" sz="1800" kern="0" dirty="0">
              <a:solidFill>
                <a:schemeClr val="bg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kern="0" dirty="0">
              <a:solidFill>
                <a:schemeClr val="accent1"/>
              </a:solidFill>
              <a:latin typeface="Trebuchet MS" panose="020B0603020202020204" pitchFamily="34" charset="0"/>
            </a:endParaRPr>
          </a:p>
          <a:p>
            <a:pPr algn="l" defTabSz="914400">
              <a:spcBef>
                <a:spcPts val="450"/>
              </a:spcBef>
            </a:pPr>
            <a:endParaRPr lang="en-US" sz="2400" b="1" kern="0" dirty="0">
              <a:solidFill>
                <a:schemeClr val="accent1"/>
              </a:solidFill>
              <a:latin typeface="Trebuchet MS" panose="020B0603020202020204" pitchFamily="34" charset="0"/>
            </a:endParaRPr>
          </a:p>
        </p:txBody>
      </p:sp>
      <p:pic>
        <p:nvPicPr>
          <p:cNvPr id="8" name="Picture Placeholder 7" descr="A person using a computer&#10;&#10;Description automatically generated with low confidence">
            <a:extLst>
              <a:ext uri="{FF2B5EF4-FFF2-40B4-BE49-F238E27FC236}">
                <a16:creationId xmlns:a16="http://schemas.microsoft.com/office/drawing/2014/main" id="{A88DB879-D7CC-4634-96D6-2E259A65F976}"/>
              </a:ext>
            </a:extLst>
          </p:cNvPr>
          <p:cNvPicPr>
            <a:picLocks noGrp="1" noChangeAspect="1"/>
          </p:cNvPicPr>
          <p:nvPr>
            <p:ph type="pic" sz="quarter" idx="19"/>
          </p:nvPr>
        </p:nvPicPr>
        <p:blipFill rotWithShape="1">
          <a:blip r:embed="rId3">
            <a:duotone>
              <a:schemeClr val="accent3">
                <a:shade val="45000"/>
                <a:satMod val="135000"/>
              </a:schemeClr>
              <a:prstClr val="white"/>
            </a:duotone>
          </a:blip>
          <a:srcRect l="13495" r="13495"/>
          <a:stretch>
            <a:fillRect/>
          </a:stretch>
        </p:blipFill>
        <p:spPr/>
      </p:pic>
    </p:spTree>
    <p:extLst>
      <p:ext uri="{BB962C8B-B14F-4D97-AF65-F5344CB8AC3E}">
        <p14:creationId xmlns:p14="http://schemas.microsoft.com/office/powerpoint/2010/main" val="3521328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people sitting in chairs&#10;&#10;Description automatically generated with medium confidence">
            <a:extLst>
              <a:ext uri="{FF2B5EF4-FFF2-40B4-BE49-F238E27FC236}">
                <a16:creationId xmlns:a16="http://schemas.microsoft.com/office/drawing/2014/main" id="{24B92FF5-2D35-48EE-84C6-3E39ABD4E92C}"/>
              </a:ext>
            </a:extLst>
          </p:cNvPr>
          <p:cNvPicPr>
            <a:picLocks noGrp="1" noChangeAspect="1"/>
          </p:cNvPicPr>
          <p:nvPr>
            <p:ph type="pic" sz="quarter" idx="10"/>
          </p:nvPr>
        </p:nvPicPr>
        <p:blipFill>
          <a:blip r:embed="rId3">
            <a:duotone>
              <a:prstClr val="black"/>
              <a:schemeClr val="accent1">
                <a:tint val="45000"/>
                <a:satMod val="400000"/>
              </a:schemeClr>
            </a:duotone>
          </a:blip>
          <a:srcRect t="2159" b="2159"/>
          <a:stretch>
            <a:fillRect/>
          </a:stretch>
        </p:blipFill>
        <p:spPr/>
      </p:pic>
      <p:sp>
        <p:nvSpPr>
          <p:cNvPr id="2" name="TextBox 1">
            <a:extLst>
              <a:ext uri="{FF2B5EF4-FFF2-40B4-BE49-F238E27FC236}">
                <a16:creationId xmlns:a16="http://schemas.microsoft.com/office/drawing/2014/main" id="{194AD0A5-5815-D844-AD37-A6F496A24043}"/>
              </a:ext>
            </a:extLst>
          </p:cNvPr>
          <p:cNvSpPr txBox="1"/>
          <p:nvPr/>
        </p:nvSpPr>
        <p:spPr>
          <a:xfrm>
            <a:off x="2065503" y="478000"/>
            <a:ext cx="9313532" cy="729752"/>
          </a:xfrm>
          <a:prstGeom prst="rect">
            <a:avLst/>
          </a:prstGeom>
          <a:noFill/>
        </p:spPr>
        <p:txBody>
          <a:bodyPr wrap="square" rtlCol="0">
            <a:spAutoFit/>
          </a:bodyPr>
          <a:lstStyle/>
          <a:p>
            <a:pPr algn="ctr">
              <a:lnSpc>
                <a:spcPct val="143000"/>
              </a:lnSpc>
            </a:pPr>
            <a:r>
              <a:rPr lang="en-GB" altLang="en-US" sz="3200">
                <a:solidFill>
                  <a:schemeClr val="bg1"/>
                </a:solidFill>
                <a:latin typeface="Palatino Linotype" panose="02040502050505030304" pitchFamily="18" charset="0"/>
              </a:rPr>
              <a:t>Questions</a:t>
            </a:r>
          </a:p>
        </p:txBody>
      </p:sp>
    </p:spTree>
    <p:extLst>
      <p:ext uri="{BB962C8B-B14F-4D97-AF65-F5344CB8AC3E}">
        <p14:creationId xmlns:p14="http://schemas.microsoft.com/office/powerpoint/2010/main" val="1772086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E7D4516-7CB5-4EEB-81B1-1532D251552F}"/>
              </a:ext>
            </a:extLst>
          </p:cNvPr>
          <p:cNvSpPr>
            <a:spLocks noGrp="1"/>
          </p:cNvSpPr>
          <p:nvPr>
            <p:ph type="body" sz="quarter" idx="14"/>
          </p:nvPr>
        </p:nvSpPr>
        <p:spPr/>
        <p:txBody>
          <a:bodyPr/>
          <a:lstStyle/>
          <a:p>
            <a:r>
              <a:rPr lang="en-GB" dirty="0"/>
              <a:t>Dates for your diary</a:t>
            </a:r>
          </a:p>
        </p:txBody>
      </p:sp>
      <p:graphicFrame>
        <p:nvGraphicFramePr>
          <p:cNvPr id="6" name="Table 6">
            <a:extLst>
              <a:ext uri="{FF2B5EF4-FFF2-40B4-BE49-F238E27FC236}">
                <a16:creationId xmlns:a16="http://schemas.microsoft.com/office/drawing/2014/main" id="{D19AB6C2-F5D6-4235-A9CF-5CED99A41DC0}"/>
              </a:ext>
            </a:extLst>
          </p:cNvPr>
          <p:cNvGraphicFramePr>
            <a:graphicFrameLocks noGrp="1"/>
          </p:cNvGraphicFramePr>
          <p:nvPr>
            <p:extLst>
              <p:ext uri="{D42A27DB-BD31-4B8C-83A1-F6EECF244321}">
                <p14:modId xmlns:p14="http://schemas.microsoft.com/office/powerpoint/2010/main" val="1983106340"/>
              </p:ext>
            </p:extLst>
          </p:nvPr>
        </p:nvGraphicFramePr>
        <p:xfrm>
          <a:off x="785670" y="1967195"/>
          <a:ext cx="8069339" cy="3538075"/>
        </p:xfrm>
        <a:graphic>
          <a:graphicData uri="http://schemas.openxmlformats.org/drawingml/2006/table">
            <a:tbl>
              <a:tblPr firstRow="1" bandRow="1">
                <a:tableStyleId>{5C22544A-7EE6-4342-B048-85BDC9FD1C3A}</a:tableStyleId>
              </a:tblPr>
              <a:tblGrid>
                <a:gridCol w="1875155">
                  <a:extLst>
                    <a:ext uri="{9D8B030D-6E8A-4147-A177-3AD203B41FA5}">
                      <a16:colId xmlns:a16="http://schemas.microsoft.com/office/drawing/2014/main" val="57637679"/>
                    </a:ext>
                  </a:extLst>
                </a:gridCol>
                <a:gridCol w="958216">
                  <a:extLst>
                    <a:ext uri="{9D8B030D-6E8A-4147-A177-3AD203B41FA5}">
                      <a16:colId xmlns:a16="http://schemas.microsoft.com/office/drawing/2014/main" val="3930799977"/>
                    </a:ext>
                  </a:extLst>
                </a:gridCol>
                <a:gridCol w="5235968">
                  <a:extLst>
                    <a:ext uri="{9D8B030D-6E8A-4147-A177-3AD203B41FA5}">
                      <a16:colId xmlns:a16="http://schemas.microsoft.com/office/drawing/2014/main" val="2985689206"/>
                    </a:ext>
                  </a:extLst>
                </a:gridCol>
              </a:tblGrid>
              <a:tr h="370840">
                <a:tc>
                  <a:txBody>
                    <a:bodyPr/>
                    <a:lstStyle/>
                    <a:p>
                      <a:r>
                        <a:rPr lang="en-GB"/>
                        <a:t>Date</a:t>
                      </a:r>
                    </a:p>
                  </a:txBody>
                  <a:tcPr/>
                </a:tc>
                <a:tc>
                  <a:txBody>
                    <a:bodyPr/>
                    <a:lstStyle/>
                    <a:p>
                      <a:r>
                        <a:rPr lang="en-GB"/>
                        <a:t>Time (BST)</a:t>
                      </a:r>
                    </a:p>
                  </a:txBody>
                  <a:tcPr/>
                </a:tc>
                <a:tc>
                  <a:txBody>
                    <a:bodyPr/>
                    <a:lstStyle/>
                    <a:p>
                      <a:r>
                        <a:rPr lang="en-GB"/>
                        <a:t>Topic</a:t>
                      </a:r>
                    </a:p>
                  </a:txBody>
                  <a:tcPr/>
                </a:tc>
                <a:extLst>
                  <a:ext uri="{0D108BD9-81ED-4DB2-BD59-A6C34878D82A}">
                    <a16:rowId xmlns:a16="http://schemas.microsoft.com/office/drawing/2014/main" val="2776854572"/>
                  </a:ext>
                </a:extLst>
              </a:tr>
              <a:tr h="579599">
                <a:tc>
                  <a:txBody>
                    <a:bodyPr/>
                    <a:lstStyle/>
                    <a:p>
                      <a:pPr lvl="0">
                        <a:buNone/>
                      </a:pPr>
                      <a:r>
                        <a:rPr lang="en-US" dirty="0"/>
                        <a:t>1</a:t>
                      </a:r>
                      <a:r>
                        <a:rPr lang="en-US" baseline="30000" dirty="0"/>
                        <a:t>st</a:t>
                      </a:r>
                      <a:r>
                        <a:rPr lang="en-US" dirty="0"/>
                        <a:t> September</a:t>
                      </a:r>
                    </a:p>
                  </a:txBody>
                  <a:tcPr anchor="ctr"/>
                </a:tc>
                <a:tc>
                  <a:txBody>
                    <a:bodyPr/>
                    <a:lstStyle/>
                    <a:p>
                      <a:pPr lvl="0">
                        <a:buNone/>
                      </a:pPr>
                      <a:r>
                        <a:rPr lang="en-GB" sz="1600" dirty="0"/>
                        <a:t>14.00</a:t>
                      </a:r>
                    </a:p>
                  </a:txBody>
                  <a:tcPr anchor="ctr"/>
                </a:tc>
                <a:tc>
                  <a:txBody>
                    <a:bodyPr/>
                    <a:lstStyle/>
                    <a:p>
                      <a:pPr marL="0" lvl="0" indent="0">
                        <a:lnSpc>
                          <a:spcPct val="100000"/>
                        </a:lnSpc>
                        <a:spcBef>
                          <a:spcPts val="0"/>
                        </a:spcBef>
                        <a:spcAft>
                          <a:spcPts val="0"/>
                        </a:spcAft>
                        <a:buNone/>
                      </a:pPr>
                      <a:r>
                        <a:rPr lang="en-GB" sz="1600" dirty="0"/>
                        <a:t>Good grief: Coping with bereavement, disappointment, and loss</a:t>
                      </a:r>
                    </a:p>
                  </a:txBody>
                  <a:tcPr anchor="ctr"/>
                </a:tc>
                <a:extLst>
                  <a:ext uri="{0D108BD9-81ED-4DB2-BD59-A6C34878D82A}">
                    <a16:rowId xmlns:a16="http://schemas.microsoft.com/office/drawing/2014/main" val="2016529632"/>
                  </a:ext>
                </a:extLst>
              </a:tr>
              <a:tr h="579599">
                <a:tc>
                  <a:txBody>
                    <a:bodyPr/>
                    <a:lstStyle/>
                    <a:p>
                      <a:pPr lvl="0">
                        <a:buNone/>
                      </a:pPr>
                      <a:r>
                        <a:rPr lang="en-US" dirty="0"/>
                        <a:t>6</a:t>
                      </a:r>
                      <a:r>
                        <a:rPr lang="en-US" baseline="30000" dirty="0"/>
                        <a:t>th</a:t>
                      </a:r>
                      <a:r>
                        <a:rPr lang="en-US" dirty="0"/>
                        <a:t> September</a:t>
                      </a:r>
                    </a:p>
                  </a:txBody>
                  <a:tcPr anchor="ctr"/>
                </a:tc>
                <a:tc>
                  <a:txBody>
                    <a:bodyPr/>
                    <a:lstStyle/>
                    <a:p>
                      <a:pPr lvl="0">
                        <a:buNone/>
                      </a:pPr>
                      <a:r>
                        <a:rPr lang="en-GB" sz="1600" dirty="0"/>
                        <a:t>11.00</a:t>
                      </a:r>
                    </a:p>
                  </a:txBody>
                  <a:tcPr anchor="ctr"/>
                </a:tc>
                <a:tc>
                  <a:txBody>
                    <a:bodyPr/>
                    <a:lstStyle/>
                    <a:p>
                      <a:pPr marL="0" lvl="0" indent="0">
                        <a:lnSpc>
                          <a:spcPct val="100000"/>
                        </a:lnSpc>
                        <a:spcBef>
                          <a:spcPts val="0"/>
                        </a:spcBef>
                        <a:spcAft>
                          <a:spcPts val="0"/>
                        </a:spcAft>
                        <a:buNone/>
                      </a:pPr>
                      <a:r>
                        <a:rPr lang="en-GB" sz="1600" dirty="0"/>
                        <a:t>How to fit more self-care into your life</a:t>
                      </a:r>
                    </a:p>
                  </a:txBody>
                  <a:tcPr anchor="ctr"/>
                </a:tc>
                <a:extLst>
                  <a:ext uri="{0D108BD9-81ED-4DB2-BD59-A6C34878D82A}">
                    <a16:rowId xmlns:a16="http://schemas.microsoft.com/office/drawing/2014/main" val="543323824"/>
                  </a:ext>
                </a:extLst>
              </a:tr>
              <a:tr h="579599">
                <a:tc>
                  <a:txBody>
                    <a:bodyPr/>
                    <a:lstStyle/>
                    <a:p>
                      <a:pPr lvl="0">
                        <a:buNone/>
                      </a:pPr>
                      <a:r>
                        <a:rPr lang="en-US" dirty="0"/>
                        <a:t>16</a:t>
                      </a:r>
                      <a:r>
                        <a:rPr lang="en-US" baseline="30000" dirty="0"/>
                        <a:t>th</a:t>
                      </a:r>
                      <a:r>
                        <a:rPr lang="en-US" dirty="0"/>
                        <a:t> September</a:t>
                      </a:r>
                    </a:p>
                  </a:txBody>
                  <a:tcPr anchor="ctr"/>
                </a:tc>
                <a:tc>
                  <a:txBody>
                    <a:bodyPr/>
                    <a:lstStyle/>
                    <a:p>
                      <a:pPr lvl="0">
                        <a:buNone/>
                      </a:pPr>
                      <a:r>
                        <a:rPr lang="en-GB" sz="1600" dirty="0"/>
                        <a:t>10.30</a:t>
                      </a:r>
                    </a:p>
                  </a:txBody>
                  <a:tcPr anchor="ctr"/>
                </a:tc>
                <a:tc>
                  <a:txBody>
                    <a:bodyPr/>
                    <a:lstStyle/>
                    <a:p>
                      <a:pPr marL="0" lvl="0" indent="0">
                        <a:lnSpc>
                          <a:spcPct val="100000"/>
                        </a:lnSpc>
                        <a:spcBef>
                          <a:spcPts val="0"/>
                        </a:spcBef>
                        <a:spcAft>
                          <a:spcPts val="0"/>
                        </a:spcAft>
                        <a:buNone/>
                      </a:pPr>
                      <a:r>
                        <a:rPr lang="en-GB" sz="1600" dirty="0"/>
                        <a:t>How to improve your speaking voice</a:t>
                      </a:r>
                    </a:p>
                  </a:txBody>
                  <a:tcPr anchor="ctr"/>
                </a:tc>
                <a:extLst>
                  <a:ext uri="{0D108BD9-81ED-4DB2-BD59-A6C34878D82A}">
                    <a16:rowId xmlns:a16="http://schemas.microsoft.com/office/drawing/2014/main" val="1039520306"/>
                  </a:ext>
                </a:extLst>
              </a:tr>
              <a:tr h="579599">
                <a:tc>
                  <a:txBody>
                    <a:bodyPr/>
                    <a:lstStyle/>
                    <a:p>
                      <a:pPr lvl="0">
                        <a:buNone/>
                      </a:pPr>
                      <a:r>
                        <a:rPr lang="en-US" dirty="0"/>
                        <a:t>21</a:t>
                      </a:r>
                      <a:r>
                        <a:rPr lang="en-US" baseline="30000" dirty="0"/>
                        <a:t>st</a:t>
                      </a:r>
                      <a:r>
                        <a:rPr lang="en-US" dirty="0"/>
                        <a:t> September</a:t>
                      </a:r>
                    </a:p>
                  </a:txBody>
                  <a:tcPr anchor="ctr"/>
                </a:tc>
                <a:tc>
                  <a:txBody>
                    <a:bodyPr/>
                    <a:lstStyle/>
                    <a:p>
                      <a:pPr lvl="0">
                        <a:buNone/>
                      </a:pPr>
                      <a:r>
                        <a:rPr lang="en-GB" sz="1600" dirty="0"/>
                        <a:t>15.00</a:t>
                      </a:r>
                    </a:p>
                  </a:txBody>
                  <a:tcPr anchor="ctr"/>
                </a:tc>
                <a:tc>
                  <a:txBody>
                    <a:bodyPr/>
                    <a:lstStyle/>
                    <a:p>
                      <a:pPr marL="0" lvl="0" indent="0">
                        <a:lnSpc>
                          <a:spcPct val="100000"/>
                        </a:lnSpc>
                        <a:spcBef>
                          <a:spcPts val="0"/>
                        </a:spcBef>
                        <a:spcAft>
                          <a:spcPts val="0"/>
                        </a:spcAft>
                        <a:buNone/>
                      </a:pPr>
                      <a:r>
                        <a:rPr lang="en-GB" sz="1600" dirty="0"/>
                        <a:t>Resilience top-ups: Power practices for everyday focus and wellbeing</a:t>
                      </a:r>
                    </a:p>
                  </a:txBody>
                  <a:tcPr anchor="ctr"/>
                </a:tc>
                <a:extLst>
                  <a:ext uri="{0D108BD9-81ED-4DB2-BD59-A6C34878D82A}">
                    <a16:rowId xmlns:a16="http://schemas.microsoft.com/office/drawing/2014/main" val="2211978998"/>
                  </a:ext>
                </a:extLst>
              </a:tr>
              <a:tr h="579599">
                <a:tc>
                  <a:txBody>
                    <a:bodyPr/>
                    <a:lstStyle/>
                    <a:p>
                      <a:pPr lvl="0">
                        <a:buNone/>
                      </a:pPr>
                      <a:r>
                        <a:rPr lang="en-US" dirty="0"/>
                        <a:t>28</a:t>
                      </a:r>
                      <a:r>
                        <a:rPr lang="en-US" baseline="30000" dirty="0"/>
                        <a:t>th</a:t>
                      </a:r>
                      <a:r>
                        <a:rPr lang="en-US" dirty="0"/>
                        <a:t> September</a:t>
                      </a:r>
                    </a:p>
                  </a:txBody>
                  <a:tcPr anchor="ctr"/>
                </a:tc>
                <a:tc>
                  <a:txBody>
                    <a:bodyPr/>
                    <a:lstStyle/>
                    <a:p>
                      <a:pPr lvl="0">
                        <a:buNone/>
                      </a:pPr>
                      <a:r>
                        <a:rPr lang="en-GB" sz="1600" dirty="0"/>
                        <a:t>12.30</a:t>
                      </a:r>
                    </a:p>
                  </a:txBody>
                  <a:tcPr anchor="ctr"/>
                </a:tc>
                <a:tc>
                  <a:txBody>
                    <a:bodyPr/>
                    <a:lstStyle/>
                    <a:p>
                      <a:pPr marL="0" lvl="0" indent="0">
                        <a:lnSpc>
                          <a:spcPct val="100000"/>
                        </a:lnSpc>
                        <a:spcBef>
                          <a:spcPts val="0"/>
                        </a:spcBef>
                        <a:spcAft>
                          <a:spcPts val="0"/>
                        </a:spcAft>
                        <a:buNone/>
                      </a:pPr>
                      <a:r>
                        <a:rPr lang="en-GB" sz="1600" dirty="0"/>
                        <a:t>What comes after uncovering your unconscious biases?</a:t>
                      </a:r>
                    </a:p>
                  </a:txBody>
                  <a:tcPr anchor="ctr"/>
                </a:tc>
                <a:extLst>
                  <a:ext uri="{0D108BD9-81ED-4DB2-BD59-A6C34878D82A}">
                    <a16:rowId xmlns:a16="http://schemas.microsoft.com/office/drawing/2014/main" val="3170750334"/>
                  </a:ext>
                </a:extLst>
              </a:tr>
            </a:tbl>
          </a:graphicData>
        </a:graphic>
      </p:graphicFrame>
      <p:sp>
        <p:nvSpPr>
          <p:cNvPr id="5" name="Text Placeholder 3">
            <a:extLst>
              <a:ext uri="{FF2B5EF4-FFF2-40B4-BE49-F238E27FC236}">
                <a16:creationId xmlns:a16="http://schemas.microsoft.com/office/drawing/2014/main" id="{32780A45-E5F4-4983-A54A-11AF556DDFD0}"/>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pic>
        <p:nvPicPr>
          <p:cNvPr id="8" name="Picture Placeholder 7" descr="Calendar&#10;&#10;Description automatically generated">
            <a:extLst>
              <a:ext uri="{FF2B5EF4-FFF2-40B4-BE49-F238E27FC236}">
                <a16:creationId xmlns:a16="http://schemas.microsoft.com/office/drawing/2014/main" id="{B439B5C3-CB0F-4955-B5C6-03D414AE59C8}"/>
              </a:ext>
            </a:extLst>
          </p:cNvPr>
          <p:cNvPicPr>
            <a:picLocks noGrp="1" noChangeAspect="1"/>
          </p:cNvPicPr>
          <p:nvPr>
            <p:ph type="pic" sz="quarter" idx="19"/>
          </p:nvPr>
        </p:nvPicPr>
        <p:blipFill rotWithShape="1">
          <a:blip r:embed="rId3">
            <a:duotone>
              <a:schemeClr val="accent1">
                <a:shade val="45000"/>
                <a:satMod val="135000"/>
              </a:schemeClr>
              <a:prstClr val="white"/>
            </a:duotone>
          </a:blip>
          <a:srcRect l="33996" r="33996"/>
          <a:stretch>
            <a:fillRect/>
          </a:stretch>
        </p:blipFill>
        <p:spPr/>
      </p:pic>
    </p:spTree>
    <p:extLst>
      <p:ext uri="{BB962C8B-B14F-4D97-AF65-F5344CB8AC3E}">
        <p14:creationId xmlns:p14="http://schemas.microsoft.com/office/powerpoint/2010/main" val="4003965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7A9F82-33A7-E04B-899D-A6C6B370859F}"/>
              </a:ext>
            </a:extLst>
          </p:cNvPr>
          <p:cNvSpPr/>
          <p:nvPr/>
        </p:nvSpPr>
        <p:spPr>
          <a:xfrm>
            <a:off x="3470076" y="2368050"/>
            <a:ext cx="5207829" cy="28095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74D52">
                  <a:lumMod val="40000"/>
                  <a:lumOff val="60000"/>
                </a:srgbClr>
              </a:solidFill>
              <a:effectLst/>
              <a:uLnTx/>
              <a:uFillTx/>
              <a:latin typeface="Trebuchet MS" panose="020B0603020202020204"/>
              <a:ea typeface="+mn-ea"/>
              <a:cs typeface="+mn-cs"/>
            </a:endParaRPr>
          </a:p>
        </p:txBody>
      </p:sp>
      <p:sp>
        <p:nvSpPr>
          <p:cNvPr id="12" name="TextBox 11">
            <a:extLst>
              <a:ext uri="{FF2B5EF4-FFF2-40B4-BE49-F238E27FC236}">
                <a16:creationId xmlns:a16="http://schemas.microsoft.com/office/drawing/2014/main" id="{F9375AED-0DEF-2646-96E5-8FD9DAA37F9A}"/>
              </a:ext>
            </a:extLst>
          </p:cNvPr>
          <p:cNvSpPr txBox="1"/>
          <p:nvPr/>
        </p:nvSpPr>
        <p:spPr>
          <a:xfrm>
            <a:off x="4001195" y="2873484"/>
            <a:ext cx="4638870" cy="181588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7A3E7F"/>
                </a:solidFill>
                <a:effectLst/>
                <a:uLnTx/>
                <a:uFillTx/>
                <a:latin typeface="Palatino" pitchFamily="2" charset="77"/>
                <a:ea typeface="Palatino" pitchFamily="2" charset="77"/>
                <a:cs typeface="+mn-cs"/>
              </a:rPr>
              <a:t>Eileen Eva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3A1D3C"/>
              </a:solidFill>
              <a:effectLst/>
              <a:uLnTx/>
              <a:uFillTx/>
              <a:latin typeface="Trebuchet MS" panose="020B0603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A1D3C">
                    <a:lumMod val="90000"/>
                    <a:lumOff val="10000"/>
                  </a:srgbClr>
                </a:solidFill>
                <a:effectLst/>
                <a:uLnTx/>
                <a:uFillTx/>
                <a:latin typeface="Palatino" pitchFamily="2" charset="77"/>
                <a:ea typeface="Palatino" pitchFamily="2" charset="77"/>
                <a:cs typeface="Avenir Next" charset="0"/>
              </a:rPr>
              <a:t>Head of Partnership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A1D3C">
                  <a:lumMod val="90000"/>
                  <a:lumOff val="10000"/>
                </a:srgbClr>
              </a:solidFill>
              <a:effectLst/>
              <a:uLnTx/>
              <a:uFillTx/>
              <a:latin typeface="Trebuchet MS" panose="020B0603020202020204"/>
              <a:ea typeface="+mn-ea"/>
              <a:cs typeface="Avenir Next"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74D52"/>
                </a:solidFill>
                <a:effectLst/>
                <a:uLnTx/>
                <a:uFillTx/>
                <a:latin typeface="Trebuchet MS" panose="020B0703020202090204" pitchFamily="34" charset="0"/>
                <a:ea typeface="+mn-ea"/>
                <a:cs typeface="Avenir Next Demi Bold" charset="0"/>
              </a:rPr>
              <a:t>eileen@everywoman.com</a:t>
            </a:r>
            <a:endParaRPr kumimoji="0" lang="en-US" sz="2400" b="0" i="0" u="none" strike="noStrike" kern="1200" cap="none" spc="0" normalizeH="0" baseline="0" noProof="0" dirty="0">
              <a:ln>
                <a:noFill/>
              </a:ln>
              <a:solidFill>
                <a:srgbClr val="3A1D3C">
                  <a:lumMod val="90000"/>
                  <a:lumOff val="10000"/>
                </a:srgbClr>
              </a:solidFill>
              <a:effectLst/>
              <a:uLnTx/>
              <a:uFillTx/>
              <a:latin typeface="Trebuchet MS" panose="020B0603020202020204"/>
              <a:ea typeface="+mn-ea"/>
              <a:cs typeface="Avenir Next" charset="0"/>
            </a:endParaRPr>
          </a:p>
        </p:txBody>
      </p:sp>
      <p:pic>
        <p:nvPicPr>
          <p:cNvPr id="3" name="Picture 2" descr="A person wearing sunglasses&#10;&#10;Description automatically generated with medium confidence">
            <a:extLst>
              <a:ext uri="{FF2B5EF4-FFF2-40B4-BE49-F238E27FC236}">
                <a16:creationId xmlns:a16="http://schemas.microsoft.com/office/drawing/2014/main" id="{76199702-CD0E-4891-9394-FC405553818E}"/>
              </a:ext>
            </a:extLst>
          </p:cNvPr>
          <p:cNvPicPr>
            <a:picLocks noChangeAspect="1"/>
          </p:cNvPicPr>
          <p:nvPr/>
        </p:nvPicPr>
        <p:blipFill rotWithShape="1">
          <a:blip r:embed="rId2">
            <a:duotone>
              <a:schemeClr val="accent4">
                <a:shade val="45000"/>
                <a:satMod val="135000"/>
              </a:schemeClr>
              <a:prstClr val="white"/>
            </a:duotone>
          </a:blip>
          <a:srcRect t="20554" b="21782"/>
          <a:stretch/>
        </p:blipFill>
        <p:spPr>
          <a:xfrm>
            <a:off x="7026812" y="2368050"/>
            <a:ext cx="2641756" cy="2825168"/>
          </a:xfrm>
          <a:prstGeom prst="round1Rect">
            <a:avLst/>
          </a:prstGeom>
          <a:noFill/>
        </p:spPr>
      </p:pic>
    </p:spTree>
    <p:extLst>
      <p:ext uri="{BB962C8B-B14F-4D97-AF65-F5344CB8AC3E}">
        <p14:creationId xmlns:p14="http://schemas.microsoft.com/office/powerpoint/2010/main" val="540623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p:txBody>
          <a:bodyPr lIns="0"/>
          <a:lstStyle/>
          <a:p>
            <a:pPr lvl="0" algn="l" defTabSz="414589"/>
            <a:r>
              <a:rPr lang="en-US" sz="3200">
                <a:solidFill>
                  <a:schemeClr val="tx2">
                    <a:lumMod val="25000"/>
                    <a:lumOff val="75000"/>
                  </a:schemeClr>
                </a:solidFill>
                <a:latin typeface="Palatino Linotype" panose="02040502050505030304" pitchFamily="18" charset="0"/>
              </a:rPr>
              <a:t>Questions and Chat</a:t>
            </a:r>
          </a:p>
        </p:txBody>
      </p:sp>
      <p:pic>
        <p:nvPicPr>
          <p:cNvPr id="14" name="Picture 13" descr="A screenshot of a cell phone&#10;&#10;Description automatically generated">
            <a:extLst>
              <a:ext uri="{FF2B5EF4-FFF2-40B4-BE49-F238E27FC236}">
                <a16:creationId xmlns:a16="http://schemas.microsoft.com/office/drawing/2014/main" id="{9177A719-81B2-45C8-9167-D18B8D51F199}"/>
              </a:ext>
            </a:extLst>
          </p:cNvPr>
          <p:cNvPicPr>
            <a:picLocks noChangeAspect="1"/>
          </p:cNvPicPr>
          <p:nvPr/>
        </p:nvPicPr>
        <p:blipFill>
          <a:blip r:embed="rId2"/>
          <a:stretch>
            <a:fillRect/>
          </a:stretch>
        </p:blipFill>
        <p:spPr>
          <a:xfrm>
            <a:off x="4528614" y="2219179"/>
            <a:ext cx="4226147" cy="4514293"/>
          </a:xfrm>
          <a:prstGeom prst="rect">
            <a:avLst/>
          </a:prstGeom>
        </p:spPr>
      </p:pic>
      <p:sp>
        <p:nvSpPr>
          <p:cNvPr id="2" name="Rectangle 1">
            <a:extLst>
              <a:ext uri="{FF2B5EF4-FFF2-40B4-BE49-F238E27FC236}">
                <a16:creationId xmlns:a16="http://schemas.microsoft.com/office/drawing/2014/main" id="{F577CEC2-88DC-4E38-A893-3A9FCE61D04F}"/>
              </a:ext>
            </a:extLst>
          </p:cNvPr>
          <p:cNvSpPr/>
          <p:nvPr/>
        </p:nvSpPr>
        <p:spPr>
          <a:xfrm>
            <a:off x="4625484" y="5466443"/>
            <a:ext cx="2457450" cy="6477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pic>
        <p:nvPicPr>
          <p:cNvPr id="7" name="Picture Placeholder 6" descr="A person using a computer&#10;&#10;Description automatically generated">
            <a:extLst>
              <a:ext uri="{FF2B5EF4-FFF2-40B4-BE49-F238E27FC236}">
                <a16:creationId xmlns:a16="http://schemas.microsoft.com/office/drawing/2014/main" id="{9721A5E0-C081-4338-960F-3BABB8CD6201}"/>
              </a:ext>
            </a:extLst>
          </p:cNvPr>
          <p:cNvPicPr>
            <a:picLocks noGrp="1" noChangeAspect="1"/>
          </p:cNvPicPr>
          <p:nvPr>
            <p:ph type="pic" sz="quarter" idx="19"/>
          </p:nvPr>
        </p:nvPicPr>
        <p:blipFill rotWithShape="1">
          <a:blip r:embed="rId3" cstate="email">
            <a:duotone>
              <a:prstClr val="black"/>
              <a:schemeClr val="accent1">
                <a:tint val="45000"/>
                <a:satMod val="400000"/>
              </a:schemeClr>
            </a:duotone>
            <a:extLst>
              <a:ext uri="{28A0092B-C50C-407E-A947-70E740481C1C}">
                <a14:useLocalDpi xmlns:a14="http://schemas.microsoft.com/office/drawing/2010/main"/>
              </a:ext>
            </a:extLst>
          </a:blip>
          <a:srcRect t="-181"/>
          <a:stretch/>
        </p:blipFill>
        <p:spPr>
          <a:xfrm>
            <a:off x="-15384" y="-13743"/>
            <a:ext cx="3696950" cy="7595569"/>
          </a:xfrm>
        </p:spPr>
      </p:pic>
      <p:pic>
        <p:nvPicPr>
          <p:cNvPr id="6" name="Picture 5" descr="A screenshot of a cell phone&#10;&#10;Description automatically generated">
            <a:extLst>
              <a:ext uri="{FF2B5EF4-FFF2-40B4-BE49-F238E27FC236}">
                <a16:creationId xmlns:a16="http://schemas.microsoft.com/office/drawing/2014/main" id="{19FF5B7B-2CE8-457B-AA45-3BB8E8D59C0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601809" y="2164478"/>
            <a:ext cx="2915074" cy="4831559"/>
          </a:xfrm>
          <a:prstGeom prst="rect">
            <a:avLst/>
          </a:prstGeom>
        </p:spPr>
      </p:pic>
    </p:spTree>
    <p:extLst>
      <p:ext uri="{BB962C8B-B14F-4D97-AF65-F5344CB8AC3E}">
        <p14:creationId xmlns:p14="http://schemas.microsoft.com/office/powerpoint/2010/main" val="2893497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7A9F82-33A7-E04B-899D-A6C6B370859F}"/>
              </a:ext>
            </a:extLst>
          </p:cNvPr>
          <p:cNvSpPr/>
          <p:nvPr/>
        </p:nvSpPr>
        <p:spPr>
          <a:xfrm>
            <a:off x="5007552" y="2376028"/>
            <a:ext cx="5207829" cy="28095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40000"/>
                  <a:lumOff val="60000"/>
                </a:schemeClr>
              </a:solidFill>
            </a:endParaRPr>
          </a:p>
        </p:txBody>
      </p:sp>
      <p:sp>
        <p:nvSpPr>
          <p:cNvPr id="12" name="TextBox 11">
            <a:extLst>
              <a:ext uri="{FF2B5EF4-FFF2-40B4-BE49-F238E27FC236}">
                <a16:creationId xmlns:a16="http://schemas.microsoft.com/office/drawing/2014/main" id="{F9375AED-0DEF-2646-96E5-8FD9DAA37F9A}"/>
              </a:ext>
            </a:extLst>
          </p:cNvPr>
          <p:cNvSpPr txBox="1"/>
          <p:nvPr/>
        </p:nvSpPr>
        <p:spPr>
          <a:xfrm>
            <a:off x="5717453" y="2873484"/>
            <a:ext cx="4638870" cy="1508105"/>
          </a:xfrm>
          <a:prstGeom prst="rect">
            <a:avLst/>
          </a:prstGeom>
          <a:noFill/>
        </p:spPr>
        <p:txBody>
          <a:bodyPr wrap="square" rtlCol="0">
            <a:spAutoFit/>
          </a:bodyPr>
          <a:lstStyle/>
          <a:p>
            <a:endParaRPr lang="en-GB" sz="2400">
              <a:solidFill>
                <a:schemeClr val="accent2"/>
              </a:solidFill>
            </a:endParaRPr>
          </a:p>
          <a:p>
            <a:r>
              <a:rPr lang="en-US" sz="2400">
                <a:solidFill>
                  <a:schemeClr val="tx2">
                    <a:lumMod val="90000"/>
                    <a:lumOff val="10000"/>
                  </a:schemeClr>
                </a:solidFill>
                <a:latin typeface="Palatino" pitchFamily="2" charset="77"/>
                <a:ea typeface="Palatino" pitchFamily="2" charset="77"/>
                <a:cs typeface="Avenir Next" charset="0"/>
              </a:rPr>
              <a:t>Pippa Isbell</a:t>
            </a:r>
          </a:p>
          <a:p>
            <a:endParaRPr lang="en-US" sz="2400">
              <a:solidFill>
                <a:schemeClr val="tx2">
                  <a:lumMod val="90000"/>
                  <a:lumOff val="10000"/>
                </a:schemeClr>
              </a:solidFill>
              <a:latin typeface="Palatino" pitchFamily="2" charset="77"/>
              <a:ea typeface="Palatino" pitchFamily="2" charset="77"/>
              <a:cs typeface="Avenir Next" charset="0"/>
            </a:endParaRPr>
          </a:p>
          <a:p>
            <a:r>
              <a:rPr lang="en-US" sz="2000">
                <a:solidFill>
                  <a:schemeClr val="accent1"/>
                </a:solidFill>
                <a:latin typeface="Palatino" pitchFamily="2" charset="77"/>
                <a:ea typeface="Palatino" pitchFamily="2" charset="77"/>
                <a:cs typeface="Avenir Next" charset="0"/>
              </a:rPr>
              <a:t>everywoman expert</a:t>
            </a:r>
          </a:p>
        </p:txBody>
      </p:sp>
      <p:pic>
        <p:nvPicPr>
          <p:cNvPr id="5" name="Picture Placeholder 4" descr="A person smiling for the camera&#10;&#10;Description automatically generated with medium confidence">
            <a:extLst>
              <a:ext uri="{FF2B5EF4-FFF2-40B4-BE49-F238E27FC236}">
                <a16:creationId xmlns:a16="http://schemas.microsoft.com/office/drawing/2014/main" id="{495CC6BA-54CE-2F4E-BA3F-D9D04A6EFE45}"/>
              </a:ext>
            </a:extLst>
          </p:cNvPr>
          <p:cNvPicPr>
            <a:picLocks noGrp="1" noChangeAspect="1"/>
          </p:cNvPicPr>
          <p:nvPr>
            <p:ph type="pic" sz="quarter" idx="19"/>
          </p:nvPr>
        </p:nvPicPr>
        <p:blipFill rotWithShape="1">
          <a:blip r:embed="rId3"/>
          <a:srcRect l="17291" r="17291"/>
          <a:stretch>
            <a:fillRect/>
          </a:stretch>
        </p:blipFill>
        <p:spPr>
          <a:xfrm>
            <a:off x="3001334" y="2375148"/>
            <a:ext cx="2140743" cy="2809518"/>
          </a:xfrm>
        </p:spPr>
      </p:pic>
    </p:spTree>
    <p:extLst>
      <p:ext uri="{BB962C8B-B14F-4D97-AF65-F5344CB8AC3E}">
        <p14:creationId xmlns:p14="http://schemas.microsoft.com/office/powerpoint/2010/main" val="889095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78B779A1-6175-4AD8-A4B6-E0E1B4B5815B}"/>
              </a:ext>
            </a:extLst>
          </p:cNvPr>
          <p:cNvCxnSpPr/>
          <p:nvPr/>
        </p:nvCxnSpPr>
        <p:spPr>
          <a:xfrm flipV="1">
            <a:off x="2244588" y="1501375"/>
            <a:ext cx="0" cy="1618343"/>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7" name="Straight Arrow Connector 6">
            <a:extLst>
              <a:ext uri="{FF2B5EF4-FFF2-40B4-BE49-F238E27FC236}">
                <a16:creationId xmlns:a16="http://schemas.microsoft.com/office/drawing/2014/main" id="{B7707C9C-9135-4CE3-8673-BEE2E8A4384B}"/>
              </a:ext>
            </a:extLst>
          </p:cNvPr>
          <p:cNvCxnSpPr>
            <a:cxnSpLocks/>
          </p:cNvCxnSpPr>
          <p:nvPr/>
        </p:nvCxnSpPr>
        <p:spPr>
          <a:xfrm rot="10800000" flipV="1">
            <a:off x="2244588" y="4164742"/>
            <a:ext cx="0" cy="1618343"/>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8" name="Straight Arrow Connector 7">
            <a:extLst>
              <a:ext uri="{FF2B5EF4-FFF2-40B4-BE49-F238E27FC236}">
                <a16:creationId xmlns:a16="http://schemas.microsoft.com/office/drawing/2014/main" id="{A16FFF36-4AB1-46B2-B451-88B7B92FA214}"/>
              </a:ext>
            </a:extLst>
          </p:cNvPr>
          <p:cNvCxnSpPr>
            <a:cxnSpLocks/>
          </p:cNvCxnSpPr>
          <p:nvPr/>
        </p:nvCxnSpPr>
        <p:spPr>
          <a:xfrm rot="5400000" flipV="1">
            <a:off x="8020865" y="5847396"/>
            <a:ext cx="0" cy="1618343"/>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 name="Straight Arrow Connector 8">
            <a:extLst>
              <a:ext uri="{FF2B5EF4-FFF2-40B4-BE49-F238E27FC236}">
                <a16:creationId xmlns:a16="http://schemas.microsoft.com/office/drawing/2014/main" id="{F3E1F673-ADB6-419C-91BD-88BEC87586DC}"/>
              </a:ext>
            </a:extLst>
          </p:cNvPr>
          <p:cNvCxnSpPr>
            <a:cxnSpLocks/>
          </p:cNvCxnSpPr>
          <p:nvPr/>
        </p:nvCxnSpPr>
        <p:spPr>
          <a:xfrm rot="16200000" flipV="1">
            <a:off x="5210841" y="5847396"/>
            <a:ext cx="0" cy="1618343"/>
          </a:xfrm>
          <a:prstGeom prst="straightConnector1">
            <a:avLst/>
          </a:pr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E8C27269-37DF-4BC4-9A62-092691D4C6ED}"/>
              </a:ext>
            </a:extLst>
          </p:cNvPr>
          <p:cNvSpPr txBox="1"/>
          <p:nvPr/>
        </p:nvSpPr>
        <p:spPr>
          <a:xfrm>
            <a:off x="1859536" y="3398108"/>
            <a:ext cx="960504" cy="369332"/>
          </a:xfrm>
          <a:prstGeom prst="rect">
            <a:avLst/>
          </a:prstGeom>
          <a:noFill/>
        </p:spPr>
        <p:txBody>
          <a:bodyPr wrap="square" rtlCol="0">
            <a:spAutoFit/>
          </a:bodyPr>
          <a:lstStyle/>
          <a:p>
            <a:r>
              <a:rPr lang="en-GB" dirty="0"/>
              <a:t>Place</a:t>
            </a:r>
          </a:p>
        </p:txBody>
      </p:sp>
      <p:sp>
        <p:nvSpPr>
          <p:cNvPr id="11" name="TextBox 10">
            <a:extLst>
              <a:ext uri="{FF2B5EF4-FFF2-40B4-BE49-F238E27FC236}">
                <a16:creationId xmlns:a16="http://schemas.microsoft.com/office/drawing/2014/main" id="{2907A06C-1E1C-4ADF-A860-ED4EF783A398}"/>
              </a:ext>
            </a:extLst>
          </p:cNvPr>
          <p:cNvSpPr txBox="1"/>
          <p:nvPr/>
        </p:nvSpPr>
        <p:spPr>
          <a:xfrm>
            <a:off x="6307833" y="6494469"/>
            <a:ext cx="960504" cy="369332"/>
          </a:xfrm>
          <a:prstGeom prst="rect">
            <a:avLst/>
          </a:prstGeom>
          <a:noFill/>
        </p:spPr>
        <p:txBody>
          <a:bodyPr wrap="square" rtlCol="0">
            <a:spAutoFit/>
          </a:bodyPr>
          <a:lstStyle/>
          <a:p>
            <a:r>
              <a:rPr lang="en-GB" dirty="0"/>
              <a:t>Time</a:t>
            </a:r>
          </a:p>
        </p:txBody>
      </p:sp>
      <p:sp>
        <p:nvSpPr>
          <p:cNvPr id="12" name="TextBox 11">
            <a:extLst>
              <a:ext uri="{FF2B5EF4-FFF2-40B4-BE49-F238E27FC236}">
                <a16:creationId xmlns:a16="http://schemas.microsoft.com/office/drawing/2014/main" id="{A44AF85F-8C4E-4766-8418-AAB3C04E3D77}"/>
              </a:ext>
            </a:extLst>
          </p:cNvPr>
          <p:cNvSpPr txBox="1"/>
          <p:nvPr/>
        </p:nvSpPr>
        <p:spPr>
          <a:xfrm>
            <a:off x="1534245" y="933392"/>
            <a:ext cx="1823678" cy="369332"/>
          </a:xfrm>
          <a:prstGeom prst="rect">
            <a:avLst/>
          </a:prstGeom>
          <a:noFill/>
        </p:spPr>
        <p:txBody>
          <a:bodyPr wrap="square" rtlCol="0">
            <a:spAutoFit/>
          </a:bodyPr>
          <a:lstStyle/>
          <a:p>
            <a:r>
              <a:rPr lang="en-GB" dirty="0"/>
              <a:t>Unconstrained</a:t>
            </a:r>
          </a:p>
        </p:txBody>
      </p:sp>
      <p:sp>
        <p:nvSpPr>
          <p:cNvPr id="13" name="TextBox 12">
            <a:extLst>
              <a:ext uri="{FF2B5EF4-FFF2-40B4-BE49-F238E27FC236}">
                <a16:creationId xmlns:a16="http://schemas.microsoft.com/office/drawing/2014/main" id="{49777812-5141-44E1-9D49-09364C7A4130}"/>
              </a:ext>
            </a:extLst>
          </p:cNvPr>
          <p:cNvSpPr txBox="1"/>
          <p:nvPr/>
        </p:nvSpPr>
        <p:spPr>
          <a:xfrm>
            <a:off x="9078686" y="6444792"/>
            <a:ext cx="1823678" cy="369332"/>
          </a:xfrm>
          <a:prstGeom prst="rect">
            <a:avLst/>
          </a:prstGeom>
          <a:noFill/>
        </p:spPr>
        <p:txBody>
          <a:bodyPr wrap="square" rtlCol="0">
            <a:spAutoFit/>
          </a:bodyPr>
          <a:lstStyle/>
          <a:p>
            <a:r>
              <a:rPr lang="en-GB" dirty="0"/>
              <a:t>Unconstrained</a:t>
            </a:r>
          </a:p>
        </p:txBody>
      </p:sp>
      <p:sp>
        <p:nvSpPr>
          <p:cNvPr id="14" name="TextBox 13">
            <a:extLst>
              <a:ext uri="{FF2B5EF4-FFF2-40B4-BE49-F238E27FC236}">
                <a16:creationId xmlns:a16="http://schemas.microsoft.com/office/drawing/2014/main" id="{B2F25048-43ED-4B24-A971-61919EFD72B0}"/>
              </a:ext>
            </a:extLst>
          </p:cNvPr>
          <p:cNvSpPr txBox="1"/>
          <p:nvPr/>
        </p:nvSpPr>
        <p:spPr>
          <a:xfrm>
            <a:off x="1516534" y="5995721"/>
            <a:ext cx="1456105" cy="369332"/>
          </a:xfrm>
          <a:prstGeom prst="rect">
            <a:avLst/>
          </a:prstGeom>
          <a:noFill/>
        </p:spPr>
        <p:txBody>
          <a:bodyPr wrap="square" rtlCol="0">
            <a:spAutoFit/>
          </a:bodyPr>
          <a:lstStyle/>
          <a:p>
            <a:r>
              <a:rPr lang="en-GB" dirty="0"/>
              <a:t>Constrained</a:t>
            </a:r>
          </a:p>
        </p:txBody>
      </p:sp>
      <p:sp>
        <p:nvSpPr>
          <p:cNvPr id="15" name="TextBox 14">
            <a:extLst>
              <a:ext uri="{FF2B5EF4-FFF2-40B4-BE49-F238E27FC236}">
                <a16:creationId xmlns:a16="http://schemas.microsoft.com/office/drawing/2014/main" id="{7A89902E-71E7-4F89-BBD7-4DB76BE31ECB}"/>
              </a:ext>
            </a:extLst>
          </p:cNvPr>
          <p:cNvSpPr txBox="1"/>
          <p:nvPr/>
        </p:nvSpPr>
        <p:spPr>
          <a:xfrm>
            <a:off x="2816217" y="6444792"/>
            <a:ext cx="1456105" cy="369332"/>
          </a:xfrm>
          <a:prstGeom prst="rect">
            <a:avLst/>
          </a:prstGeom>
          <a:noFill/>
        </p:spPr>
        <p:txBody>
          <a:bodyPr wrap="square" rtlCol="0">
            <a:spAutoFit/>
          </a:bodyPr>
          <a:lstStyle/>
          <a:p>
            <a:r>
              <a:rPr lang="en-GB" dirty="0"/>
              <a:t>Constrained</a:t>
            </a:r>
          </a:p>
        </p:txBody>
      </p:sp>
      <p:sp>
        <p:nvSpPr>
          <p:cNvPr id="16" name="Oval 15">
            <a:extLst>
              <a:ext uri="{FF2B5EF4-FFF2-40B4-BE49-F238E27FC236}">
                <a16:creationId xmlns:a16="http://schemas.microsoft.com/office/drawing/2014/main" id="{9413B945-3EDB-4134-80DC-4A967D4C2D6F}"/>
              </a:ext>
            </a:extLst>
          </p:cNvPr>
          <p:cNvSpPr/>
          <p:nvPr/>
        </p:nvSpPr>
        <p:spPr>
          <a:xfrm>
            <a:off x="3788228" y="4042440"/>
            <a:ext cx="1823678" cy="182367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Traditional office,</a:t>
            </a:r>
          </a:p>
          <a:p>
            <a:pPr algn="ctr"/>
            <a:r>
              <a:rPr lang="en-GB" dirty="0"/>
              <a:t> 9 to 5</a:t>
            </a:r>
          </a:p>
        </p:txBody>
      </p:sp>
      <p:sp>
        <p:nvSpPr>
          <p:cNvPr id="17" name="Oval 16">
            <a:extLst>
              <a:ext uri="{FF2B5EF4-FFF2-40B4-BE49-F238E27FC236}">
                <a16:creationId xmlns:a16="http://schemas.microsoft.com/office/drawing/2014/main" id="{63DE02D9-C173-48FF-B501-255309D048AD}"/>
              </a:ext>
            </a:extLst>
          </p:cNvPr>
          <p:cNvSpPr/>
          <p:nvPr/>
        </p:nvSpPr>
        <p:spPr>
          <a:xfrm>
            <a:off x="4947237" y="872429"/>
            <a:ext cx="1823678" cy="1823678"/>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nywhere, 9 to 5</a:t>
            </a:r>
          </a:p>
        </p:txBody>
      </p:sp>
      <p:sp>
        <p:nvSpPr>
          <p:cNvPr id="18" name="Oval 17">
            <a:extLst>
              <a:ext uri="{FF2B5EF4-FFF2-40B4-BE49-F238E27FC236}">
                <a16:creationId xmlns:a16="http://schemas.microsoft.com/office/drawing/2014/main" id="{E4162D75-B5DD-4474-A055-1E81036E06CC}"/>
              </a:ext>
            </a:extLst>
          </p:cNvPr>
          <p:cNvSpPr/>
          <p:nvPr/>
        </p:nvSpPr>
        <p:spPr>
          <a:xfrm>
            <a:off x="7583519" y="1379073"/>
            <a:ext cx="1823678" cy="1823678"/>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nywhere, anytime</a:t>
            </a:r>
          </a:p>
        </p:txBody>
      </p:sp>
      <p:sp>
        <p:nvSpPr>
          <p:cNvPr id="19" name="Oval 18">
            <a:extLst>
              <a:ext uri="{FF2B5EF4-FFF2-40B4-BE49-F238E27FC236}">
                <a16:creationId xmlns:a16="http://schemas.microsoft.com/office/drawing/2014/main" id="{A8AA6114-F645-4868-B8FA-7E05715B1362}"/>
              </a:ext>
            </a:extLst>
          </p:cNvPr>
          <p:cNvSpPr/>
          <p:nvPr/>
        </p:nvSpPr>
        <p:spPr>
          <a:xfrm>
            <a:off x="8147213" y="3880061"/>
            <a:ext cx="1823678" cy="1823678"/>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n the office, anytime</a:t>
            </a:r>
          </a:p>
        </p:txBody>
      </p:sp>
      <p:cxnSp>
        <p:nvCxnSpPr>
          <p:cNvPr id="27" name="Straight Arrow Connector 26">
            <a:extLst>
              <a:ext uri="{FF2B5EF4-FFF2-40B4-BE49-F238E27FC236}">
                <a16:creationId xmlns:a16="http://schemas.microsoft.com/office/drawing/2014/main" id="{B20ABA53-5604-4676-99F4-F255EA7B8906}"/>
              </a:ext>
            </a:extLst>
          </p:cNvPr>
          <p:cNvCxnSpPr/>
          <p:nvPr/>
        </p:nvCxnSpPr>
        <p:spPr>
          <a:xfrm flipV="1">
            <a:off x="5057917" y="2905349"/>
            <a:ext cx="431587" cy="861601"/>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059E561-EE52-43D9-8BC4-195585E5F251}"/>
              </a:ext>
            </a:extLst>
          </p:cNvPr>
          <p:cNvCxnSpPr/>
          <p:nvPr/>
        </p:nvCxnSpPr>
        <p:spPr>
          <a:xfrm flipV="1">
            <a:off x="5965672" y="3202751"/>
            <a:ext cx="1683757" cy="1211594"/>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33F2C77-53C3-43B9-9CBC-112A85890BDB}"/>
              </a:ext>
            </a:extLst>
          </p:cNvPr>
          <p:cNvCxnSpPr/>
          <p:nvPr/>
        </p:nvCxnSpPr>
        <p:spPr>
          <a:xfrm>
            <a:off x="5998405" y="5183702"/>
            <a:ext cx="1545020" cy="0"/>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973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a:xfrm>
            <a:off x="782268" y="3089676"/>
            <a:ext cx="11881818" cy="543043"/>
          </a:xfrm>
        </p:spPr>
        <p:txBody>
          <a:bodyPr lIns="0"/>
          <a:lstStyle/>
          <a:p>
            <a:pPr lvl="0" algn="l" defTabSz="414589"/>
            <a:r>
              <a:rPr lang="en-US" sz="3200" dirty="0">
                <a:solidFill>
                  <a:srgbClr val="512654"/>
                </a:solidFill>
                <a:latin typeface="Palatino Linotype" panose="02040502050505030304" pitchFamily="18" charset="0"/>
              </a:rPr>
              <a:t>Poll One: Tell us more about you</a:t>
            </a:r>
          </a:p>
        </p:txBody>
      </p:sp>
      <p:sp>
        <p:nvSpPr>
          <p:cNvPr id="18" name="Text Placeholder 5">
            <a:extLst>
              <a:ext uri="{FF2B5EF4-FFF2-40B4-BE49-F238E27FC236}">
                <a16:creationId xmlns:a16="http://schemas.microsoft.com/office/drawing/2014/main" id="{9FC29134-A6A3-AD46-9731-CC41B8986AD8}"/>
              </a:ext>
            </a:extLst>
          </p:cNvPr>
          <p:cNvSpPr>
            <a:spLocks noGrp="1"/>
          </p:cNvSpPr>
          <p:nvPr/>
        </p:nvSpPr>
        <p:spPr>
          <a:xfrm>
            <a:off x="782268" y="5295392"/>
            <a:ext cx="4080993" cy="804418"/>
          </a:xfrm>
          <a:prstGeom prst="rect">
            <a:avLst/>
          </a:prstGeom>
        </p:spPr>
        <p:txBody>
          <a:bodyPr/>
          <a:lstStyle>
            <a:lvl1pPr marL="0">
              <a:defRPr sz="120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endParaRPr lang="en-US" dirty="0"/>
          </a:p>
        </p:txBody>
      </p:sp>
      <p:pic>
        <p:nvPicPr>
          <p:cNvPr id="36" name="Picture Placeholder 35">
            <a:extLst>
              <a:ext uri="{FF2B5EF4-FFF2-40B4-BE49-F238E27FC236}">
                <a16:creationId xmlns:a16="http://schemas.microsoft.com/office/drawing/2014/main" id="{602B6111-ACF0-8949-ABBB-EECCD9856347}"/>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6" name="Text Placeholder 20">
            <a:extLst>
              <a:ext uri="{FF2B5EF4-FFF2-40B4-BE49-F238E27FC236}">
                <a16:creationId xmlns:a16="http://schemas.microsoft.com/office/drawing/2014/main" id="{813447E7-9D86-6E4E-981B-8751D36CE975}"/>
              </a:ext>
            </a:extLst>
          </p:cNvPr>
          <p:cNvSpPr>
            <a:spLocks noGrp="1"/>
          </p:cNvSpPr>
          <p:nvPr/>
        </p:nvSpPr>
        <p:spPr>
          <a:xfrm>
            <a:off x="782268" y="4633131"/>
            <a:ext cx="11036731"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A - 		100% working from home</a:t>
            </a:r>
          </a:p>
          <a:p>
            <a:endParaRPr lang="en-US" dirty="0"/>
          </a:p>
        </p:txBody>
      </p:sp>
      <p:sp>
        <p:nvSpPr>
          <p:cNvPr id="10" name="Text Placeholder 20">
            <a:extLst>
              <a:ext uri="{FF2B5EF4-FFF2-40B4-BE49-F238E27FC236}">
                <a16:creationId xmlns:a16="http://schemas.microsoft.com/office/drawing/2014/main" id="{9D6CEEFA-E368-B74B-B216-6A4A9FAAE831}"/>
              </a:ext>
            </a:extLst>
          </p:cNvPr>
          <p:cNvSpPr>
            <a:spLocks noGrp="1"/>
          </p:cNvSpPr>
          <p:nvPr/>
        </p:nvSpPr>
        <p:spPr>
          <a:xfrm>
            <a:off x="768822" y="5130672"/>
            <a:ext cx="11050178"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B - 		Hybrid – eg: 3 days in the office, 2 from home</a:t>
            </a:r>
          </a:p>
        </p:txBody>
      </p:sp>
      <p:sp>
        <p:nvSpPr>
          <p:cNvPr id="11" name="Text Placeholder 20">
            <a:extLst>
              <a:ext uri="{FF2B5EF4-FFF2-40B4-BE49-F238E27FC236}">
                <a16:creationId xmlns:a16="http://schemas.microsoft.com/office/drawing/2014/main" id="{CC285947-568E-B743-A7D1-A23A0EB35FED}"/>
              </a:ext>
            </a:extLst>
          </p:cNvPr>
          <p:cNvSpPr>
            <a:spLocks noGrp="1"/>
          </p:cNvSpPr>
          <p:nvPr/>
        </p:nvSpPr>
        <p:spPr>
          <a:xfrm>
            <a:off x="768821" y="5628213"/>
            <a:ext cx="11050179" cy="423672"/>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C - 		100% back in the office</a:t>
            </a:r>
          </a:p>
        </p:txBody>
      </p:sp>
      <p:sp>
        <p:nvSpPr>
          <p:cNvPr id="13" name="Text Placeholder 3">
            <a:extLst>
              <a:ext uri="{FF2B5EF4-FFF2-40B4-BE49-F238E27FC236}">
                <a16:creationId xmlns:a16="http://schemas.microsoft.com/office/drawing/2014/main" id="{5D565924-F7EC-44F7-B9D7-A856BAF4998F}"/>
              </a:ext>
            </a:extLst>
          </p:cNvPr>
          <p:cNvSpPr txBox="1">
            <a:spLocks/>
          </p:cNvSpPr>
          <p:nvPr/>
        </p:nvSpPr>
        <p:spPr>
          <a:xfrm>
            <a:off x="399520" y="7048137"/>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sp>
        <p:nvSpPr>
          <p:cNvPr id="9" name="Text Placeholder 3">
            <a:extLst>
              <a:ext uri="{FF2B5EF4-FFF2-40B4-BE49-F238E27FC236}">
                <a16:creationId xmlns:a16="http://schemas.microsoft.com/office/drawing/2014/main" id="{4FBD2A91-FBE6-4C50-B3D6-E4A7CF5AAE11}"/>
              </a:ext>
            </a:extLst>
          </p:cNvPr>
          <p:cNvSpPr>
            <a:spLocks noGrp="1"/>
          </p:cNvSpPr>
          <p:nvPr>
            <p:ph type="body" sz="quarter" idx="16"/>
          </p:nvPr>
        </p:nvSpPr>
        <p:spPr>
          <a:xfrm>
            <a:off x="782268" y="3838088"/>
            <a:ext cx="11938369" cy="317054"/>
          </a:xfrm>
        </p:spPr>
        <p:txBody>
          <a:bodyPr lIns="0"/>
          <a:lstStyle/>
          <a:p>
            <a:pPr algn="l">
              <a:spcBef>
                <a:spcPts val="450"/>
              </a:spcBef>
            </a:pPr>
            <a:r>
              <a:rPr lang="en-US" sz="2400" dirty="0">
                <a:solidFill>
                  <a:schemeClr val="accent1"/>
                </a:solidFill>
                <a:latin typeface="Trebuchet MS" panose="020B0603020202020204" pitchFamily="34" charset="0"/>
              </a:rPr>
              <a:t>How are you working now?</a:t>
            </a:r>
          </a:p>
          <a:p>
            <a:pPr algn="l">
              <a:spcBef>
                <a:spcPts val="450"/>
              </a:spcBef>
            </a:pPr>
            <a:endParaRPr lang="en-US" sz="2400" dirty="0">
              <a:solidFill>
                <a:schemeClr val="accent1"/>
              </a:solidFill>
              <a:latin typeface="Trebuchet MS" panose="020B0603020202020204" pitchFamily="34" charset="0"/>
            </a:endParaRPr>
          </a:p>
          <a:p>
            <a:pPr algn="l">
              <a:spcBef>
                <a:spcPts val="450"/>
              </a:spcBef>
            </a:pPr>
            <a:r>
              <a:rPr lang="en-US" sz="2400" b="1" dirty="0">
                <a:solidFill>
                  <a:schemeClr val="accent1"/>
                </a:solidFill>
                <a:latin typeface="Trebuchet MS" panose="020B0603020202020204" pitchFamily="34" charset="0"/>
              </a:rPr>
              <a:t>:</a:t>
            </a:r>
          </a:p>
        </p:txBody>
      </p:sp>
    </p:spTree>
    <p:extLst>
      <p:ext uri="{BB962C8B-B14F-4D97-AF65-F5344CB8AC3E}">
        <p14:creationId xmlns:p14="http://schemas.microsoft.com/office/powerpoint/2010/main" val="11355644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6B7027-FC22-5E4E-9C5B-A293717F4EC5}"/>
              </a:ext>
            </a:extLst>
          </p:cNvPr>
          <p:cNvSpPr>
            <a:spLocks noGrp="1"/>
          </p:cNvSpPr>
          <p:nvPr>
            <p:ph type="body" sz="quarter" idx="14"/>
          </p:nvPr>
        </p:nvSpPr>
        <p:spPr>
          <a:xfrm>
            <a:off x="782268" y="3089676"/>
            <a:ext cx="11881818" cy="543043"/>
          </a:xfrm>
        </p:spPr>
        <p:txBody>
          <a:bodyPr lIns="0"/>
          <a:lstStyle/>
          <a:p>
            <a:pPr lvl="0" algn="l" defTabSz="414589"/>
            <a:r>
              <a:rPr lang="en-US" sz="3200" dirty="0">
                <a:solidFill>
                  <a:srgbClr val="512654"/>
                </a:solidFill>
                <a:latin typeface="Palatino Linotype" panose="02040502050505030304" pitchFamily="18" charset="0"/>
              </a:rPr>
              <a:t>Poll Two: Tell us more about you</a:t>
            </a:r>
          </a:p>
        </p:txBody>
      </p:sp>
      <p:sp>
        <p:nvSpPr>
          <p:cNvPr id="18" name="Text Placeholder 5">
            <a:extLst>
              <a:ext uri="{FF2B5EF4-FFF2-40B4-BE49-F238E27FC236}">
                <a16:creationId xmlns:a16="http://schemas.microsoft.com/office/drawing/2014/main" id="{9FC29134-A6A3-AD46-9731-CC41B8986AD8}"/>
              </a:ext>
            </a:extLst>
          </p:cNvPr>
          <p:cNvSpPr>
            <a:spLocks noGrp="1"/>
          </p:cNvSpPr>
          <p:nvPr/>
        </p:nvSpPr>
        <p:spPr>
          <a:xfrm>
            <a:off x="782268" y="5295392"/>
            <a:ext cx="4080993" cy="804418"/>
          </a:xfrm>
          <a:prstGeom prst="rect">
            <a:avLst/>
          </a:prstGeom>
        </p:spPr>
        <p:txBody>
          <a:bodyPr/>
          <a:lstStyle>
            <a:lvl1pPr marL="0">
              <a:defRPr sz="120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endParaRPr lang="en-US"/>
          </a:p>
        </p:txBody>
      </p:sp>
      <p:pic>
        <p:nvPicPr>
          <p:cNvPr id="36" name="Picture Placeholder 35">
            <a:extLst>
              <a:ext uri="{FF2B5EF4-FFF2-40B4-BE49-F238E27FC236}">
                <a16:creationId xmlns:a16="http://schemas.microsoft.com/office/drawing/2014/main" id="{602B6111-ACF0-8949-ABBB-EECCD9856347}"/>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17" name="Text Placeholder 3">
            <a:extLst>
              <a:ext uri="{FF2B5EF4-FFF2-40B4-BE49-F238E27FC236}">
                <a16:creationId xmlns:a16="http://schemas.microsoft.com/office/drawing/2014/main" id="{69F44FFC-F5CD-C14F-B985-ADF53DD13E66}"/>
              </a:ext>
            </a:extLst>
          </p:cNvPr>
          <p:cNvSpPr>
            <a:spLocks noGrp="1"/>
          </p:cNvSpPr>
          <p:nvPr>
            <p:ph type="body" sz="quarter" idx="16"/>
          </p:nvPr>
        </p:nvSpPr>
        <p:spPr>
          <a:xfrm>
            <a:off x="782268" y="3838088"/>
            <a:ext cx="11938369" cy="317054"/>
          </a:xfrm>
        </p:spPr>
        <p:txBody>
          <a:bodyPr lIns="0"/>
          <a:lstStyle/>
          <a:p>
            <a:pPr algn="l">
              <a:spcBef>
                <a:spcPts val="450"/>
              </a:spcBef>
            </a:pPr>
            <a:r>
              <a:rPr lang="en-US" sz="2400" dirty="0">
                <a:solidFill>
                  <a:schemeClr val="accent1"/>
                </a:solidFill>
                <a:latin typeface="Trebuchet MS" panose="020B0603020202020204" pitchFamily="34" charset="0"/>
              </a:rPr>
              <a:t>How do you feel about your working arrangements?</a:t>
            </a:r>
          </a:p>
          <a:p>
            <a:pPr algn="l">
              <a:spcBef>
                <a:spcPts val="450"/>
              </a:spcBef>
            </a:pPr>
            <a:endParaRPr lang="en-US" sz="2400" dirty="0">
              <a:solidFill>
                <a:schemeClr val="accent1"/>
              </a:solidFill>
              <a:latin typeface="Trebuchet MS" panose="020B0603020202020204" pitchFamily="34" charset="0"/>
            </a:endParaRPr>
          </a:p>
          <a:p>
            <a:pPr algn="l">
              <a:spcBef>
                <a:spcPts val="450"/>
              </a:spcBef>
            </a:pPr>
            <a:r>
              <a:rPr lang="en-US" sz="2400" b="1" dirty="0">
                <a:solidFill>
                  <a:schemeClr val="accent1"/>
                </a:solidFill>
                <a:latin typeface="Trebuchet MS" panose="020B0603020202020204" pitchFamily="34" charset="0"/>
              </a:rPr>
              <a:t>:</a:t>
            </a:r>
          </a:p>
        </p:txBody>
      </p:sp>
      <p:sp>
        <p:nvSpPr>
          <p:cNvPr id="6" name="Text Placeholder 20">
            <a:extLst>
              <a:ext uri="{FF2B5EF4-FFF2-40B4-BE49-F238E27FC236}">
                <a16:creationId xmlns:a16="http://schemas.microsoft.com/office/drawing/2014/main" id="{813447E7-9D86-6E4E-981B-8751D36CE975}"/>
              </a:ext>
            </a:extLst>
          </p:cNvPr>
          <p:cNvSpPr>
            <a:spLocks noGrp="1"/>
          </p:cNvSpPr>
          <p:nvPr/>
        </p:nvSpPr>
        <p:spPr>
          <a:xfrm>
            <a:off x="782268" y="4633131"/>
            <a:ext cx="11036731"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A - 		I am very happy with a hybrid arrangement</a:t>
            </a:r>
          </a:p>
          <a:p>
            <a:endParaRPr lang="en-US" dirty="0"/>
          </a:p>
        </p:txBody>
      </p:sp>
      <p:sp>
        <p:nvSpPr>
          <p:cNvPr id="10" name="Text Placeholder 20">
            <a:extLst>
              <a:ext uri="{FF2B5EF4-FFF2-40B4-BE49-F238E27FC236}">
                <a16:creationId xmlns:a16="http://schemas.microsoft.com/office/drawing/2014/main" id="{9D6CEEFA-E368-B74B-B216-6A4A9FAAE831}"/>
              </a:ext>
            </a:extLst>
          </p:cNvPr>
          <p:cNvSpPr>
            <a:spLocks noGrp="1"/>
          </p:cNvSpPr>
          <p:nvPr/>
        </p:nvSpPr>
        <p:spPr>
          <a:xfrm>
            <a:off x="768822" y="5130672"/>
            <a:ext cx="11050178" cy="414337"/>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B - 		I am much happier and more productive working from home</a:t>
            </a:r>
          </a:p>
        </p:txBody>
      </p:sp>
      <p:sp>
        <p:nvSpPr>
          <p:cNvPr id="11" name="Text Placeholder 20">
            <a:extLst>
              <a:ext uri="{FF2B5EF4-FFF2-40B4-BE49-F238E27FC236}">
                <a16:creationId xmlns:a16="http://schemas.microsoft.com/office/drawing/2014/main" id="{CC285947-568E-B743-A7D1-A23A0EB35FED}"/>
              </a:ext>
            </a:extLst>
          </p:cNvPr>
          <p:cNvSpPr>
            <a:spLocks noGrp="1"/>
          </p:cNvSpPr>
          <p:nvPr/>
        </p:nvSpPr>
        <p:spPr>
          <a:xfrm>
            <a:off x="782268" y="5628213"/>
            <a:ext cx="11050179" cy="423672"/>
          </a:xfrm>
          <a:prstGeom prst="round1Rect">
            <a:avLst/>
          </a:prstGeom>
          <a:solidFill>
            <a:schemeClr val="accent1"/>
          </a:solidFill>
        </p:spPr>
        <p:txBody>
          <a:bodyPr/>
          <a:lstStyle>
            <a:lvl1pPr marL="0">
              <a:defRPr sz="2000">
                <a:solidFill>
                  <a:schemeClr val="bg2"/>
                </a:solidFill>
                <a:latin typeface="Palatino" pitchFamily="2" charset="77"/>
                <a:ea typeface="Palatino" pitchFamily="2" charset="77"/>
                <a:cs typeface="+mn-cs"/>
              </a:defRPr>
            </a:lvl1pPr>
            <a:lvl2pPr marL="457200">
              <a:defRPr sz="2000">
                <a:solidFill>
                  <a:schemeClr val="bg2"/>
                </a:solidFill>
                <a:latin typeface="Palatino" pitchFamily="2" charset="77"/>
                <a:ea typeface="Palatino" pitchFamily="2" charset="77"/>
                <a:cs typeface="+mn-cs"/>
              </a:defRPr>
            </a:lvl2pPr>
            <a:lvl3pPr marL="914400">
              <a:defRPr sz="2000">
                <a:solidFill>
                  <a:schemeClr val="bg2"/>
                </a:solidFill>
                <a:latin typeface="Palatino" pitchFamily="2" charset="77"/>
                <a:ea typeface="Palatino" pitchFamily="2" charset="77"/>
                <a:cs typeface="+mn-cs"/>
              </a:defRPr>
            </a:lvl3pPr>
            <a:lvl4pPr marL="1371600">
              <a:defRPr sz="2000">
                <a:solidFill>
                  <a:schemeClr val="bg2"/>
                </a:solidFill>
                <a:latin typeface="Palatino" pitchFamily="2" charset="77"/>
                <a:ea typeface="Palatino" pitchFamily="2" charset="77"/>
                <a:cs typeface="+mn-cs"/>
              </a:defRPr>
            </a:lvl4pPr>
            <a:lvl5pPr marL="1828800">
              <a:defRPr sz="2000">
                <a:solidFill>
                  <a:schemeClr val="bg2"/>
                </a:solidFill>
                <a:latin typeface="Palatino" pitchFamily="2" charset="77"/>
                <a:ea typeface="Palatino" pitchFamily="2" charset="77"/>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latin typeface="+mn-lt"/>
              </a:rPr>
              <a:t>C - 		I am working from home but have concerns</a:t>
            </a:r>
          </a:p>
        </p:txBody>
      </p:sp>
      <p:sp>
        <p:nvSpPr>
          <p:cNvPr id="4" name="TextBox 3">
            <a:extLst>
              <a:ext uri="{FF2B5EF4-FFF2-40B4-BE49-F238E27FC236}">
                <a16:creationId xmlns:a16="http://schemas.microsoft.com/office/drawing/2014/main" id="{A4D212AD-0C1B-4046-AA43-06FB77A506C2}"/>
              </a:ext>
            </a:extLst>
          </p:cNvPr>
          <p:cNvSpPr txBox="1"/>
          <p:nvPr/>
        </p:nvSpPr>
        <p:spPr>
          <a:xfrm>
            <a:off x="768819" y="6135089"/>
            <a:ext cx="11050179" cy="400110"/>
          </a:xfrm>
          <a:prstGeom prst="rect">
            <a:avLst/>
          </a:prstGeom>
          <a:solidFill>
            <a:srgbClr val="7A3E7F"/>
          </a:solidFill>
        </p:spPr>
        <p:txBody>
          <a:bodyPr wrap="square" rtlCol="0">
            <a:spAutoFit/>
          </a:bodyPr>
          <a:lstStyle/>
          <a:p>
            <a:r>
              <a:rPr lang="en-US" dirty="0"/>
              <a:t> </a:t>
            </a:r>
            <a:r>
              <a:rPr lang="en-US" dirty="0">
                <a:solidFill>
                  <a:schemeClr val="bg1"/>
                </a:solidFill>
              </a:rPr>
              <a:t>D -		</a:t>
            </a:r>
            <a:r>
              <a:rPr lang="en-US" sz="2000" dirty="0">
                <a:solidFill>
                  <a:schemeClr val="bg1"/>
                </a:solidFill>
              </a:rPr>
              <a:t>I can’t wait to get back to the office </a:t>
            </a:r>
            <a:endParaRPr lang="en-US" sz="2000" dirty="0"/>
          </a:p>
        </p:txBody>
      </p:sp>
      <p:sp>
        <p:nvSpPr>
          <p:cNvPr id="12" name="Text Placeholder 3">
            <a:extLst>
              <a:ext uri="{FF2B5EF4-FFF2-40B4-BE49-F238E27FC236}">
                <a16:creationId xmlns:a16="http://schemas.microsoft.com/office/drawing/2014/main" id="{10797D2F-13D2-485F-950C-434D1EE243BA}"/>
              </a:ext>
            </a:extLst>
          </p:cNvPr>
          <p:cNvSpPr txBox="1">
            <a:spLocks/>
          </p:cNvSpPr>
          <p:nvPr/>
        </p:nvSpPr>
        <p:spPr>
          <a:xfrm>
            <a:off x="399520" y="7041103"/>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spTree>
    <p:extLst>
      <p:ext uri="{BB962C8B-B14F-4D97-AF65-F5344CB8AC3E}">
        <p14:creationId xmlns:p14="http://schemas.microsoft.com/office/powerpoint/2010/main" val="2006253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94E1E5AD-4BEE-4952-9254-7B6FBB6F505D}"/>
              </a:ext>
            </a:extLst>
          </p:cNvPr>
          <p:cNvSpPr txBox="1">
            <a:spLocks/>
          </p:cNvSpPr>
          <p:nvPr/>
        </p:nvSpPr>
        <p:spPr>
          <a:xfrm>
            <a:off x="399520" y="7041103"/>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sp>
        <p:nvSpPr>
          <p:cNvPr id="7" name="Text Placeholder 6">
            <a:extLst>
              <a:ext uri="{FF2B5EF4-FFF2-40B4-BE49-F238E27FC236}">
                <a16:creationId xmlns:a16="http://schemas.microsoft.com/office/drawing/2014/main" id="{97A1BEB5-356E-BC47-8654-4112A00224F3}"/>
              </a:ext>
            </a:extLst>
          </p:cNvPr>
          <p:cNvSpPr>
            <a:spLocks noGrp="1"/>
          </p:cNvSpPr>
          <p:nvPr>
            <p:ph type="body" sz="quarter" idx="15"/>
          </p:nvPr>
        </p:nvSpPr>
        <p:spPr/>
        <p:txBody>
          <a:bodyPr/>
          <a:lstStyle/>
          <a:p>
            <a:endParaRPr lang="en-US"/>
          </a:p>
        </p:txBody>
      </p:sp>
      <p:sp>
        <p:nvSpPr>
          <p:cNvPr id="9" name="Text Placeholder 8">
            <a:extLst>
              <a:ext uri="{FF2B5EF4-FFF2-40B4-BE49-F238E27FC236}">
                <a16:creationId xmlns:a16="http://schemas.microsoft.com/office/drawing/2014/main" id="{F2C1350B-782C-3142-AA2B-58E5CA79BA40}"/>
              </a:ext>
            </a:extLst>
          </p:cNvPr>
          <p:cNvSpPr>
            <a:spLocks noGrp="1"/>
          </p:cNvSpPr>
          <p:nvPr>
            <p:ph type="body" sz="quarter" idx="14"/>
          </p:nvPr>
        </p:nvSpPr>
        <p:spPr/>
        <p:txBody>
          <a:bodyPr/>
          <a:lstStyle/>
          <a:p>
            <a:endParaRPr lang="en-US"/>
          </a:p>
        </p:txBody>
      </p:sp>
      <p:pic>
        <p:nvPicPr>
          <p:cNvPr id="11" name="Picture 10" descr="Chart, bar chart&#10;&#10;Description automatically generated">
            <a:extLst>
              <a:ext uri="{FF2B5EF4-FFF2-40B4-BE49-F238E27FC236}">
                <a16:creationId xmlns:a16="http://schemas.microsoft.com/office/drawing/2014/main" id="{AD904DB7-09CB-3248-8092-D4D70400FB4E}"/>
              </a:ext>
            </a:extLst>
          </p:cNvPr>
          <p:cNvPicPr>
            <a:picLocks noChangeAspect="1"/>
          </p:cNvPicPr>
          <p:nvPr/>
        </p:nvPicPr>
        <p:blipFill>
          <a:blip r:embed="rId2">
            <a:duotone>
              <a:schemeClr val="accent1">
                <a:shade val="45000"/>
                <a:satMod val="135000"/>
              </a:schemeClr>
              <a:prstClr val="white"/>
            </a:duotone>
          </a:blip>
          <a:stretch>
            <a:fillRect/>
          </a:stretch>
        </p:blipFill>
        <p:spPr>
          <a:xfrm>
            <a:off x="479578" y="438336"/>
            <a:ext cx="12783153" cy="6686178"/>
          </a:xfrm>
          <a:prstGeom prst="rect">
            <a:avLst/>
          </a:prstGeom>
        </p:spPr>
      </p:pic>
    </p:spTree>
    <p:extLst>
      <p:ext uri="{BB962C8B-B14F-4D97-AF65-F5344CB8AC3E}">
        <p14:creationId xmlns:p14="http://schemas.microsoft.com/office/powerpoint/2010/main" val="3177633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A0BAA2-C76B-4DF9-881E-6802DE4C5797}"/>
              </a:ext>
            </a:extLst>
          </p:cNvPr>
          <p:cNvSpPr>
            <a:spLocks noGrp="1"/>
          </p:cNvSpPr>
          <p:nvPr>
            <p:ph type="body" sz="quarter" idx="15"/>
          </p:nvPr>
        </p:nvSpPr>
        <p:spPr/>
        <p:txBody>
          <a:bodyPr/>
          <a:lstStyle/>
          <a:p>
            <a:pPr marL="342900" indent="-342900" algn="l">
              <a:lnSpc>
                <a:spcPct val="150000"/>
              </a:lnSpc>
              <a:buFont typeface="Arial" panose="020B0604020202020204" pitchFamily="34" charset="0"/>
              <a:buChar char="•"/>
            </a:pPr>
            <a:r>
              <a:rPr lang="en-GB" sz="2400" dirty="0">
                <a:cs typeface="Palatino Linotype"/>
              </a:rPr>
              <a:t>Recognise it’s a culture shock</a:t>
            </a:r>
          </a:p>
          <a:p>
            <a:pPr marL="342900" indent="-342900" algn="l">
              <a:lnSpc>
                <a:spcPct val="150000"/>
              </a:lnSpc>
              <a:buFont typeface="Arial" panose="020B0604020202020204" pitchFamily="34" charset="0"/>
              <a:buChar char="•"/>
            </a:pPr>
            <a:r>
              <a:rPr lang="en-GB" sz="2400" dirty="0">
                <a:cs typeface="Palatino Linotype"/>
              </a:rPr>
              <a:t>Redesign your workplace community </a:t>
            </a:r>
          </a:p>
          <a:p>
            <a:pPr marL="342900" indent="-342900" algn="l">
              <a:lnSpc>
                <a:spcPct val="150000"/>
              </a:lnSpc>
              <a:buFont typeface="Arial" panose="020B0604020202020204" pitchFamily="34" charset="0"/>
              <a:buChar char="•"/>
            </a:pPr>
            <a:r>
              <a:rPr lang="en-GB" sz="2400" dirty="0">
                <a:cs typeface="Palatino Linotype"/>
              </a:rPr>
              <a:t>Co-create the future</a:t>
            </a:r>
          </a:p>
          <a:p>
            <a:pPr marL="342900" indent="-342900" algn="l">
              <a:lnSpc>
                <a:spcPct val="150000"/>
              </a:lnSpc>
              <a:buFont typeface="Arial" panose="020B0604020202020204" pitchFamily="34" charset="0"/>
              <a:buChar char="•"/>
            </a:pPr>
            <a:r>
              <a:rPr lang="en-GB" sz="2400" dirty="0">
                <a:cs typeface="Palatino Linotype"/>
              </a:rPr>
              <a:t>Give strong central guidance</a:t>
            </a:r>
          </a:p>
          <a:p>
            <a:pPr marL="342900" indent="-342900" algn="l">
              <a:lnSpc>
                <a:spcPct val="150000"/>
              </a:lnSpc>
              <a:buFont typeface="Arial" panose="020B0604020202020204" pitchFamily="34" charset="0"/>
              <a:buChar char="•"/>
            </a:pPr>
            <a:r>
              <a:rPr lang="en-GB" sz="2400" dirty="0">
                <a:cs typeface="Palatino Linotype"/>
              </a:rPr>
              <a:t>Work on psychological safety</a:t>
            </a:r>
          </a:p>
          <a:p>
            <a:pPr marL="342900" indent="-342900" algn="l">
              <a:lnSpc>
                <a:spcPct val="150000"/>
              </a:lnSpc>
              <a:buFont typeface="Arial" panose="020B0604020202020204" pitchFamily="34" charset="0"/>
              <a:buChar char="•"/>
            </a:pPr>
            <a:r>
              <a:rPr lang="en-GB" sz="2400" dirty="0">
                <a:cs typeface="Palatino Linotype"/>
              </a:rPr>
              <a:t>Emphasise fairness</a:t>
            </a:r>
          </a:p>
          <a:p>
            <a:pPr algn="l">
              <a:lnSpc>
                <a:spcPct val="150000"/>
              </a:lnSpc>
            </a:pPr>
            <a:endParaRPr lang="en-GB" sz="2000" dirty="0">
              <a:cs typeface="Palatino Linotype"/>
            </a:endParaRPr>
          </a:p>
          <a:p>
            <a:pPr marL="342900" lvl="0" indent="-342900">
              <a:lnSpc>
                <a:spcPct val="150000"/>
              </a:lnSpc>
              <a:buFont typeface="Arial" panose="020B0604020202020204" pitchFamily="34" charset="0"/>
              <a:buChar char="•"/>
            </a:pPr>
            <a:endParaRPr lang="en-GB" sz="2000" dirty="0">
              <a:cs typeface="Palatino Linotype"/>
            </a:endParaRPr>
          </a:p>
          <a:p>
            <a:endParaRPr lang="en-GB" dirty="0"/>
          </a:p>
        </p:txBody>
      </p:sp>
      <p:sp>
        <p:nvSpPr>
          <p:cNvPr id="4" name="Text Placeholder 3">
            <a:extLst>
              <a:ext uri="{FF2B5EF4-FFF2-40B4-BE49-F238E27FC236}">
                <a16:creationId xmlns:a16="http://schemas.microsoft.com/office/drawing/2014/main" id="{E9670FB9-0041-4AA3-82B2-2694D288FF16}"/>
              </a:ext>
            </a:extLst>
          </p:cNvPr>
          <p:cNvSpPr>
            <a:spLocks noGrp="1"/>
          </p:cNvSpPr>
          <p:nvPr>
            <p:ph type="body" sz="quarter" idx="14"/>
          </p:nvPr>
        </p:nvSpPr>
        <p:spPr/>
        <p:txBody>
          <a:bodyPr/>
          <a:lstStyle/>
          <a:p>
            <a:r>
              <a:rPr lang="en-GB" dirty="0"/>
              <a:t>Rebuild the culture</a:t>
            </a:r>
          </a:p>
        </p:txBody>
      </p:sp>
      <p:sp>
        <p:nvSpPr>
          <p:cNvPr id="5" name="Text Placeholder 3">
            <a:extLst>
              <a:ext uri="{FF2B5EF4-FFF2-40B4-BE49-F238E27FC236}">
                <a16:creationId xmlns:a16="http://schemas.microsoft.com/office/drawing/2014/main" id="{94E1E5AD-4BEE-4952-9254-7B6FBB6F505D}"/>
              </a:ext>
            </a:extLst>
          </p:cNvPr>
          <p:cNvSpPr txBox="1">
            <a:spLocks/>
          </p:cNvSpPr>
          <p:nvPr/>
        </p:nvSpPr>
        <p:spPr>
          <a:xfrm>
            <a:off x="399520" y="7041103"/>
            <a:ext cx="7634137" cy="492365"/>
          </a:xfrm>
          <a:prstGeom prst="rect">
            <a:avLst/>
          </a:prstGeom>
        </p:spPr>
        <p:txBody>
          <a:bodyPr lIns="0"/>
          <a:lstStyle>
            <a:lvl1pPr marL="0" algn="ctr">
              <a:defRPr sz="1200">
                <a:solidFill>
                  <a:schemeClr val="tx1"/>
                </a:solidFill>
                <a:latin typeface="+mn-lt"/>
                <a:ea typeface="+mn-ea"/>
                <a:cs typeface="+mn-cs"/>
              </a:defRPr>
            </a:lvl1pPr>
            <a:lvl2pPr marL="457200">
              <a:defRPr sz="1200">
                <a:solidFill>
                  <a:schemeClr val="tx1"/>
                </a:solidFill>
                <a:latin typeface="+mn-lt"/>
                <a:ea typeface="+mn-ea"/>
                <a:cs typeface="+mn-cs"/>
              </a:defRPr>
            </a:lvl2pPr>
            <a:lvl3pPr marL="914400">
              <a:defRPr sz="1200">
                <a:solidFill>
                  <a:schemeClr val="tx1"/>
                </a:solidFill>
                <a:latin typeface="+mn-lt"/>
                <a:ea typeface="+mn-ea"/>
                <a:cs typeface="+mn-cs"/>
              </a:defRPr>
            </a:lvl3pPr>
            <a:lvl4pPr marL="1371600">
              <a:defRPr sz="1200">
                <a:solidFill>
                  <a:schemeClr val="tx1"/>
                </a:solidFill>
                <a:latin typeface="+mn-lt"/>
                <a:ea typeface="+mn-ea"/>
                <a:cs typeface="+mn-cs"/>
              </a:defRPr>
            </a:lvl4pPr>
            <a:lvl5pPr marL="1828800">
              <a:defRPr sz="1200">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defTabSz="914400">
              <a:spcBef>
                <a:spcPts val="450"/>
              </a:spcBef>
            </a:pPr>
            <a:r>
              <a:rPr lang="en-US" sz="1600" kern="0">
                <a:solidFill>
                  <a:schemeClr val="accent1"/>
                </a:solidFill>
                <a:latin typeface="Trebuchet MS" panose="020B0603020202020204" pitchFamily="34" charset="0"/>
              </a:rPr>
              <a:t>@everywomanUK</a:t>
            </a:r>
            <a:endParaRPr lang="en-US" sz="18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kern="0">
              <a:solidFill>
                <a:schemeClr val="accent1"/>
              </a:solidFill>
              <a:latin typeface="Trebuchet MS" panose="020B0603020202020204" pitchFamily="34" charset="0"/>
            </a:endParaRPr>
          </a:p>
          <a:p>
            <a:pPr algn="l" defTabSz="914400">
              <a:spcBef>
                <a:spcPts val="450"/>
              </a:spcBef>
            </a:pPr>
            <a:endParaRPr lang="en-US" sz="2400" b="1" kern="0">
              <a:solidFill>
                <a:schemeClr val="accent1"/>
              </a:solidFill>
              <a:latin typeface="Trebuchet MS" panose="020B0603020202020204" pitchFamily="34" charset="0"/>
            </a:endParaRPr>
          </a:p>
        </p:txBody>
      </p:sp>
      <p:pic>
        <p:nvPicPr>
          <p:cNvPr id="7" name="Picture Placeholder 6" descr="A picture containing cosmetic&#10;&#10;Description automatically generated">
            <a:extLst>
              <a:ext uri="{FF2B5EF4-FFF2-40B4-BE49-F238E27FC236}">
                <a16:creationId xmlns:a16="http://schemas.microsoft.com/office/drawing/2014/main" id="{F29749EF-0E85-47AB-B925-CD7F772CBC69}"/>
              </a:ext>
            </a:extLst>
          </p:cNvPr>
          <p:cNvPicPr>
            <a:picLocks noGrp="1" noChangeAspect="1"/>
          </p:cNvPicPr>
          <p:nvPr>
            <p:ph type="pic" sz="quarter" idx="19"/>
          </p:nvPr>
        </p:nvPicPr>
        <p:blipFill rotWithShape="1">
          <a:blip r:embed="rId2">
            <a:duotone>
              <a:schemeClr val="accent1">
                <a:shade val="45000"/>
                <a:satMod val="135000"/>
              </a:schemeClr>
              <a:prstClr val="white"/>
            </a:duotone>
          </a:blip>
          <a:srcRect l="21324" r="21324"/>
          <a:stretch>
            <a:fillRect/>
          </a:stretch>
        </p:blipFill>
        <p:spPr>
          <a:xfrm>
            <a:off x="9770796" y="0"/>
            <a:ext cx="3673742" cy="7601563"/>
          </a:xfrm>
        </p:spPr>
      </p:pic>
    </p:spTree>
    <p:extLst>
      <p:ext uri="{BB962C8B-B14F-4D97-AF65-F5344CB8AC3E}">
        <p14:creationId xmlns:p14="http://schemas.microsoft.com/office/powerpoint/2010/main" val="2811591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verywoman Master">
      <a:dk1>
        <a:srgbClr val="474D52"/>
      </a:dk1>
      <a:lt1>
        <a:sysClr val="window" lastClr="FFFFFF"/>
      </a:lt1>
      <a:dk2>
        <a:srgbClr val="3A1D3C"/>
      </a:dk2>
      <a:lt2>
        <a:srgbClr val="FFFFFE"/>
      </a:lt2>
      <a:accent1>
        <a:srgbClr val="7A3E7F"/>
      </a:accent1>
      <a:accent2>
        <a:srgbClr val="3A1D3C"/>
      </a:accent2>
      <a:accent3>
        <a:srgbClr val="7A3E7F"/>
      </a:accent3>
      <a:accent4>
        <a:srgbClr val="3A1D3C"/>
      </a:accent4>
      <a:accent5>
        <a:srgbClr val="7A3E7F"/>
      </a:accent5>
      <a:accent6>
        <a:srgbClr val="3A1D3C"/>
      </a:accent6>
      <a:hlink>
        <a:srgbClr val="7A3E7F"/>
      </a:hlink>
      <a:folHlink>
        <a:srgbClr val="3A1D3C"/>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Default Theme">
  <a:themeElements>
    <a:clrScheme name="Prism Light">
      <a:dk1>
        <a:srgbClr val="7F7F7F"/>
      </a:dk1>
      <a:lt1>
        <a:srgbClr val="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4B5050"/>
      </a:hlink>
      <a:folHlink>
        <a:srgbClr val="A9C1B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8A8829B-5774-4891-9E8B-1593C4C4A3CB}">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18033A711D90040B3829C1AE45B138E" ma:contentTypeVersion="14" ma:contentTypeDescription="Create a new document." ma:contentTypeScope="" ma:versionID="bfa447b3abaa73f8a1e0a5f9e1888987">
  <xsd:schema xmlns:xsd="http://www.w3.org/2001/XMLSchema" xmlns:xs="http://www.w3.org/2001/XMLSchema" xmlns:p="http://schemas.microsoft.com/office/2006/metadata/properties" xmlns:ns2="13bc8d5f-976e-4ee4-8dfa-c1c3e2bfcca8" xmlns:ns3="436efcba-ea16-46f8-8b91-d64e6f1f03e5" targetNamespace="http://schemas.microsoft.com/office/2006/metadata/properties" ma:root="true" ma:fieldsID="55731d9474173da3b050ea503466a646" ns2:_="" ns3:_="">
    <xsd:import namespace="13bc8d5f-976e-4ee4-8dfa-c1c3e2bfcca8"/>
    <xsd:import namespace="436efcba-ea16-46f8-8b91-d64e6f1f03e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_Flow_SignoffStatu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bc8d5f-976e-4ee4-8dfa-c1c3e2bfcca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36efcba-ea16-46f8-8b91-d64e6f1f03e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13bc8d5f-976e-4ee4-8dfa-c1c3e2bfcca8" xsi:nil="true"/>
    <SharedWithUsers xmlns="436efcba-ea16-46f8-8b91-d64e6f1f03e5">
      <UserInfo>
        <DisplayName/>
        <AccountId xsi:nil="true"/>
        <AccountType/>
      </UserInfo>
    </SharedWithUsers>
  </documentManagement>
</p:properties>
</file>

<file path=customXml/itemProps1.xml><?xml version="1.0" encoding="utf-8"?>
<ds:datastoreItem xmlns:ds="http://schemas.openxmlformats.org/officeDocument/2006/customXml" ds:itemID="{5BB11E14-E9E7-4026-8075-4E679BB07209}">
  <ds:schemaRefs>
    <ds:schemaRef ds:uri="http://schemas.microsoft.com/sharepoint/v3/contenttype/forms"/>
  </ds:schemaRefs>
</ds:datastoreItem>
</file>

<file path=customXml/itemProps2.xml><?xml version="1.0" encoding="utf-8"?>
<ds:datastoreItem xmlns:ds="http://schemas.openxmlformats.org/officeDocument/2006/customXml" ds:itemID="{1CB2DAE3-0632-4E8D-A13A-A633CE6A29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bc8d5f-976e-4ee4-8dfa-c1c3e2bfcca8"/>
    <ds:schemaRef ds:uri="436efcba-ea16-46f8-8b91-d64e6f1f03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D0D05C5-9432-44E8-8EC2-DFF7E7F9029E}">
  <ds:schemaRefs>
    <ds:schemaRef ds:uri="http://schemas.openxmlformats.org/package/2006/metadata/core-properties"/>
    <ds:schemaRef ds:uri="http://schemas.microsoft.com/office/infopath/2007/PartnerControls"/>
    <ds:schemaRef ds:uri="http://www.w3.org/XML/1998/namespace"/>
    <ds:schemaRef ds:uri="13bc8d5f-976e-4ee4-8dfa-c1c3e2bfcca8"/>
    <ds:schemaRef ds:uri="http://purl.org/dc/dcmitype/"/>
    <ds:schemaRef ds:uri="http://purl.org/dc/elements/1.1/"/>
    <ds:schemaRef ds:uri="436efcba-ea16-46f8-8b91-d64e6f1f03e5"/>
    <ds:schemaRef ds:uri="http://schemas.microsoft.com/office/2006/documentManagement/typ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677</Words>
  <Application>Microsoft Office PowerPoint</Application>
  <PresentationFormat>Custom</PresentationFormat>
  <Paragraphs>162</Paragraphs>
  <Slides>19</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Arial</vt:lpstr>
      <vt:lpstr>Calibri</vt:lpstr>
      <vt:lpstr>Calibri Light</vt:lpstr>
      <vt:lpstr>Lato Light</vt:lpstr>
      <vt:lpstr>Montserrat Light</vt:lpstr>
      <vt:lpstr>Palatino</vt:lpstr>
      <vt:lpstr>Palatino Linotype</vt:lpstr>
      <vt:lpstr>Trebuchet MS</vt:lpstr>
      <vt:lpstr>Office Theme</vt:lpstr>
      <vt:lpstr>2_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ppa Isbell</dc:creator>
  <cp:lastModifiedBy>Sophie Wannop</cp:lastModifiedBy>
  <cp:revision>168</cp:revision>
  <cp:lastPrinted>2021-08-12T16:58:05Z</cp:lastPrinted>
  <dcterms:created xsi:type="dcterms:W3CDTF">2020-11-22T14:11:28Z</dcterms:created>
  <dcterms:modified xsi:type="dcterms:W3CDTF">2021-08-18T09: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3389200</vt:r8>
  </property>
  <property fmtid="{D5CDD505-2E9C-101B-9397-08002B2CF9AE}" pid="3" name="xd_Signature">
    <vt:bool>false</vt:bool>
  </property>
  <property fmtid="{D5CDD505-2E9C-101B-9397-08002B2CF9AE}" pid="4" name="xd_ProgID">
    <vt:lpwstr/>
  </property>
  <property fmtid="{D5CDD505-2E9C-101B-9397-08002B2CF9AE}" pid="5" name="ContentTypeId">
    <vt:lpwstr>0x010100C18033A711D90040B3829C1AE45B138E</vt:lpwstr>
  </property>
  <property fmtid="{D5CDD505-2E9C-101B-9397-08002B2CF9AE}" pid="6" name="ComplianceAssetId">
    <vt:lpwstr/>
  </property>
  <property fmtid="{D5CDD505-2E9C-101B-9397-08002B2CF9AE}" pid="7" name="TemplateUrl">
    <vt:lpwstr/>
  </property>
</Properties>
</file>